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.xml" ContentType="application/vnd.openxmlformats-officedocument.them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heme/theme3.xml" ContentType="application/vnd.openxmlformats-officedocument.theme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4.xml" ContentType="application/vnd.openxmlformats-officedocument.theme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theme/theme5.xml" ContentType="application/vnd.openxmlformats-officedocument.them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theme/theme6.xml" ContentType="application/vnd.openxmlformats-officedocument.theme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theme/theme7.xml" ContentType="application/vnd.openxmlformats-officedocument.theme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theme/theme8.xml" ContentType="application/vnd.openxmlformats-officedocument.theme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theme/theme9.xml" ContentType="application/vnd.openxmlformats-officedocument.theme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theme/theme10.xml" ContentType="application/vnd.openxmlformats-officedocument.theme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theme/theme11.xml" ContentType="application/vnd.openxmlformats-officedocument.theme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theme/theme12.xml" ContentType="application/vnd.openxmlformats-officedocument.theme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theme/theme13.xml" ContentType="application/vnd.openxmlformats-officedocument.theme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theme/theme14.xml" ContentType="application/vnd.openxmlformats-officedocument.theme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4.xml" ContentType="application/vnd.openxmlformats-officedocument.drawingml.chartshapes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9.xml" ContentType="application/vnd.openxmlformats-officedocument.drawingml.chart+xml"/>
  <Override PartName="/ppt/drawings/drawing5.xml" ContentType="application/vnd.openxmlformats-officedocument.drawingml.chartshapes+xml"/>
  <Override PartName="/ppt/notesSlides/notesSlide13.xml" ContentType="application/vnd.openxmlformats-officedocument.presentationml.notesSlide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notesSlides/notesSlide15.xml" ContentType="application/vnd.openxmlformats-officedocument.presentationml.notesSlide+xml"/>
  <Override PartName="/ppt/charts/chart12.xml" ContentType="application/vnd.openxmlformats-officedocument.drawingml.chart+xml"/>
  <Override PartName="/ppt/notesSlides/notesSlide16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7.xml" ContentType="application/vnd.openxmlformats-officedocument.presentationml.notesSlide+xml"/>
  <Override PartName="/ppt/charts/chart15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8.xml" ContentType="application/vnd.openxmlformats-officedocument.presentationml.notesSlide+xml"/>
  <Override PartName="/ppt/charts/chart16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7.xml" ContentType="application/vnd.openxmlformats-officedocument.drawingml.chart+xml"/>
  <Override PartName="/ppt/notesSlides/notesSlide19.xml" ContentType="application/vnd.openxmlformats-officedocument.presentationml.notesSlide+xml"/>
  <Override PartName="/ppt/charts/chart18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20.xml" ContentType="application/vnd.openxmlformats-officedocument.presentationml.notesSlide+xml"/>
  <Override PartName="/ppt/charts/chart19.xml" ContentType="application/vnd.openxmlformats-officedocument.drawingml.chart+xml"/>
  <Override PartName="/ppt/drawings/drawing6.xml" ContentType="application/vnd.openxmlformats-officedocument.drawingml.chartshapes+xml"/>
  <Override PartName="/ppt/charts/chart20.xml" ContentType="application/vnd.openxmlformats-officedocument.drawingml.chart+xml"/>
  <Override PartName="/ppt/drawings/drawing7.xml" ContentType="application/vnd.openxmlformats-officedocument.drawingml.chartshape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heme/themeOverride2.xml" ContentType="application/vnd.openxmlformats-officedocument.themeOverride+xml"/>
  <Override PartName="/ppt/charts/chart23.xml" ContentType="application/vnd.openxmlformats-officedocument.drawingml.chart+xml"/>
  <Override PartName="/ppt/theme/themeOverride3.xml" ContentType="application/vnd.openxmlformats-officedocument.themeOverride+xml"/>
  <Override PartName="/ppt/drawings/drawing8.xml" ContentType="application/vnd.openxmlformats-officedocument.drawingml.chartshapes+xml"/>
  <Override PartName="/ppt/notesSlides/notesSlide23.xml" ContentType="application/vnd.openxmlformats-officedocument.presentationml.notesSlide+xml"/>
  <Override PartName="/ppt/charts/chart24.xml" ContentType="application/vnd.openxmlformats-officedocument.drawingml.chart+xml"/>
  <Override PartName="/ppt/theme/themeOverride4.xml" ContentType="application/vnd.openxmlformats-officedocument.themeOverride+xml"/>
  <Override PartName="/ppt/drawings/drawing9.xml" ContentType="application/vnd.openxmlformats-officedocument.drawingml.chartshapes+xml"/>
  <Override PartName="/ppt/charts/chart25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26.xml" ContentType="application/vnd.openxmlformats-officedocument.drawingml.chart+xml"/>
  <Override PartName="/ppt/theme/themeOverride5.xml" ContentType="application/vnd.openxmlformats-officedocument.themeOverr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rts/chart27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26.xml" ContentType="application/vnd.openxmlformats-officedocument.presentationml.notesSlide+xml"/>
  <Override PartName="/ppt/charts/chart28.xml" ContentType="application/vnd.openxmlformats-officedocument.drawingml.chart+xml"/>
  <Override PartName="/ppt/theme/themeOverride6.xml" ContentType="application/vnd.openxmlformats-officedocument.themeOverride+xml"/>
  <Override PartName="/ppt/notesSlides/notesSlide27.xml" ContentType="application/vnd.openxmlformats-officedocument.presentationml.notesSlide+xml"/>
  <Override PartName="/ppt/charts/chart29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28.xml" ContentType="application/vnd.openxmlformats-officedocument.presentationml.notesSlide+xml"/>
  <Override PartName="/ppt/charts/chart30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29.xml" ContentType="application/vnd.openxmlformats-officedocument.presentationml.notesSlide+xml"/>
  <Override PartName="/ppt/charts/chart31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30.xml" ContentType="application/vnd.openxmlformats-officedocument.presentationml.notesSlide+xml"/>
  <Override PartName="/ppt/charts/chart32.xml" ContentType="application/vnd.openxmlformats-officedocument.drawingml.chart+xml"/>
  <Override PartName="/ppt/theme/themeOverride7.xml" ContentType="application/vnd.openxmlformats-officedocument.themeOverride+xml"/>
  <Override PartName="/ppt/drawings/drawing10.xml" ContentType="application/vnd.openxmlformats-officedocument.drawingml.chartshapes+xml"/>
  <Override PartName="/ppt/notesSlides/notesSlide31.xml" ContentType="application/vnd.openxmlformats-officedocument.presentationml.notesSlide+xml"/>
  <Override PartName="/ppt/charts/chart33.xml" ContentType="application/vnd.openxmlformats-officedocument.drawingml.chart+xml"/>
  <Override PartName="/ppt/theme/themeOverride8.xml" ContentType="application/vnd.openxmlformats-officedocument.themeOverride+xml"/>
  <Override PartName="/ppt/drawings/drawing11.xml" ContentType="application/vnd.openxmlformats-officedocument.drawingml.chartshape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harts/chart34.xml" ContentType="application/vnd.openxmlformats-officedocument.drawingml.chart+xml"/>
  <Override PartName="/ppt/theme/themeOverride9.xml" ContentType="application/vnd.openxmlformats-officedocument.themeOverride+xml"/>
  <Override PartName="/ppt/notesSlides/notesSlide34.xml" ContentType="application/vnd.openxmlformats-officedocument.presentationml.notesSlide+xml"/>
  <Override PartName="/ppt/charts/chart35.xml" ContentType="application/vnd.openxmlformats-officedocument.drawingml.chart+xml"/>
  <Override PartName="/ppt/theme/themeOverride10.xml" ContentType="application/vnd.openxmlformats-officedocument.themeOverride+xml"/>
  <Override PartName="/ppt/notesSlides/notesSlide35.xml" ContentType="application/vnd.openxmlformats-officedocument.presentationml.notesSlide+xml"/>
  <Override PartName="/ppt/charts/chart36.xml" ContentType="application/vnd.openxmlformats-officedocument.drawingml.chart+xml"/>
  <Override PartName="/ppt/theme/themeOverride11.xml" ContentType="application/vnd.openxmlformats-officedocument.themeOverride+xml"/>
  <Override PartName="/ppt/notesSlides/notesSlide36.xml" ContentType="application/vnd.openxmlformats-officedocument.presentationml.notesSlide+xml"/>
  <Override PartName="/ppt/charts/chart3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3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37.xml" ContentType="application/vnd.openxmlformats-officedocument.presentationml.notesSlide+xml"/>
  <Override PartName="/ppt/charts/chart3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4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notesSlides/notesSlide38.xml" ContentType="application/vnd.openxmlformats-officedocument.presentationml.notesSlide+xml"/>
  <Override PartName="/ppt/charts/chart4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4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4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4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4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4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4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4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4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5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notesSlides/notesSlide39.xml" ContentType="application/vnd.openxmlformats-officedocument.presentationml.notesSlide+xml"/>
  <Override PartName="/ppt/charts/chart5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5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5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5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notesSlides/notesSlide40.xml" ContentType="application/vnd.openxmlformats-officedocument.presentationml.notesSlide+xml"/>
  <Override PartName="/ppt/charts/chart5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5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5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5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notesSlides/notesSlide41.xml" ContentType="application/vnd.openxmlformats-officedocument.presentationml.notesSlide+xml"/>
  <Override PartName="/ppt/charts/chart5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6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notesSlides/notesSlide42.xml" ContentType="application/vnd.openxmlformats-officedocument.presentationml.notesSlide+xml"/>
  <Override PartName="/ppt/charts/chart6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6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notesSlides/notesSlide43.xml" ContentType="application/vnd.openxmlformats-officedocument.presentationml.notesSlide+xml"/>
  <Override PartName="/ppt/charts/chart6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64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65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charts/chart66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notesSlides/notesSlide44.xml" ContentType="application/vnd.openxmlformats-officedocument.presentationml.notesSlide+xml"/>
  <Override PartName="/ppt/charts/chart67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charts/chart68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notesSlides/notesSlide45.xml" ContentType="application/vnd.openxmlformats-officedocument.presentationml.notesSlide+xml"/>
  <Override PartName="/ppt/charts/chart69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7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notesSlides/notesSlide46.xml" ContentType="application/vnd.openxmlformats-officedocument.presentationml.notesSlide+xml"/>
  <Override PartName="/ppt/charts/chart7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charts/chart72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charts/chart73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charts/chart74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charts/chart75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charts/chart76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notesSlides/notesSlide47.xml" ContentType="application/vnd.openxmlformats-officedocument.presentationml.notesSlide+xml"/>
  <Override PartName="/ppt/charts/chart77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charts/chart78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charts/chart79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charts/chart80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charts/chart81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charts/chart82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charts/chart83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charts/chart84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charts/chart85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charts/chart86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charts/chart87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charts/chart88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charts/chart89.xml" ContentType="application/vnd.openxmlformats-officedocument.drawingml.chart+xml"/>
  <Override PartName="/ppt/theme/themeOverride12.xml" ContentType="application/vnd.openxmlformats-officedocument.themeOverride+xml"/>
  <Override PartName="/ppt/drawings/drawing12.xml" ContentType="application/vnd.openxmlformats-officedocument.drawingml.chartshapes+xml"/>
  <Override PartName="/ppt/notesSlides/notesSlide50.xml" ContentType="application/vnd.openxmlformats-officedocument.presentationml.notesSlide+xml"/>
  <Override PartName="/ppt/charts/chart90.xml" ContentType="application/vnd.openxmlformats-officedocument.drawingml.chart+xml"/>
  <Override PartName="/ppt/theme/themeOverride13.xml" ContentType="application/vnd.openxmlformats-officedocument.themeOverride+xml"/>
  <Override PartName="/ppt/notesSlides/notesSlide51.xml" ContentType="application/vnd.openxmlformats-officedocument.presentationml.notesSlide+xml"/>
  <Override PartName="/ppt/charts/chart91.xml" ContentType="application/vnd.openxmlformats-officedocument.drawingml.chart+xml"/>
  <Override PartName="/ppt/theme/themeOverride14.xml" ContentType="application/vnd.openxmlformats-officedocument.themeOverride+xml"/>
  <Override PartName="/ppt/notesSlides/notesSlide52.xml" ContentType="application/vnd.openxmlformats-officedocument.presentationml.notesSlide+xml"/>
  <Override PartName="/ppt/charts/chart92.xml" ContentType="application/vnd.openxmlformats-officedocument.drawingml.chart+xml"/>
  <Override PartName="/ppt/theme/themeOverride15.xml" ContentType="application/vnd.openxmlformats-officedocument.themeOverride+xml"/>
  <Override PartName="/ppt/drawings/drawing13.xml" ContentType="application/vnd.openxmlformats-officedocument.drawingml.chartshapes+xml"/>
  <Override PartName="/ppt/notesSlides/notesSlide53.xml" ContentType="application/vnd.openxmlformats-officedocument.presentationml.notesSlide+xml"/>
  <Override PartName="/ppt/charts/chart93.xml" ContentType="application/vnd.openxmlformats-officedocument.drawingml.chart+xml"/>
  <Override PartName="/ppt/theme/themeOverride16.xml" ContentType="application/vnd.openxmlformats-officedocument.themeOverride+xml"/>
  <Override PartName="/ppt/drawings/drawing14.xml" ContentType="application/vnd.openxmlformats-officedocument.drawingml.chartshapes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charts/chart94.xml" ContentType="application/vnd.openxmlformats-officedocument.drawingml.chart+xml"/>
  <Override PartName="/ppt/theme/themeOverride17.xml" ContentType="application/vnd.openxmlformats-officedocument.themeOverride+xml"/>
  <Override PartName="/ppt/drawings/drawing15.xml" ContentType="application/vnd.openxmlformats-officedocument.drawingml.chartshapes+xml"/>
  <Override PartName="/ppt/notesSlides/notesSlide56.xml" ContentType="application/vnd.openxmlformats-officedocument.presentationml.notesSlide+xml"/>
  <Override PartName="/ppt/charts/chart95.xml" ContentType="application/vnd.openxmlformats-officedocument.drawingml.chart+xml"/>
  <Override PartName="/ppt/theme/themeOverride18.xml" ContentType="application/vnd.openxmlformats-officedocument.themeOverride+xml"/>
  <Override PartName="/ppt/notesSlides/notesSlide57.xml" ContentType="application/vnd.openxmlformats-officedocument.presentationml.notesSlide+xml"/>
  <Override PartName="/ppt/charts/chart96.xml" ContentType="application/vnd.openxmlformats-officedocument.drawingml.chart+xml"/>
  <Override PartName="/ppt/theme/themeOverride19.xml" ContentType="application/vnd.openxmlformats-officedocument.themeOverride+xml"/>
  <Override PartName="/ppt/drawings/drawing16.xml" ContentType="application/vnd.openxmlformats-officedocument.drawingml.chartshapes+xml"/>
  <Override PartName="/ppt/notesSlides/notesSlide58.xml" ContentType="application/vnd.openxmlformats-officedocument.presentationml.notesSlide+xml"/>
  <Override PartName="/ppt/charts/chart97.xml" ContentType="application/vnd.openxmlformats-officedocument.drawingml.chart+xml"/>
  <Override PartName="/ppt/theme/themeOverride20.xml" ContentType="application/vnd.openxmlformats-officedocument.themeOverride+xml"/>
  <Override PartName="/ppt/drawings/drawing17.xml" ContentType="application/vnd.openxmlformats-officedocument.drawingml.chartshapes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charts/chart98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charts/chart99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notesSlides/notesSlide61.xml" ContentType="application/vnd.openxmlformats-officedocument.presentationml.notesSlide+xml"/>
  <Override PartName="/ppt/charts/chart100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charts/chart101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charts/chart102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charts/chart103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charts/chart104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notesSlides/notesSlide62.xml" ContentType="application/vnd.openxmlformats-officedocument.presentationml.notesSlide+xml"/>
  <Override PartName="/ppt/charts/chart105.xml" ContentType="application/vnd.openxmlformats-officedocument.drawingml.chart+xml"/>
  <Override PartName="/ppt/charts/style76.xml" ContentType="application/vnd.ms-office.chartstyle+xml"/>
  <Override PartName="/ppt/charts/colors76.xml" ContentType="application/vnd.ms-office.chartcolorstyl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charts/chart106.xml" ContentType="application/vnd.openxmlformats-officedocument.drawingml.chart+xml"/>
  <Override PartName="/ppt/charts/style77.xml" ContentType="application/vnd.ms-office.chartstyle+xml"/>
  <Override PartName="/ppt/charts/colors77.xml" ContentType="application/vnd.ms-office.chartcolorstyle+xml"/>
  <Override PartName="/ppt/charts/chart107.xml" ContentType="application/vnd.openxmlformats-officedocument.drawingml.chart+xml"/>
  <Override PartName="/ppt/charts/style78.xml" ContentType="application/vnd.ms-office.chartstyle+xml"/>
  <Override PartName="/ppt/charts/colors78.xml" ContentType="application/vnd.ms-office.chartcolorstyle+xml"/>
  <Override PartName="/ppt/charts/chart108.xml" ContentType="application/vnd.openxmlformats-officedocument.drawingml.chart+xml"/>
  <Override PartName="/ppt/charts/style79.xml" ContentType="application/vnd.ms-office.chartstyle+xml"/>
  <Override PartName="/ppt/charts/colors79.xml" ContentType="application/vnd.ms-office.chartcolorstyle+xml"/>
  <Override PartName="/ppt/charts/chart109.xml" ContentType="application/vnd.openxmlformats-officedocument.drawingml.chart+xml"/>
  <Override PartName="/ppt/charts/style80.xml" ContentType="application/vnd.ms-office.chartstyle+xml"/>
  <Override PartName="/ppt/charts/colors80.xml" ContentType="application/vnd.ms-office.chartcolorstyle+xml"/>
  <Override PartName="/ppt/charts/chart110.xml" ContentType="application/vnd.openxmlformats-officedocument.drawingml.chart+xml"/>
  <Override PartName="/ppt/charts/style81.xml" ContentType="application/vnd.ms-office.chartstyle+xml"/>
  <Override PartName="/ppt/charts/colors81.xml" ContentType="application/vnd.ms-office.chartcolorstyle+xml"/>
  <Override PartName="/ppt/charts/chart111.xml" ContentType="application/vnd.openxmlformats-officedocument.drawingml.chart+xml"/>
  <Override PartName="/ppt/charts/style82.xml" ContentType="application/vnd.ms-office.chartstyle+xml"/>
  <Override PartName="/ppt/charts/colors82.xml" ContentType="application/vnd.ms-office.chartcolorstyle+xml"/>
  <Override PartName="/ppt/charts/chart112.xml" ContentType="application/vnd.openxmlformats-officedocument.drawingml.chart+xml"/>
  <Override PartName="/ppt/charts/style83.xml" ContentType="application/vnd.ms-office.chartstyle+xml"/>
  <Override PartName="/ppt/charts/colors83.xml" ContentType="application/vnd.ms-office.chartcolorstyle+xml"/>
  <Override PartName="/ppt/notesSlides/notesSlide65.xml" ContentType="application/vnd.openxmlformats-officedocument.presentationml.notesSlide+xml"/>
  <Override PartName="/ppt/charts/chart113.xml" ContentType="application/vnd.openxmlformats-officedocument.drawingml.chart+xml"/>
  <Override PartName="/ppt/charts/style84.xml" ContentType="application/vnd.ms-office.chartstyle+xml"/>
  <Override PartName="/ppt/charts/colors84.xml" ContentType="application/vnd.ms-office.chartcolorstyle+xml"/>
  <Override PartName="/ppt/notesSlides/notesSlide66.xml" ContentType="application/vnd.openxmlformats-officedocument.presentationml.notesSlide+xml"/>
  <Override PartName="/ppt/charts/chart114.xml" ContentType="application/vnd.openxmlformats-officedocument.drawingml.chart+xml"/>
  <Override PartName="/ppt/theme/themeOverride21.xml" ContentType="application/vnd.openxmlformats-officedocument.themeOverride+xml"/>
  <Override PartName="/ppt/charts/chart115.xml" ContentType="application/vnd.openxmlformats-officedocument.drawingml.chart+xml"/>
  <Override PartName="/ppt/theme/themeOverride22.xml" ContentType="application/vnd.openxmlformats-officedocument.themeOverride+xml"/>
  <Override PartName="/ppt/drawings/drawing18.xml" ContentType="application/vnd.openxmlformats-officedocument.drawingml.chartshapes+xml"/>
  <Override PartName="/ppt/notesSlides/notesSlide67.xml" ContentType="application/vnd.openxmlformats-officedocument.presentationml.notesSlide+xml"/>
  <Override PartName="/ppt/charts/chart116.xml" ContentType="application/vnd.openxmlformats-officedocument.drawingml.chart+xml"/>
  <Override PartName="/ppt/charts/style85.xml" ContentType="application/vnd.ms-office.chartstyle+xml"/>
  <Override PartName="/ppt/charts/colors85.xml" ContentType="application/vnd.ms-office.chartcolorstyle+xml"/>
  <Override PartName="/ppt/notesSlides/notesSlide68.xml" ContentType="application/vnd.openxmlformats-officedocument.presentationml.notesSlide+xml"/>
  <Override PartName="/ppt/charts/chart117.xml" ContentType="application/vnd.openxmlformats-officedocument.drawingml.chart+xml"/>
  <Override PartName="/ppt/charts/style86.xml" ContentType="application/vnd.ms-office.chartstyle+xml"/>
  <Override PartName="/ppt/charts/colors86.xml" ContentType="application/vnd.ms-office.chartcolorstyle+xml"/>
  <Override PartName="/ppt/notesSlides/notesSlide69.xml" ContentType="application/vnd.openxmlformats-officedocument.presentationml.notesSlide+xml"/>
  <Override PartName="/ppt/charts/chart118.xml" ContentType="application/vnd.openxmlformats-officedocument.drawingml.chart+xml"/>
  <Override PartName="/ppt/charts/style87.xml" ContentType="application/vnd.ms-office.chartstyle+xml"/>
  <Override PartName="/ppt/charts/colors87.xml" ContentType="application/vnd.ms-office.chartcolorstyle+xml"/>
  <Override PartName="/ppt/notesSlides/notesSlide70.xml" ContentType="application/vnd.openxmlformats-officedocument.presentationml.notesSlide+xml"/>
  <Override PartName="/ppt/charts/chart119.xml" ContentType="application/vnd.openxmlformats-officedocument.drawingml.chart+xml"/>
  <Override PartName="/ppt/charts/style88.xml" ContentType="application/vnd.ms-office.chartstyle+xml"/>
  <Override PartName="/ppt/charts/colors8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838" r:id="rId5"/>
    <p:sldMasterId id="2147484121" r:id="rId6"/>
    <p:sldMasterId id="2147484207" r:id="rId7"/>
    <p:sldMasterId id="2147484295" r:id="rId8"/>
    <p:sldMasterId id="2147484300" r:id="rId9"/>
    <p:sldMasterId id="2147484491" r:id="rId10"/>
    <p:sldMasterId id="2147484579" r:id="rId11"/>
    <p:sldMasterId id="2147484669" r:id="rId12"/>
    <p:sldMasterId id="2147484758" r:id="rId13"/>
    <p:sldMasterId id="2147484945" r:id="rId14"/>
    <p:sldMasterId id="2147485314" r:id="rId15"/>
    <p:sldMasterId id="2147485412" r:id="rId16"/>
    <p:sldMasterId id="2147485505" r:id="rId17"/>
  </p:sldMasterIdLst>
  <p:notesMasterIdLst>
    <p:notesMasterId r:id="rId140"/>
  </p:notesMasterIdLst>
  <p:handoutMasterIdLst>
    <p:handoutMasterId r:id="rId141"/>
  </p:handoutMasterIdLst>
  <p:sldIdLst>
    <p:sldId id="642" r:id="rId18"/>
    <p:sldId id="2510" r:id="rId19"/>
    <p:sldId id="693" r:id="rId20"/>
    <p:sldId id="2529" r:id="rId21"/>
    <p:sldId id="3459" r:id="rId22"/>
    <p:sldId id="3467" r:id="rId23"/>
    <p:sldId id="3461" r:id="rId24"/>
    <p:sldId id="3462" r:id="rId25"/>
    <p:sldId id="3463" r:id="rId26"/>
    <p:sldId id="3464" r:id="rId27"/>
    <p:sldId id="3465" r:id="rId28"/>
    <p:sldId id="3466" r:id="rId29"/>
    <p:sldId id="3476" r:id="rId30"/>
    <p:sldId id="2555" r:id="rId31"/>
    <p:sldId id="383" r:id="rId32"/>
    <p:sldId id="2124" r:id="rId33"/>
    <p:sldId id="3474" r:id="rId34"/>
    <p:sldId id="3399" r:id="rId35"/>
    <p:sldId id="3448" r:id="rId36"/>
    <p:sldId id="1919" r:id="rId37"/>
    <p:sldId id="3440" r:id="rId38"/>
    <p:sldId id="3441" r:id="rId39"/>
    <p:sldId id="3442" r:id="rId40"/>
    <p:sldId id="3443" r:id="rId41"/>
    <p:sldId id="3444" r:id="rId42"/>
    <p:sldId id="3445" r:id="rId43"/>
    <p:sldId id="3439" r:id="rId44"/>
    <p:sldId id="819" r:id="rId45"/>
    <p:sldId id="1432" r:id="rId46"/>
    <p:sldId id="3446" r:id="rId47"/>
    <p:sldId id="1302" r:id="rId48"/>
    <p:sldId id="1303" r:id="rId49"/>
    <p:sldId id="777" r:id="rId50"/>
    <p:sldId id="1433" r:id="rId51"/>
    <p:sldId id="1313" r:id="rId52"/>
    <p:sldId id="794" r:id="rId53"/>
    <p:sldId id="1528" r:id="rId54"/>
    <p:sldId id="800" r:id="rId55"/>
    <p:sldId id="909" r:id="rId56"/>
    <p:sldId id="3450" r:id="rId57"/>
    <p:sldId id="1428" r:id="rId58"/>
    <p:sldId id="1959" r:id="rId59"/>
    <p:sldId id="1429" r:id="rId60"/>
    <p:sldId id="689" r:id="rId61"/>
    <p:sldId id="1430" r:id="rId62"/>
    <p:sldId id="1431" r:id="rId63"/>
    <p:sldId id="1947" r:id="rId64"/>
    <p:sldId id="607" r:id="rId65"/>
    <p:sldId id="718" r:id="rId66"/>
    <p:sldId id="1965" r:id="rId67"/>
    <p:sldId id="1966" r:id="rId68"/>
    <p:sldId id="1967" r:id="rId69"/>
    <p:sldId id="1986" r:id="rId70"/>
    <p:sldId id="1985" r:id="rId71"/>
    <p:sldId id="1955" r:id="rId72"/>
    <p:sldId id="1988" r:id="rId73"/>
    <p:sldId id="1987" r:id="rId74"/>
    <p:sldId id="1971" r:id="rId75"/>
    <p:sldId id="1937" r:id="rId76"/>
    <p:sldId id="3475" r:id="rId77"/>
    <p:sldId id="1995" r:id="rId78"/>
    <p:sldId id="789" r:id="rId79"/>
    <p:sldId id="807" r:id="rId80"/>
    <p:sldId id="790" r:id="rId81"/>
    <p:sldId id="801" r:id="rId82"/>
    <p:sldId id="1972" r:id="rId83"/>
    <p:sldId id="787" r:id="rId84"/>
    <p:sldId id="802" r:id="rId85"/>
    <p:sldId id="788" r:id="rId86"/>
    <p:sldId id="816" r:id="rId87"/>
    <p:sldId id="1973" r:id="rId88"/>
    <p:sldId id="808" r:id="rId89"/>
    <p:sldId id="804" r:id="rId90"/>
    <p:sldId id="795" r:id="rId91"/>
    <p:sldId id="806" r:id="rId92"/>
    <p:sldId id="815" r:id="rId93"/>
    <p:sldId id="1975" r:id="rId94"/>
    <p:sldId id="1992" r:id="rId95"/>
    <p:sldId id="784" r:id="rId96"/>
    <p:sldId id="791" r:id="rId97"/>
    <p:sldId id="1993" r:id="rId98"/>
    <p:sldId id="805" r:id="rId99"/>
    <p:sldId id="1977" r:id="rId100"/>
    <p:sldId id="1976" r:id="rId101"/>
    <p:sldId id="1994" r:id="rId102"/>
    <p:sldId id="780" r:id="rId103"/>
    <p:sldId id="778" r:id="rId104"/>
    <p:sldId id="786" r:id="rId105"/>
    <p:sldId id="779" r:id="rId106"/>
    <p:sldId id="1949" r:id="rId107"/>
    <p:sldId id="2000" r:id="rId108"/>
    <p:sldId id="652" r:id="rId109"/>
    <p:sldId id="1998" r:id="rId110"/>
    <p:sldId id="2002" r:id="rId111"/>
    <p:sldId id="2003" r:id="rId112"/>
    <p:sldId id="2004" r:id="rId113"/>
    <p:sldId id="2007" r:id="rId114"/>
    <p:sldId id="655" r:id="rId115"/>
    <p:sldId id="2008" r:id="rId116"/>
    <p:sldId id="2009" r:id="rId117"/>
    <p:sldId id="1952" r:id="rId118"/>
    <p:sldId id="735" r:id="rId119"/>
    <p:sldId id="3470" r:id="rId120"/>
    <p:sldId id="770" r:id="rId121"/>
    <p:sldId id="3471" r:id="rId122"/>
    <p:sldId id="3472" r:id="rId123"/>
    <p:sldId id="772" r:id="rId124"/>
    <p:sldId id="3451" r:id="rId125"/>
    <p:sldId id="3452" r:id="rId126"/>
    <p:sldId id="3454" r:id="rId127"/>
    <p:sldId id="3455" r:id="rId128"/>
    <p:sldId id="3458" r:id="rId129"/>
    <p:sldId id="1982" r:id="rId130"/>
    <p:sldId id="1951" r:id="rId131"/>
    <p:sldId id="1943" r:id="rId132"/>
    <p:sldId id="1944" r:id="rId133"/>
    <p:sldId id="713" r:id="rId134"/>
    <p:sldId id="2014" r:id="rId135"/>
    <p:sldId id="2011" r:id="rId136"/>
    <p:sldId id="2012" r:id="rId137"/>
    <p:sldId id="2013" r:id="rId138"/>
    <p:sldId id="1983" r:id="rId139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FF"/>
    <a:srgbClr val="009999"/>
    <a:srgbClr val="33CCCC"/>
    <a:srgbClr val="00CC99"/>
    <a:srgbClr val="E2E2E2"/>
    <a:srgbClr val="CE655A"/>
    <a:srgbClr val="CB281B"/>
    <a:srgbClr val="DEDEDE"/>
    <a:srgbClr val="0066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210" autoAdjust="0"/>
    <p:restoredTop sz="86827" autoAdjust="0"/>
  </p:normalViewPr>
  <p:slideViewPr>
    <p:cSldViewPr snapToGrid="0">
      <p:cViewPr varScale="1">
        <p:scale>
          <a:sx n="66" d="100"/>
          <a:sy n="66" d="100"/>
        </p:scale>
        <p:origin x="952" y="44"/>
      </p:cViewPr>
      <p:guideLst/>
    </p:cSldViewPr>
  </p:slideViewPr>
  <p:outlineViewPr>
    <p:cViewPr>
      <p:scale>
        <a:sx n="33" d="100"/>
        <a:sy n="33" d="100"/>
      </p:scale>
      <p:origin x="0" y="-68244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9" d="100"/>
          <a:sy n="99" d="100"/>
        </p:scale>
        <p:origin x="2718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9.xml"/><Relationship Id="rId117" Type="http://schemas.openxmlformats.org/officeDocument/2006/relationships/slide" Target="slides/slide100.xml"/><Relationship Id="rId21" Type="http://schemas.openxmlformats.org/officeDocument/2006/relationships/slide" Target="slides/slide4.xml"/><Relationship Id="rId42" Type="http://schemas.openxmlformats.org/officeDocument/2006/relationships/slide" Target="slides/slide25.xml"/><Relationship Id="rId47" Type="http://schemas.openxmlformats.org/officeDocument/2006/relationships/slide" Target="slides/slide30.xml"/><Relationship Id="rId63" Type="http://schemas.openxmlformats.org/officeDocument/2006/relationships/slide" Target="slides/slide46.xml"/><Relationship Id="rId68" Type="http://schemas.openxmlformats.org/officeDocument/2006/relationships/slide" Target="slides/slide51.xml"/><Relationship Id="rId84" Type="http://schemas.openxmlformats.org/officeDocument/2006/relationships/slide" Target="slides/slide67.xml"/><Relationship Id="rId89" Type="http://schemas.openxmlformats.org/officeDocument/2006/relationships/slide" Target="slides/slide72.xml"/><Relationship Id="rId112" Type="http://schemas.openxmlformats.org/officeDocument/2006/relationships/slide" Target="slides/slide95.xml"/><Relationship Id="rId133" Type="http://schemas.openxmlformats.org/officeDocument/2006/relationships/slide" Target="slides/slide116.xml"/><Relationship Id="rId138" Type="http://schemas.openxmlformats.org/officeDocument/2006/relationships/slide" Target="slides/slide121.xml"/><Relationship Id="rId16" Type="http://schemas.openxmlformats.org/officeDocument/2006/relationships/slideMaster" Target="slideMasters/slideMaster13.xml"/><Relationship Id="rId107" Type="http://schemas.openxmlformats.org/officeDocument/2006/relationships/slide" Target="slides/slide90.xml"/><Relationship Id="rId11" Type="http://schemas.openxmlformats.org/officeDocument/2006/relationships/slideMaster" Target="slideMasters/slideMaster8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53" Type="http://schemas.openxmlformats.org/officeDocument/2006/relationships/slide" Target="slides/slide36.xml"/><Relationship Id="rId58" Type="http://schemas.openxmlformats.org/officeDocument/2006/relationships/slide" Target="slides/slide41.xml"/><Relationship Id="rId74" Type="http://schemas.openxmlformats.org/officeDocument/2006/relationships/slide" Target="slides/slide57.xml"/><Relationship Id="rId79" Type="http://schemas.openxmlformats.org/officeDocument/2006/relationships/slide" Target="slides/slide62.xml"/><Relationship Id="rId102" Type="http://schemas.openxmlformats.org/officeDocument/2006/relationships/slide" Target="slides/slide85.xml"/><Relationship Id="rId123" Type="http://schemas.openxmlformats.org/officeDocument/2006/relationships/slide" Target="slides/slide106.xml"/><Relationship Id="rId128" Type="http://schemas.openxmlformats.org/officeDocument/2006/relationships/slide" Target="slides/slide111.xml"/><Relationship Id="rId14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73.xml"/><Relationship Id="rId95" Type="http://schemas.openxmlformats.org/officeDocument/2006/relationships/slide" Target="slides/slide78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43" Type="http://schemas.openxmlformats.org/officeDocument/2006/relationships/slide" Target="slides/slide26.xml"/><Relationship Id="rId48" Type="http://schemas.openxmlformats.org/officeDocument/2006/relationships/slide" Target="slides/slide31.xml"/><Relationship Id="rId64" Type="http://schemas.openxmlformats.org/officeDocument/2006/relationships/slide" Target="slides/slide47.xml"/><Relationship Id="rId69" Type="http://schemas.openxmlformats.org/officeDocument/2006/relationships/slide" Target="slides/slide52.xml"/><Relationship Id="rId113" Type="http://schemas.openxmlformats.org/officeDocument/2006/relationships/slide" Target="slides/slide96.xml"/><Relationship Id="rId118" Type="http://schemas.openxmlformats.org/officeDocument/2006/relationships/slide" Target="slides/slide101.xml"/><Relationship Id="rId134" Type="http://schemas.openxmlformats.org/officeDocument/2006/relationships/slide" Target="slides/slide117.xml"/><Relationship Id="rId139" Type="http://schemas.openxmlformats.org/officeDocument/2006/relationships/slide" Target="slides/slide122.xml"/><Relationship Id="rId80" Type="http://schemas.openxmlformats.org/officeDocument/2006/relationships/slide" Target="slides/slide63.xml"/><Relationship Id="rId85" Type="http://schemas.openxmlformats.org/officeDocument/2006/relationships/slide" Target="slides/slide68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slide" Target="slides/slide29.xml"/><Relationship Id="rId59" Type="http://schemas.openxmlformats.org/officeDocument/2006/relationships/slide" Target="slides/slide42.xml"/><Relationship Id="rId67" Type="http://schemas.openxmlformats.org/officeDocument/2006/relationships/slide" Target="slides/slide50.xml"/><Relationship Id="rId103" Type="http://schemas.openxmlformats.org/officeDocument/2006/relationships/slide" Target="slides/slide86.xml"/><Relationship Id="rId108" Type="http://schemas.openxmlformats.org/officeDocument/2006/relationships/slide" Target="slides/slide91.xml"/><Relationship Id="rId116" Type="http://schemas.openxmlformats.org/officeDocument/2006/relationships/slide" Target="slides/slide99.xml"/><Relationship Id="rId124" Type="http://schemas.openxmlformats.org/officeDocument/2006/relationships/slide" Target="slides/slide107.xml"/><Relationship Id="rId129" Type="http://schemas.openxmlformats.org/officeDocument/2006/relationships/slide" Target="slides/slide112.xml"/><Relationship Id="rId137" Type="http://schemas.openxmlformats.org/officeDocument/2006/relationships/slide" Target="slides/slide120.xml"/><Relationship Id="rId20" Type="http://schemas.openxmlformats.org/officeDocument/2006/relationships/slide" Target="slides/slide3.xml"/><Relationship Id="rId41" Type="http://schemas.openxmlformats.org/officeDocument/2006/relationships/slide" Target="slides/slide24.xml"/><Relationship Id="rId54" Type="http://schemas.openxmlformats.org/officeDocument/2006/relationships/slide" Target="slides/slide37.xml"/><Relationship Id="rId62" Type="http://schemas.openxmlformats.org/officeDocument/2006/relationships/slide" Target="slides/slide45.xml"/><Relationship Id="rId70" Type="http://schemas.openxmlformats.org/officeDocument/2006/relationships/slide" Target="slides/slide53.xml"/><Relationship Id="rId75" Type="http://schemas.openxmlformats.org/officeDocument/2006/relationships/slide" Target="slides/slide58.xml"/><Relationship Id="rId83" Type="http://schemas.openxmlformats.org/officeDocument/2006/relationships/slide" Target="slides/slide66.xml"/><Relationship Id="rId88" Type="http://schemas.openxmlformats.org/officeDocument/2006/relationships/slide" Target="slides/slide71.xml"/><Relationship Id="rId91" Type="http://schemas.openxmlformats.org/officeDocument/2006/relationships/slide" Target="slides/slide74.xml"/><Relationship Id="rId96" Type="http://schemas.openxmlformats.org/officeDocument/2006/relationships/slide" Target="slides/slide79.xml"/><Relationship Id="rId111" Type="http://schemas.openxmlformats.org/officeDocument/2006/relationships/slide" Target="slides/slide94.xml"/><Relationship Id="rId132" Type="http://schemas.openxmlformats.org/officeDocument/2006/relationships/slide" Target="slides/slide115.xml"/><Relationship Id="rId140" Type="http://schemas.openxmlformats.org/officeDocument/2006/relationships/notesMaster" Target="notesMasters/notesMaster1.xml"/><Relationship Id="rId145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slide" Target="slides/slide32.xml"/><Relationship Id="rId57" Type="http://schemas.openxmlformats.org/officeDocument/2006/relationships/slide" Target="slides/slide40.xml"/><Relationship Id="rId106" Type="http://schemas.openxmlformats.org/officeDocument/2006/relationships/slide" Target="slides/slide89.xml"/><Relationship Id="rId114" Type="http://schemas.openxmlformats.org/officeDocument/2006/relationships/slide" Target="slides/slide97.xml"/><Relationship Id="rId119" Type="http://schemas.openxmlformats.org/officeDocument/2006/relationships/slide" Target="slides/slide102.xml"/><Relationship Id="rId127" Type="http://schemas.openxmlformats.org/officeDocument/2006/relationships/slide" Target="slides/slide110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4.xml"/><Relationship Id="rId44" Type="http://schemas.openxmlformats.org/officeDocument/2006/relationships/slide" Target="slides/slide27.xml"/><Relationship Id="rId52" Type="http://schemas.openxmlformats.org/officeDocument/2006/relationships/slide" Target="slides/slide35.xml"/><Relationship Id="rId60" Type="http://schemas.openxmlformats.org/officeDocument/2006/relationships/slide" Target="slides/slide43.xml"/><Relationship Id="rId65" Type="http://schemas.openxmlformats.org/officeDocument/2006/relationships/slide" Target="slides/slide48.xml"/><Relationship Id="rId73" Type="http://schemas.openxmlformats.org/officeDocument/2006/relationships/slide" Target="slides/slide56.xml"/><Relationship Id="rId78" Type="http://schemas.openxmlformats.org/officeDocument/2006/relationships/slide" Target="slides/slide61.xml"/><Relationship Id="rId81" Type="http://schemas.openxmlformats.org/officeDocument/2006/relationships/slide" Target="slides/slide64.xml"/><Relationship Id="rId86" Type="http://schemas.openxmlformats.org/officeDocument/2006/relationships/slide" Target="slides/slide69.xml"/><Relationship Id="rId94" Type="http://schemas.openxmlformats.org/officeDocument/2006/relationships/slide" Target="slides/slide77.xml"/><Relationship Id="rId99" Type="http://schemas.openxmlformats.org/officeDocument/2006/relationships/slide" Target="slides/slide82.xml"/><Relationship Id="rId101" Type="http://schemas.openxmlformats.org/officeDocument/2006/relationships/slide" Target="slides/slide84.xml"/><Relationship Id="rId122" Type="http://schemas.openxmlformats.org/officeDocument/2006/relationships/slide" Target="slides/slide105.xml"/><Relationship Id="rId130" Type="http://schemas.openxmlformats.org/officeDocument/2006/relationships/slide" Target="slides/slide113.xml"/><Relationship Id="rId135" Type="http://schemas.openxmlformats.org/officeDocument/2006/relationships/slide" Target="slides/slide118.xml"/><Relationship Id="rId143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39" Type="http://schemas.openxmlformats.org/officeDocument/2006/relationships/slide" Target="slides/slide22.xml"/><Relationship Id="rId109" Type="http://schemas.openxmlformats.org/officeDocument/2006/relationships/slide" Target="slides/slide92.xml"/><Relationship Id="rId34" Type="http://schemas.openxmlformats.org/officeDocument/2006/relationships/slide" Target="slides/slide17.xml"/><Relationship Id="rId50" Type="http://schemas.openxmlformats.org/officeDocument/2006/relationships/slide" Target="slides/slide33.xml"/><Relationship Id="rId55" Type="http://schemas.openxmlformats.org/officeDocument/2006/relationships/slide" Target="slides/slide38.xml"/><Relationship Id="rId76" Type="http://schemas.openxmlformats.org/officeDocument/2006/relationships/slide" Target="slides/slide59.xml"/><Relationship Id="rId97" Type="http://schemas.openxmlformats.org/officeDocument/2006/relationships/slide" Target="slides/slide80.xml"/><Relationship Id="rId104" Type="http://schemas.openxmlformats.org/officeDocument/2006/relationships/slide" Target="slides/slide87.xml"/><Relationship Id="rId120" Type="http://schemas.openxmlformats.org/officeDocument/2006/relationships/slide" Target="slides/slide103.xml"/><Relationship Id="rId125" Type="http://schemas.openxmlformats.org/officeDocument/2006/relationships/slide" Target="slides/slide108.xml"/><Relationship Id="rId14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54.xml"/><Relationship Id="rId92" Type="http://schemas.openxmlformats.org/officeDocument/2006/relationships/slide" Target="slides/slide75.xml"/><Relationship Id="rId2" Type="http://schemas.openxmlformats.org/officeDocument/2006/relationships/customXml" Target="../customXml/item2.xml"/><Relationship Id="rId29" Type="http://schemas.openxmlformats.org/officeDocument/2006/relationships/slide" Target="slides/slide12.xml"/><Relationship Id="rId24" Type="http://schemas.openxmlformats.org/officeDocument/2006/relationships/slide" Target="slides/slide7.xml"/><Relationship Id="rId40" Type="http://schemas.openxmlformats.org/officeDocument/2006/relationships/slide" Target="slides/slide23.xml"/><Relationship Id="rId45" Type="http://schemas.openxmlformats.org/officeDocument/2006/relationships/slide" Target="slides/slide28.xml"/><Relationship Id="rId66" Type="http://schemas.openxmlformats.org/officeDocument/2006/relationships/slide" Target="slides/slide49.xml"/><Relationship Id="rId87" Type="http://schemas.openxmlformats.org/officeDocument/2006/relationships/slide" Target="slides/slide70.xml"/><Relationship Id="rId110" Type="http://schemas.openxmlformats.org/officeDocument/2006/relationships/slide" Target="slides/slide93.xml"/><Relationship Id="rId115" Type="http://schemas.openxmlformats.org/officeDocument/2006/relationships/slide" Target="slides/slide98.xml"/><Relationship Id="rId131" Type="http://schemas.openxmlformats.org/officeDocument/2006/relationships/slide" Target="slides/slide114.xml"/><Relationship Id="rId136" Type="http://schemas.openxmlformats.org/officeDocument/2006/relationships/slide" Target="slides/slide119.xml"/><Relationship Id="rId61" Type="http://schemas.openxmlformats.org/officeDocument/2006/relationships/slide" Target="slides/slide44.xml"/><Relationship Id="rId82" Type="http://schemas.openxmlformats.org/officeDocument/2006/relationships/slide" Target="slides/slide65.xml"/><Relationship Id="rId19" Type="http://schemas.openxmlformats.org/officeDocument/2006/relationships/slide" Target="slides/slide2.xml"/><Relationship Id="rId14" Type="http://schemas.openxmlformats.org/officeDocument/2006/relationships/slideMaster" Target="slideMasters/slideMaster11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56" Type="http://schemas.openxmlformats.org/officeDocument/2006/relationships/slide" Target="slides/slide39.xml"/><Relationship Id="rId77" Type="http://schemas.openxmlformats.org/officeDocument/2006/relationships/slide" Target="slides/slide60.xml"/><Relationship Id="rId100" Type="http://schemas.openxmlformats.org/officeDocument/2006/relationships/slide" Target="slides/slide83.xml"/><Relationship Id="rId105" Type="http://schemas.openxmlformats.org/officeDocument/2006/relationships/slide" Target="slides/slide88.xml"/><Relationship Id="rId126" Type="http://schemas.openxmlformats.org/officeDocument/2006/relationships/slide" Target="slides/slide109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4.xml"/><Relationship Id="rId72" Type="http://schemas.openxmlformats.org/officeDocument/2006/relationships/slide" Target="slides/slide55.xml"/><Relationship Id="rId93" Type="http://schemas.openxmlformats.org/officeDocument/2006/relationships/slide" Target="slides/slide76.xml"/><Relationship Id="rId98" Type="http://schemas.openxmlformats.org/officeDocument/2006/relationships/slide" Target="slides/slide81.xml"/><Relationship Id="rId121" Type="http://schemas.openxmlformats.org/officeDocument/2006/relationships/slide" Target="slides/slide104.xml"/><Relationship Id="rId14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ATXT\MON\M19\Krisekonskvenser\Tidssier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1.xlsx"/><Relationship Id="rId2" Type="http://schemas.microsoft.com/office/2011/relationships/chartColorStyle" Target="colors71.xml"/><Relationship Id="rId1" Type="http://schemas.microsoft.com/office/2011/relationships/chartStyle" Target="style71.xml"/></Relationships>
</file>

<file path=ppt/charts/_rels/chart10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2.xlsx"/><Relationship Id="rId2" Type="http://schemas.microsoft.com/office/2011/relationships/chartColorStyle" Target="colors72.xml"/><Relationship Id="rId1" Type="http://schemas.microsoft.com/office/2011/relationships/chartStyle" Target="style72.xml"/></Relationships>
</file>

<file path=ppt/charts/_rels/chart10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3.xlsx"/><Relationship Id="rId2" Type="http://schemas.microsoft.com/office/2011/relationships/chartColorStyle" Target="colors73.xml"/><Relationship Id="rId1" Type="http://schemas.microsoft.com/office/2011/relationships/chartStyle" Target="style73.xml"/></Relationships>
</file>

<file path=ppt/charts/_rels/chart10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4.xlsx"/><Relationship Id="rId2" Type="http://schemas.microsoft.com/office/2011/relationships/chartColorStyle" Target="colors74.xml"/><Relationship Id="rId1" Type="http://schemas.microsoft.com/office/2011/relationships/chartStyle" Target="style74.xml"/></Relationships>
</file>

<file path=ppt/charts/_rels/chart10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5.xlsx"/><Relationship Id="rId2" Type="http://schemas.microsoft.com/office/2011/relationships/chartColorStyle" Target="colors75.xml"/><Relationship Id="rId1" Type="http://schemas.microsoft.com/office/2011/relationships/chartStyle" Target="style75.xml"/></Relationships>
</file>

<file path=ppt/charts/_rels/chart10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6.xlsx"/><Relationship Id="rId2" Type="http://schemas.microsoft.com/office/2011/relationships/chartColorStyle" Target="colors76.xml"/><Relationship Id="rId1" Type="http://schemas.microsoft.com/office/2011/relationships/chartStyle" Target="style76.xml"/></Relationships>
</file>

<file path=ppt/charts/_rels/chart10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7.xlsx"/><Relationship Id="rId2" Type="http://schemas.microsoft.com/office/2011/relationships/chartColorStyle" Target="colors77.xml"/><Relationship Id="rId1" Type="http://schemas.microsoft.com/office/2011/relationships/chartStyle" Target="style77.xml"/></Relationships>
</file>

<file path=ppt/charts/_rels/chart10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8.xlsx"/><Relationship Id="rId2" Type="http://schemas.microsoft.com/office/2011/relationships/chartColorStyle" Target="colors78.xml"/><Relationship Id="rId1" Type="http://schemas.microsoft.com/office/2011/relationships/chartStyle" Target="style78.xml"/></Relationships>
</file>

<file path=ppt/charts/_rels/chart10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9.xlsx"/><Relationship Id="rId2" Type="http://schemas.microsoft.com/office/2011/relationships/chartColorStyle" Target="colors79.xml"/><Relationship Id="rId1" Type="http://schemas.microsoft.com/office/2011/relationships/chartStyle" Target="style79.xml"/></Relationships>
</file>

<file path=ppt/charts/_rels/chart10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0.xlsx"/><Relationship Id="rId2" Type="http://schemas.microsoft.com/office/2011/relationships/chartColorStyle" Target="colors80.xml"/><Relationship Id="rId1" Type="http://schemas.microsoft.com/office/2011/relationships/chartStyle" Target="style80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1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1.xlsx"/><Relationship Id="rId2" Type="http://schemas.microsoft.com/office/2011/relationships/chartColorStyle" Target="colors81.xml"/><Relationship Id="rId1" Type="http://schemas.microsoft.com/office/2011/relationships/chartStyle" Target="style81.xml"/></Relationships>
</file>

<file path=ppt/charts/_rels/chart1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2.xlsx"/><Relationship Id="rId2" Type="http://schemas.microsoft.com/office/2011/relationships/chartColorStyle" Target="colors82.xml"/><Relationship Id="rId1" Type="http://schemas.microsoft.com/office/2011/relationships/chartStyle" Target="style82.xml"/></Relationships>
</file>

<file path=ppt/charts/_rels/chart1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3.xlsx"/><Relationship Id="rId2" Type="http://schemas.microsoft.com/office/2011/relationships/chartColorStyle" Target="colors83.xml"/><Relationship Id="rId1" Type="http://schemas.microsoft.com/office/2011/relationships/chartStyle" Target="style83.xml"/></Relationships>
</file>

<file path=ppt/charts/_rels/chart1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4.xlsx"/><Relationship Id="rId2" Type="http://schemas.microsoft.com/office/2011/relationships/chartColorStyle" Target="colors84.xml"/><Relationship Id="rId1" Type="http://schemas.microsoft.com/office/2011/relationships/chartStyle" Target="style84.xml"/></Relationships>
</file>

<file path=ppt/charts/_rels/chart1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5.xlsx"/><Relationship Id="rId1" Type="http://schemas.openxmlformats.org/officeDocument/2006/relationships/themeOverride" Target="../theme/themeOverride21.xml"/></Relationships>
</file>

<file path=ppt/charts/_rels/chart11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8.xml"/><Relationship Id="rId2" Type="http://schemas.openxmlformats.org/officeDocument/2006/relationships/package" Target="../embeddings/Microsoft_Excel_Worksheet106.xlsx"/><Relationship Id="rId1" Type="http://schemas.openxmlformats.org/officeDocument/2006/relationships/themeOverride" Target="../theme/themeOverride22.xml"/></Relationships>
</file>

<file path=ppt/charts/_rels/chart1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7.xlsx"/><Relationship Id="rId2" Type="http://schemas.microsoft.com/office/2011/relationships/chartColorStyle" Target="colors85.xml"/><Relationship Id="rId1" Type="http://schemas.microsoft.com/office/2011/relationships/chartStyle" Target="style85.xml"/></Relationships>
</file>

<file path=ppt/charts/_rels/chart1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8.xlsx"/><Relationship Id="rId2" Type="http://schemas.microsoft.com/office/2011/relationships/chartColorStyle" Target="colors86.xml"/><Relationship Id="rId1" Type="http://schemas.microsoft.com/office/2011/relationships/chartStyle" Target="style86.xml"/></Relationships>
</file>

<file path=ppt/charts/_rels/chart1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9.xlsx"/><Relationship Id="rId2" Type="http://schemas.microsoft.com/office/2011/relationships/chartColorStyle" Target="colors87.xml"/><Relationship Id="rId1" Type="http://schemas.microsoft.com/office/2011/relationships/chartStyle" Target="style87.xml"/></Relationships>
</file>

<file path=ppt/charts/_rels/chart1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0.xlsx"/><Relationship Id="rId2" Type="http://schemas.microsoft.com/office/2011/relationships/chartColorStyle" Target="colors88.xml"/><Relationship Id="rId1" Type="http://schemas.microsoft.com/office/2011/relationships/chartStyle" Target="style88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10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C:\ATXT\MON\M19\Krisekonskvenser\Tidssier.xlsx" TargetMode="External"/><Relationship Id="rId1" Type="http://schemas.openxmlformats.org/officeDocument/2006/relationships/themeOverride" Target="../theme/themeOverride1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11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8.xml"/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9.xml"/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5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6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ATXT\MON\M19\Krisekonskvenser\Tidssier.xlsx" TargetMode="Externa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0.xml"/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7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1.xml"/><Relationship Id="rId2" Type="http://schemas.openxmlformats.org/officeDocument/2006/relationships/package" Target="../embeddings/Microsoft_Excel_Worksheet24.xlsx"/><Relationship Id="rId1" Type="http://schemas.openxmlformats.org/officeDocument/2006/relationships/themeOverride" Target="../theme/themeOverride8.xml"/></Relationships>
</file>

<file path=ppt/charts/_rels/chart3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5.xlsx"/><Relationship Id="rId1" Type="http://schemas.openxmlformats.org/officeDocument/2006/relationships/themeOverride" Target="../theme/themeOverride9.xml"/></Relationships>
</file>

<file path=ppt/charts/_rels/chart3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10.xml"/></Relationships>
</file>

<file path=ppt/charts/_rels/chart3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7.xlsx"/><Relationship Id="rId1" Type="http://schemas.openxmlformats.org/officeDocument/2006/relationships/themeOverride" Target="../theme/themeOverride11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ATXT\MON\M19\Krisekonskvenser\Tidssi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ATXT\MON\M19\Krisekonskvenser\Tidssi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2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5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6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7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8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5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9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5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0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ATXT\MON\M19\Krisekonskvenser\Tidssier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1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6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2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6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3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6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4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6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5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6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6.xlsx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6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7.xlsx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6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8.xlsx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6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9.xlsx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6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0.xlsx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ATXT\MON\M19\Krisekonskvenser\Tidssier.xlsx" TargetMode="Externa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4.xml"/></Relationships>
</file>

<file path=ppt/charts/_rels/chart7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1.xlsx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7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2.xlsx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7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3.xlsx"/><Relationship Id="rId2" Type="http://schemas.microsoft.com/office/2011/relationships/chartColorStyle" Target="colors52.xml"/><Relationship Id="rId1" Type="http://schemas.microsoft.com/office/2011/relationships/chartStyle" Target="style52.xml"/></Relationships>
</file>

<file path=ppt/charts/_rels/chart7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4.xlsx"/><Relationship Id="rId2" Type="http://schemas.microsoft.com/office/2011/relationships/chartColorStyle" Target="colors53.xml"/><Relationship Id="rId1" Type="http://schemas.microsoft.com/office/2011/relationships/chartStyle" Target="style53.xml"/></Relationships>
</file>

<file path=ppt/charts/_rels/chart7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5.xlsx"/><Relationship Id="rId2" Type="http://schemas.microsoft.com/office/2011/relationships/chartColorStyle" Target="colors54.xml"/><Relationship Id="rId1" Type="http://schemas.microsoft.com/office/2011/relationships/chartStyle" Target="style54.xml"/></Relationships>
</file>

<file path=ppt/charts/_rels/chart7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6.xlsx"/><Relationship Id="rId2" Type="http://schemas.microsoft.com/office/2011/relationships/chartColorStyle" Target="colors55.xml"/><Relationship Id="rId1" Type="http://schemas.microsoft.com/office/2011/relationships/chartStyle" Target="style55.xml"/></Relationships>
</file>

<file path=ppt/charts/_rels/chart7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7.xlsx"/><Relationship Id="rId2" Type="http://schemas.microsoft.com/office/2011/relationships/chartColorStyle" Target="colors56.xml"/><Relationship Id="rId1" Type="http://schemas.microsoft.com/office/2011/relationships/chartStyle" Target="style56.xml"/></Relationships>
</file>

<file path=ppt/charts/_rels/chart7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8.xlsx"/><Relationship Id="rId2" Type="http://schemas.microsoft.com/office/2011/relationships/chartColorStyle" Target="colors57.xml"/><Relationship Id="rId1" Type="http://schemas.microsoft.com/office/2011/relationships/chartStyle" Target="style57.xml"/></Relationships>
</file>

<file path=ppt/charts/_rels/chart7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9.xlsx"/><Relationship Id="rId2" Type="http://schemas.microsoft.com/office/2011/relationships/chartColorStyle" Target="colors58.xml"/><Relationship Id="rId1" Type="http://schemas.microsoft.com/office/2011/relationships/chartStyle" Target="style58.xml"/></Relationships>
</file>

<file path=ppt/charts/_rels/chart7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0.xlsx"/><Relationship Id="rId2" Type="http://schemas.microsoft.com/office/2011/relationships/chartColorStyle" Target="colors59.xml"/><Relationship Id="rId1" Type="http://schemas.microsoft.com/office/2011/relationships/chartStyle" Target="style59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ATXT\MON\M19\Krisekonskvenser\Tidssier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1.xlsx"/><Relationship Id="rId2" Type="http://schemas.microsoft.com/office/2011/relationships/chartColorStyle" Target="colors60.xml"/><Relationship Id="rId1" Type="http://schemas.microsoft.com/office/2011/relationships/chartStyle" Target="style60.xml"/></Relationships>
</file>

<file path=ppt/charts/_rels/chart8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2.xlsx"/><Relationship Id="rId2" Type="http://schemas.microsoft.com/office/2011/relationships/chartColorStyle" Target="colors61.xml"/><Relationship Id="rId1" Type="http://schemas.microsoft.com/office/2011/relationships/chartStyle" Target="style61.xml"/></Relationships>
</file>

<file path=ppt/charts/_rels/chart8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3.xlsx"/><Relationship Id="rId2" Type="http://schemas.microsoft.com/office/2011/relationships/chartColorStyle" Target="colors62.xml"/><Relationship Id="rId1" Type="http://schemas.microsoft.com/office/2011/relationships/chartStyle" Target="style62.xml"/></Relationships>
</file>

<file path=ppt/charts/_rels/chart8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4.xlsx"/><Relationship Id="rId2" Type="http://schemas.microsoft.com/office/2011/relationships/chartColorStyle" Target="colors63.xml"/><Relationship Id="rId1" Type="http://schemas.microsoft.com/office/2011/relationships/chartStyle" Target="style63.xml"/></Relationships>
</file>

<file path=ppt/charts/_rels/chart8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5.xlsx"/><Relationship Id="rId2" Type="http://schemas.microsoft.com/office/2011/relationships/chartColorStyle" Target="colors64.xml"/><Relationship Id="rId1" Type="http://schemas.microsoft.com/office/2011/relationships/chartStyle" Target="style64.xml"/></Relationships>
</file>

<file path=ppt/charts/_rels/chart8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6.xlsx"/><Relationship Id="rId2" Type="http://schemas.microsoft.com/office/2011/relationships/chartColorStyle" Target="colors65.xml"/><Relationship Id="rId1" Type="http://schemas.microsoft.com/office/2011/relationships/chartStyle" Target="style65.xml"/></Relationships>
</file>

<file path=ppt/charts/_rels/chart8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7.xlsx"/><Relationship Id="rId2" Type="http://schemas.microsoft.com/office/2011/relationships/chartColorStyle" Target="colors66.xml"/><Relationship Id="rId1" Type="http://schemas.microsoft.com/office/2011/relationships/chartStyle" Target="style66.xml"/></Relationships>
</file>

<file path=ppt/charts/_rels/chart8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8.xlsx"/><Relationship Id="rId2" Type="http://schemas.microsoft.com/office/2011/relationships/chartColorStyle" Target="colors67.xml"/><Relationship Id="rId1" Type="http://schemas.microsoft.com/office/2011/relationships/chartStyle" Target="style67.xml"/></Relationships>
</file>

<file path=ppt/charts/_rels/chart8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9.xlsx"/><Relationship Id="rId2" Type="http://schemas.microsoft.com/office/2011/relationships/chartColorStyle" Target="colors68.xml"/><Relationship Id="rId1" Type="http://schemas.microsoft.com/office/2011/relationships/chartStyle" Target="style68.xml"/></Relationships>
</file>

<file path=ppt/charts/_rels/chart89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2.xml"/><Relationship Id="rId2" Type="http://schemas.openxmlformats.org/officeDocument/2006/relationships/package" Target="../embeddings/Microsoft_Excel_Worksheet80.xlsx"/><Relationship Id="rId1" Type="http://schemas.openxmlformats.org/officeDocument/2006/relationships/themeOverride" Target="../theme/themeOverride12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C:\ATXT\MON\M19\Krisekonskvenser\Tidssier.xlsx" TargetMode="External"/></Relationships>
</file>

<file path=ppt/charts/_rels/chart9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1.xlsx"/><Relationship Id="rId1" Type="http://schemas.openxmlformats.org/officeDocument/2006/relationships/themeOverride" Target="../theme/themeOverride13.xml"/></Relationships>
</file>

<file path=ppt/charts/_rels/chart9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2.xlsx"/><Relationship Id="rId1" Type="http://schemas.openxmlformats.org/officeDocument/2006/relationships/themeOverride" Target="../theme/themeOverride14.xml"/></Relationships>
</file>

<file path=ppt/charts/_rels/chart9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3.xml"/><Relationship Id="rId2" Type="http://schemas.openxmlformats.org/officeDocument/2006/relationships/package" Target="../embeddings/Microsoft_Excel_Worksheet83.xlsx"/><Relationship Id="rId1" Type="http://schemas.openxmlformats.org/officeDocument/2006/relationships/themeOverride" Target="../theme/themeOverride15.xml"/></Relationships>
</file>

<file path=ppt/charts/_rels/chart9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4.xml"/><Relationship Id="rId2" Type="http://schemas.openxmlformats.org/officeDocument/2006/relationships/package" Target="../embeddings/Microsoft_Excel_Worksheet84.xlsx"/><Relationship Id="rId1" Type="http://schemas.openxmlformats.org/officeDocument/2006/relationships/themeOverride" Target="../theme/themeOverride16.xml"/></Relationships>
</file>

<file path=ppt/charts/_rels/chart9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5.xml"/><Relationship Id="rId2" Type="http://schemas.openxmlformats.org/officeDocument/2006/relationships/package" Target="../embeddings/Microsoft_Excel_Worksheet85.xlsx"/><Relationship Id="rId1" Type="http://schemas.openxmlformats.org/officeDocument/2006/relationships/themeOverride" Target="../theme/themeOverride17.xml"/></Relationships>
</file>

<file path=ppt/charts/_rels/chart9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6.xlsx"/><Relationship Id="rId1" Type="http://schemas.openxmlformats.org/officeDocument/2006/relationships/themeOverride" Target="../theme/themeOverride18.xml"/></Relationships>
</file>

<file path=ppt/charts/_rels/chart96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6.xml"/><Relationship Id="rId2" Type="http://schemas.openxmlformats.org/officeDocument/2006/relationships/package" Target="../embeddings/Microsoft_Excel_Worksheet87.xlsx"/><Relationship Id="rId1" Type="http://schemas.openxmlformats.org/officeDocument/2006/relationships/themeOverride" Target="../theme/themeOverride19.xml"/></Relationships>
</file>

<file path=ppt/charts/_rels/chart97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7.xml"/><Relationship Id="rId2" Type="http://schemas.openxmlformats.org/officeDocument/2006/relationships/package" Target="../embeddings/Microsoft_Excel_Worksheet88.xlsx"/><Relationship Id="rId1" Type="http://schemas.openxmlformats.org/officeDocument/2006/relationships/themeOverride" Target="../theme/themeOverride20.xml"/></Relationships>
</file>

<file path=ppt/charts/_rels/chart9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9.xlsx"/><Relationship Id="rId2" Type="http://schemas.microsoft.com/office/2011/relationships/chartColorStyle" Target="colors69.xml"/><Relationship Id="rId1" Type="http://schemas.microsoft.com/office/2011/relationships/chartStyle" Target="style69.xml"/></Relationships>
</file>

<file path=ppt/charts/_rels/chart9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0.xlsx"/><Relationship Id="rId2" Type="http://schemas.microsoft.com/office/2011/relationships/chartColorStyle" Target="colors70.xml"/><Relationship Id="rId1" Type="http://schemas.microsoft.com/office/2011/relationships/chartStyle" Target="style70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142857142857144E-2"/>
          <c:y val="3.0762055609957394E-2"/>
          <c:w val="0.69409529808773907"/>
          <c:h val="0.8617477912205490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40</c:f>
              <c:strCache>
                <c:ptCount val="1"/>
                <c:pt idx="0">
                  <c:v>Det hele har gått for langt. Det er for sent å gjøre noe. Vi går mot en katastrofe</c:v>
                </c:pt>
              </c:strCache>
            </c:strRef>
          </c:tx>
          <c:spPr>
            <a:solidFill>
              <a:srgbClr val="CB281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41:$A$56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Sheet1!$B$41:$B$56</c:f>
              <c:numCache>
                <c:formatCode>General</c:formatCode>
                <c:ptCount val="1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2</c:v>
                </c:pt>
                <c:pt idx="14">
                  <c:v>3</c:v>
                </c:pt>
                <c:pt idx="1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6E-462B-B402-1CA5FDCEAC21}"/>
            </c:ext>
          </c:extLst>
        </c:ser>
        <c:ser>
          <c:idx val="1"/>
          <c:order val="1"/>
          <c:tx>
            <c:strRef>
              <c:f>Sheet1!$C$40</c:f>
              <c:strCache>
                <c:ptCount val="1"/>
                <c:pt idx="0">
                  <c:v>Situasjonen er alvorlig. Det er nødvendig med øyeblikkelige og drastiske tiltak om vi skal løse problemene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41:$A$56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Sheet1!$C$41:$C$56</c:f>
              <c:numCache>
                <c:formatCode>General</c:formatCode>
                <c:ptCount val="16"/>
                <c:pt idx="0">
                  <c:v>61</c:v>
                </c:pt>
                <c:pt idx="1">
                  <c:v>52</c:v>
                </c:pt>
                <c:pt idx="2">
                  <c:v>42</c:v>
                </c:pt>
                <c:pt idx="3">
                  <c:v>42</c:v>
                </c:pt>
                <c:pt idx="4">
                  <c:v>34</c:v>
                </c:pt>
                <c:pt idx="5">
                  <c:v>28</c:v>
                </c:pt>
                <c:pt idx="6">
                  <c:v>26</c:v>
                </c:pt>
                <c:pt idx="7">
                  <c:v>26</c:v>
                </c:pt>
                <c:pt idx="8">
                  <c:v>34</c:v>
                </c:pt>
                <c:pt idx="9">
                  <c:v>47</c:v>
                </c:pt>
                <c:pt idx="10">
                  <c:v>42</c:v>
                </c:pt>
                <c:pt idx="11">
                  <c:v>33</c:v>
                </c:pt>
                <c:pt idx="12">
                  <c:v>41</c:v>
                </c:pt>
                <c:pt idx="13">
                  <c:v>44</c:v>
                </c:pt>
                <c:pt idx="14">
                  <c:v>46</c:v>
                </c:pt>
                <c:pt idx="15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6E-462B-B402-1CA5FDCEAC21}"/>
            </c:ext>
          </c:extLst>
        </c:ser>
        <c:ser>
          <c:idx val="2"/>
          <c:order val="2"/>
          <c:tx>
            <c:strRef>
              <c:f>Sheet1!$D$40</c:f>
              <c:strCache>
                <c:ptCount val="1"/>
                <c:pt idx="0">
                  <c:v>Med tålmodighet og utholdenhet skal vi på sikt klare å snu tendensen til miljøforringelse</c:v>
                </c:pt>
              </c:strCache>
            </c:strRef>
          </c:tx>
          <c:spPr>
            <a:gradFill flip="none" rotWithShape="1">
              <a:gsLst>
                <a:gs pos="0">
                  <a:srgbClr val="98C5FF"/>
                </a:gs>
                <a:gs pos="71000">
                  <a:schemeClr val="accent1">
                    <a:lumMod val="45000"/>
                    <a:lumOff val="55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41:$A$56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Sheet1!$D$41:$D$56</c:f>
              <c:numCache>
                <c:formatCode>General</c:formatCode>
                <c:ptCount val="16"/>
                <c:pt idx="0">
                  <c:v>32</c:v>
                </c:pt>
                <c:pt idx="1">
                  <c:v>40</c:v>
                </c:pt>
                <c:pt idx="2">
                  <c:v>47</c:v>
                </c:pt>
                <c:pt idx="3">
                  <c:v>47</c:v>
                </c:pt>
                <c:pt idx="4">
                  <c:v>55</c:v>
                </c:pt>
                <c:pt idx="5">
                  <c:v>58</c:v>
                </c:pt>
                <c:pt idx="6">
                  <c:v>56</c:v>
                </c:pt>
                <c:pt idx="7">
                  <c:v>57</c:v>
                </c:pt>
                <c:pt idx="8">
                  <c:v>51</c:v>
                </c:pt>
                <c:pt idx="9">
                  <c:v>39</c:v>
                </c:pt>
                <c:pt idx="10">
                  <c:v>42</c:v>
                </c:pt>
                <c:pt idx="11">
                  <c:v>48</c:v>
                </c:pt>
                <c:pt idx="12">
                  <c:v>45</c:v>
                </c:pt>
                <c:pt idx="13">
                  <c:v>43</c:v>
                </c:pt>
                <c:pt idx="14">
                  <c:v>40</c:v>
                </c:pt>
                <c:pt idx="15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6E-462B-B402-1CA5FDCEAC21}"/>
            </c:ext>
          </c:extLst>
        </c:ser>
        <c:ser>
          <c:idx val="3"/>
          <c:order val="3"/>
          <c:tx>
            <c:strRef>
              <c:f>Sheet1!$E$40</c:f>
              <c:strCache>
                <c:ptCount val="1"/>
                <c:pt idx="0">
                  <c:v>Det står ikke så dårlig til, vi har lett for å overdrive alvoret i situasjonen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41:$A$56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Sheet1!$E$41:$E$56</c:f>
              <c:numCache>
                <c:formatCode>General</c:formatCode>
                <c:ptCount val="16"/>
                <c:pt idx="0">
                  <c:v>4</c:v>
                </c:pt>
                <c:pt idx="1">
                  <c:v>6</c:v>
                </c:pt>
                <c:pt idx="2">
                  <c:v>8</c:v>
                </c:pt>
                <c:pt idx="3">
                  <c:v>9</c:v>
                </c:pt>
                <c:pt idx="4">
                  <c:v>10</c:v>
                </c:pt>
                <c:pt idx="5">
                  <c:v>13</c:v>
                </c:pt>
                <c:pt idx="6">
                  <c:v>17</c:v>
                </c:pt>
                <c:pt idx="7">
                  <c:v>15</c:v>
                </c:pt>
                <c:pt idx="8">
                  <c:v>13</c:v>
                </c:pt>
                <c:pt idx="9">
                  <c:v>12</c:v>
                </c:pt>
                <c:pt idx="10">
                  <c:v>14</c:v>
                </c:pt>
                <c:pt idx="11">
                  <c:v>18</c:v>
                </c:pt>
                <c:pt idx="12">
                  <c:v>12</c:v>
                </c:pt>
                <c:pt idx="13">
                  <c:v>11</c:v>
                </c:pt>
                <c:pt idx="14">
                  <c:v>11</c:v>
                </c:pt>
                <c:pt idx="15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96E-462B-B402-1CA5FDCEAC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6"/>
        <c:overlap val="100"/>
        <c:axId val="97721728"/>
        <c:axId val="97735808"/>
      </c:barChart>
      <c:catAx>
        <c:axId val="97721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7735808"/>
        <c:crosses val="autoZero"/>
        <c:auto val="1"/>
        <c:lblAlgn val="ctr"/>
        <c:lblOffset val="100"/>
        <c:noMultiLvlLbl val="0"/>
      </c:catAx>
      <c:valAx>
        <c:axId val="97735808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7721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531930749458988"/>
          <c:y val="0.16278541285201509"/>
          <c:w val="0.21735912051201808"/>
          <c:h val="0.7164587212334898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82648609058904E-2"/>
          <c:y val="2.0713139402352395E-3"/>
          <c:w val="0.91563295451511795"/>
          <c:h val="0.8504521200227601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e</c:v>
                </c:pt>
              </c:strCache>
            </c:strRef>
          </c:tx>
          <c:spPr>
            <a:solidFill>
              <a:srgbClr val="00A5A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0"/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0</c:f>
              <c:numCache>
                <c:formatCode>General</c:formatCode>
                <c:ptCount val="9"/>
                <c:pt idx="0">
                  <c:v>2003</c:v>
                </c:pt>
                <c:pt idx="1">
                  <c:v>2005</c:v>
                </c:pt>
                <c:pt idx="2">
                  <c:v>2007</c:v>
                </c:pt>
                <c:pt idx="3">
                  <c:v>2009</c:v>
                </c:pt>
                <c:pt idx="4">
                  <c:v>2011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numCache>
            </c:numRef>
          </c:cat>
          <c:val>
            <c:numRef>
              <c:f>Sheet1!$B$2:$B$10</c:f>
              <c:numCache>
                <c:formatCode>0%</c:formatCode>
                <c:ptCount val="9"/>
                <c:pt idx="0">
                  <c:v>0.44</c:v>
                </c:pt>
                <c:pt idx="1">
                  <c:v>0.52</c:v>
                </c:pt>
                <c:pt idx="2">
                  <c:v>0.56000000000000005</c:v>
                </c:pt>
                <c:pt idx="3">
                  <c:v>0.56000000000000005</c:v>
                </c:pt>
                <c:pt idx="4">
                  <c:v>0.57999999999999996</c:v>
                </c:pt>
                <c:pt idx="5">
                  <c:v>0.59</c:v>
                </c:pt>
                <c:pt idx="6">
                  <c:v>0.56999999999999995</c:v>
                </c:pt>
                <c:pt idx="7">
                  <c:v>0.63</c:v>
                </c:pt>
                <c:pt idx="8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3C-4365-8817-82B5AB502D5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8"/>
        <c:axId val="249627008"/>
        <c:axId val="249628544"/>
      </c:barChart>
      <c:catAx>
        <c:axId val="2496270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nb-NO"/>
          </a:p>
        </c:txPr>
        <c:crossAx val="249628544"/>
        <c:crosses val="autoZero"/>
        <c:auto val="1"/>
        <c:lblAlgn val="ctr"/>
        <c:lblOffset val="100"/>
        <c:noMultiLvlLbl val="0"/>
      </c:catAx>
      <c:valAx>
        <c:axId val="249628544"/>
        <c:scaling>
          <c:orientation val="minMax"/>
          <c:max val="0.7000000000000004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249627008"/>
        <c:crosses val="autoZero"/>
        <c:crossBetween val="between"/>
        <c:majorUnit val="0.7000000000000004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nb-NO"/>
    </a:p>
  </c:txPr>
  <c:externalData r:id="rId1">
    <c:autoUpdate val="0"/>
  </c:externalData>
</c:chartSpace>
</file>

<file path=ppt/charts/chart1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 dirty="0"/>
          </a:p>
          <a:p>
            <a:pPr>
              <a:defRPr/>
            </a:pP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51501298553478192"/>
          <c:y val="6.6398412917694303E-3"/>
          <c:w val="0.46424119215204923"/>
          <c:h val="0.928418020450673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3:$A$23</c:f>
              <c:strCache>
                <c:ptCount val="21"/>
                <c:pt idx="0">
                  <c:v>Kunstløp/ Hurtigløp på skøyter</c:v>
                </c:pt>
                <c:pt idx="1">
                  <c:v>Biljard</c:v>
                </c:pt>
                <c:pt idx="2">
                  <c:v>Frisbee/ frisbeegolf</c:v>
                </c:pt>
                <c:pt idx="3">
                  <c:v>Telemark</c:v>
                </c:pt>
                <c:pt idx="4">
                  <c:v>Bowling</c:v>
                </c:pt>
                <c:pt idx="5">
                  <c:v>Squash</c:v>
                </c:pt>
                <c:pt idx="6">
                  <c:v>Bryting/ Boksing</c:v>
                </c:pt>
                <c:pt idx="7">
                  <c:v>Golf</c:v>
                </c:pt>
                <c:pt idx="8">
                  <c:v>Badminton</c:v>
                </c:pt>
                <c:pt idx="9">
                  <c:v>Motorsport</c:v>
                </c:pt>
                <c:pt idx="10">
                  <c:v>Seiling/ Brettseiling/ Surfing/ SUP</c:v>
                </c:pt>
                <c:pt idx="11">
                  <c:v>Yoga/ Pilates</c:v>
                </c:pt>
                <c:pt idx="12">
                  <c:v>Roing/ Padling/ Kano</c:v>
                </c:pt>
                <c:pt idx="13">
                  <c:v>Snowboard</c:v>
                </c:pt>
                <c:pt idx="14">
                  <c:v>Rulleskøyter/ Inline-skøyter / rullebrett</c:v>
                </c:pt>
                <c:pt idx="15">
                  <c:v>Basketball</c:v>
                </c:pt>
                <c:pt idx="16">
                  <c:v>Volleyball</c:v>
                </c:pt>
                <c:pt idx="17">
                  <c:v>Orientering</c:v>
                </c:pt>
                <c:pt idx="18">
                  <c:v>Bordtennis</c:v>
                </c:pt>
                <c:pt idx="19">
                  <c:v>Tennis</c:v>
                </c:pt>
                <c:pt idx="20">
                  <c:v>Skyting</c:v>
                </c:pt>
              </c:strCache>
            </c:strRef>
          </c:cat>
          <c:val>
            <c:numRef>
              <c:f>'Ark1'!$B$3:$B$23</c:f>
              <c:numCache>
                <c:formatCode>General</c:formatCode>
                <c:ptCount val="21"/>
                <c:pt idx="0">
                  <c:v>0.9</c:v>
                </c:pt>
                <c:pt idx="1">
                  <c:v>0.2</c:v>
                </c:pt>
                <c:pt idx="2">
                  <c:v>0.2</c:v>
                </c:pt>
                <c:pt idx="3">
                  <c:v>0.3</c:v>
                </c:pt>
                <c:pt idx="4">
                  <c:v>0.6</c:v>
                </c:pt>
                <c:pt idx="5">
                  <c:v>0</c:v>
                </c:pt>
                <c:pt idx="6">
                  <c:v>0.5</c:v>
                </c:pt>
                <c:pt idx="7">
                  <c:v>0.6</c:v>
                </c:pt>
                <c:pt idx="8">
                  <c:v>0.8</c:v>
                </c:pt>
                <c:pt idx="9">
                  <c:v>1</c:v>
                </c:pt>
                <c:pt idx="10">
                  <c:v>1</c:v>
                </c:pt>
                <c:pt idx="11">
                  <c:v>0.8</c:v>
                </c:pt>
                <c:pt idx="12">
                  <c:v>0.6</c:v>
                </c:pt>
                <c:pt idx="13">
                  <c:v>1.5</c:v>
                </c:pt>
                <c:pt idx="14">
                  <c:v>1</c:v>
                </c:pt>
                <c:pt idx="15">
                  <c:v>1.6</c:v>
                </c:pt>
                <c:pt idx="16">
                  <c:v>1.1000000000000001</c:v>
                </c:pt>
                <c:pt idx="17">
                  <c:v>1.4</c:v>
                </c:pt>
                <c:pt idx="18">
                  <c:v>1.4</c:v>
                </c:pt>
                <c:pt idx="19">
                  <c:v>1.8</c:v>
                </c:pt>
                <c:pt idx="20">
                  <c:v>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96-4951-AF9E-185ACD63BC5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3:$A$23</c:f>
              <c:strCache>
                <c:ptCount val="21"/>
                <c:pt idx="0">
                  <c:v>Kunstløp/ Hurtigløp på skøyter</c:v>
                </c:pt>
                <c:pt idx="1">
                  <c:v>Biljard</c:v>
                </c:pt>
                <c:pt idx="2">
                  <c:v>Frisbee/ frisbeegolf</c:v>
                </c:pt>
                <c:pt idx="3">
                  <c:v>Telemark</c:v>
                </c:pt>
                <c:pt idx="4">
                  <c:v>Bowling</c:v>
                </c:pt>
                <c:pt idx="5">
                  <c:v>Squash</c:v>
                </c:pt>
                <c:pt idx="6">
                  <c:v>Bryting/ Boksing</c:v>
                </c:pt>
                <c:pt idx="7">
                  <c:v>Golf</c:v>
                </c:pt>
                <c:pt idx="8">
                  <c:v>Badminton</c:v>
                </c:pt>
                <c:pt idx="9">
                  <c:v>Motorsport</c:v>
                </c:pt>
                <c:pt idx="10">
                  <c:v>Seiling/ Brettseiling/ Surfing/ SUP</c:v>
                </c:pt>
                <c:pt idx="11">
                  <c:v>Yoga/ Pilates</c:v>
                </c:pt>
                <c:pt idx="12">
                  <c:v>Roing/ Padling/ Kano</c:v>
                </c:pt>
                <c:pt idx="13">
                  <c:v>Snowboard</c:v>
                </c:pt>
                <c:pt idx="14">
                  <c:v>Rulleskøyter/ Inline-skøyter / rullebrett</c:v>
                </c:pt>
                <c:pt idx="15">
                  <c:v>Basketball</c:v>
                </c:pt>
                <c:pt idx="16">
                  <c:v>Volleyball</c:v>
                </c:pt>
                <c:pt idx="17">
                  <c:v>Orientering</c:v>
                </c:pt>
                <c:pt idx="18">
                  <c:v>Bordtennis</c:v>
                </c:pt>
                <c:pt idx="19">
                  <c:v>Tennis</c:v>
                </c:pt>
                <c:pt idx="20">
                  <c:v>Skyting</c:v>
                </c:pt>
              </c:strCache>
            </c:strRef>
          </c:cat>
          <c:val>
            <c:numRef>
              <c:f>'Ark1'!$C$3:$C$23</c:f>
              <c:numCache>
                <c:formatCode>General</c:formatCode>
                <c:ptCount val="21"/>
                <c:pt idx="0">
                  <c:v>0.1</c:v>
                </c:pt>
                <c:pt idx="1">
                  <c:v>0.2</c:v>
                </c:pt>
                <c:pt idx="2">
                  <c:v>0.2</c:v>
                </c:pt>
                <c:pt idx="3">
                  <c:v>0.3</c:v>
                </c:pt>
                <c:pt idx="4">
                  <c:v>0.3</c:v>
                </c:pt>
                <c:pt idx="5">
                  <c:v>0.4</c:v>
                </c:pt>
                <c:pt idx="6">
                  <c:v>0.8</c:v>
                </c:pt>
                <c:pt idx="7">
                  <c:v>0.8</c:v>
                </c:pt>
                <c:pt idx="8">
                  <c:v>0.8</c:v>
                </c:pt>
                <c:pt idx="9">
                  <c:v>0.8</c:v>
                </c:pt>
                <c:pt idx="10">
                  <c:v>0.9</c:v>
                </c:pt>
                <c:pt idx="11">
                  <c:v>0.9</c:v>
                </c:pt>
                <c:pt idx="12">
                  <c:v>1.2</c:v>
                </c:pt>
                <c:pt idx="13">
                  <c:v>1.4</c:v>
                </c:pt>
                <c:pt idx="14">
                  <c:v>1.4</c:v>
                </c:pt>
                <c:pt idx="15">
                  <c:v>1.4</c:v>
                </c:pt>
                <c:pt idx="16">
                  <c:v>1.5</c:v>
                </c:pt>
                <c:pt idx="17">
                  <c:v>1.6</c:v>
                </c:pt>
                <c:pt idx="18">
                  <c:v>1.8</c:v>
                </c:pt>
                <c:pt idx="19">
                  <c:v>1.9</c:v>
                </c:pt>
                <c:pt idx="20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96-4951-AF9E-185ACD63BC5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1"/>
        <c:axId val="662233864"/>
        <c:axId val="662237472"/>
      </c:barChart>
      <c:catAx>
        <c:axId val="662233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2237472"/>
        <c:crosses val="autoZero"/>
        <c:auto val="1"/>
        <c:lblAlgn val="ctr"/>
        <c:lblOffset val="100"/>
        <c:noMultiLvlLbl val="0"/>
      </c:catAx>
      <c:valAx>
        <c:axId val="662237472"/>
        <c:scaling>
          <c:orientation val="minMax"/>
          <c:max val="35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662233864"/>
        <c:crosses val="autoZero"/>
        <c:crossBetween val="between"/>
        <c:majorUnit val="35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78724360975821783"/>
          <c:y val="0.49445429319368056"/>
          <c:w val="9.1633112949527695E-2"/>
          <c:h val="9.6900238637375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0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 dirty="0"/>
          </a:p>
          <a:p>
            <a:pPr>
              <a:defRPr/>
            </a:pP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51302735803818755"/>
          <c:y val="6.477675869715073E-3"/>
          <c:w val="0.46424119215204923"/>
          <c:h val="0.928418020450673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DF3-427E-83C7-C2BA661C17D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4:$A$46</c:f>
              <c:strCache>
                <c:ptCount val="23"/>
                <c:pt idx="0">
                  <c:v>Sykling som trening (på vei/ i terreng/ spinning)</c:v>
                </c:pt>
                <c:pt idx="1">
                  <c:v>Bandy/ Ishockey</c:v>
                </c:pt>
                <c:pt idx="2">
                  <c:v>Innebandy</c:v>
                </c:pt>
                <c:pt idx="3">
                  <c:v>Friidrett</c:v>
                </c:pt>
                <c:pt idx="4">
                  <c:v>Klatring/ Fallskjermhopping/ Paragliding/ Hanggliding/ Kiting / Rafting/ Dykking/ Topptur</c:v>
                </c:pt>
                <c:pt idx="5">
                  <c:v>Vektløfting/ Kroppsbygging</c:v>
                </c:pt>
                <c:pt idx="6">
                  <c:v>Ridning</c:v>
                </c:pt>
                <c:pt idx="7">
                  <c:v>Judo/ Karate/ Tae kwondo o.l.</c:v>
                </c:pt>
                <c:pt idx="8">
                  <c:v>Allidrett</c:v>
                </c:pt>
                <c:pt idx="9">
                  <c:v>Løpstrening</c:v>
                </c:pt>
                <c:pt idx="10">
                  <c:v>Gymnastikk/ Jazzballett/ Aerobics/ Freestyle og andre former for gruppetrening</c:v>
                </c:pt>
                <c:pt idx="11">
                  <c:v>Slalåm/ Alpint/ Randonee</c:v>
                </c:pt>
                <c:pt idx="12">
                  <c:v>Jogging i mosjonshensikt</c:v>
                </c:pt>
                <c:pt idx="13">
                  <c:v>Dans</c:v>
                </c:pt>
                <c:pt idx="14">
                  <c:v>Turn/ Rytmisk gymnastikk</c:v>
                </c:pt>
                <c:pt idx="15">
                  <c:v>Skiturer i skog og fjell</c:v>
                </c:pt>
                <c:pt idx="16">
                  <c:v>Langrenn</c:v>
                </c:pt>
                <c:pt idx="17">
                  <c:v>Håndball</c:v>
                </c:pt>
                <c:pt idx="18">
                  <c:v>Svømming</c:v>
                </c:pt>
                <c:pt idx="19">
                  <c:v>Styrketrening</c:v>
                </c:pt>
                <c:pt idx="20">
                  <c:v>Fotturer i skog og mark, på fjell og vidde</c:v>
                </c:pt>
                <c:pt idx="21">
                  <c:v>Sykling til skole og på tur</c:v>
                </c:pt>
                <c:pt idx="22">
                  <c:v>Fotball</c:v>
                </c:pt>
              </c:strCache>
            </c:strRef>
          </c:cat>
          <c:val>
            <c:numRef>
              <c:f>'Ark1'!$B$24:$B$46</c:f>
              <c:numCache>
                <c:formatCode>General</c:formatCode>
                <c:ptCount val="23"/>
                <c:pt idx="0">
                  <c:v>4.4000000000000004</c:v>
                </c:pt>
                <c:pt idx="1">
                  <c:v>1.8</c:v>
                </c:pt>
                <c:pt idx="2">
                  <c:v>1.9</c:v>
                </c:pt>
                <c:pt idx="3">
                  <c:v>2.9</c:v>
                </c:pt>
                <c:pt idx="4">
                  <c:v>2.5</c:v>
                </c:pt>
                <c:pt idx="5">
                  <c:v>2.2000000000000002</c:v>
                </c:pt>
                <c:pt idx="6">
                  <c:v>4.0999999999999996</c:v>
                </c:pt>
                <c:pt idx="7">
                  <c:v>4.9000000000000004</c:v>
                </c:pt>
                <c:pt idx="8">
                  <c:v>0</c:v>
                </c:pt>
                <c:pt idx="9">
                  <c:v>7.6</c:v>
                </c:pt>
                <c:pt idx="10">
                  <c:v>9</c:v>
                </c:pt>
                <c:pt idx="11">
                  <c:v>9.8000000000000007</c:v>
                </c:pt>
                <c:pt idx="12">
                  <c:v>9.8000000000000007</c:v>
                </c:pt>
                <c:pt idx="13">
                  <c:v>11.1</c:v>
                </c:pt>
                <c:pt idx="14">
                  <c:v>9.6</c:v>
                </c:pt>
                <c:pt idx="15">
                  <c:v>12.4</c:v>
                </c:pt>
                <c:pt idx="16">
                  <c:v>11.7</c:v>
                </c:pt>
                <c:pt idx="17">
                  <c:v>12.6</c:v>
                </c:pt>
                <c:pt idx="18">
                  <c:v>14.6</c:v>
                </c:pt>
                <c:pt idx="19">
                  <c:v>15.3</c:v>
                </c:pt>
                <c:pt idx="21">
                  <c:v>25.4</c:v>
                </c:pt>
                <c:pt idx="22">
                  <c:v>3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2D-44FB-A6A5-C5579D5C8D28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4:$A$46</c:f>
              <c:strCache>
                <c:ptCount val="23"/>
                <c:pt idx="0">
                  <c:v>Sykling som trening (på vei/ i terreng/ spinning)</c:v>
                </c:pt>
                <c:pt idx="1">
                  <c:v>Bandy/ Ishockey</c:v>
                </c:pt>
                <c:pt idx="2">
                  <c:v>Innebandy</c:v>
                </c:pt>
                <c:pt idx="3">
                  <c:v>Friidrett</c:v>
                </c:pt>
                <c:pt idx="4">
                  <c:v>Klatring/ Fallskjermhopping/ Paragliding/ Hanggliding/ Kiting / Rafting/ Dykking/ Topptur</c:v>
                </c:pt>
                <c:pt idx="5">
                  <c:v>Vektløfting/ Kroppsbygging</c:v>
                </c:pt>
                <c:pt idx="6">
                  <c:v>Ridning</c:v>
                </c:pt>
                <c:pt idx="7">
                  <c:v>Judo/ Karate/ Tae kwondo o.l.</c:v>
                </c:pt>
                <c:pt idx="8">
                  <c:v>Allidrett</c:v>
                </c:pt>
                <c:pt idx="9">
                  <c:v>Løpstrening</c:v>
                </c:pt>
                <c:pt idx="10">
                  <c:v>Gymnastikk/ Jazzballett/ Aerobics/ Freestyle og andre former for gruppetrening</c:v>
                </c:pt>
                <c:pt idx="11">
                  <c:v>Slalåm/ Alpint/ Randonee</c:v>
                </c:pt>
                <c:pt idx="12">
                  <c:v>Jogging i mosjonshensikt</c:v>
                </c:pt>
                <c:pt idx="13">
                  <c:v>Dans</c:v>
                </c:pt>
                <c:pt idx="14">
                  <c:v>Turn/ Rytmisk gymnastikk</c:v>
                </c:pt>
                <c:pt idx="15">
                  <c:v>Skiturer i skog og fjell</c:v>
                </c:pt>
                <c:pt idx="16">
                  <c:v>Langrenn</c:v>
                </c:pt>
                <c:pt idx="17">
                  <c:v>Håndball</c:v>
                </c:pt>
                <c:pt idx="18">
                  <c:v>Svømming</c:v>
                </c:pt>
                <c:pt idx="19">
                  <c:v>Styrketrening</c:v>
                </c:pt>
                <c:pt idx="20">
                  <c:v>Fotturer i skog og mark, på fjell og vidde</c:v>
                </c:pt>
                <c:pt idx="21">
                  <c:v>Sykling til skole og på tur</c:v>
                </c:pt>
                <c:pt idx="22">
                  <c:v>Fotball</c:v>
                </c:pt>
              </c:strCache>
            </c:strRef>
          </c:cat>
          <c:val>
            <c:numRef>
              <c:f>'Ark1'!$C$24:$C$46</c:f>
              <c:numCache>
                <c:formatCode>General</c:formatCode>
                <c:ptCount val="23"/>
                <c:pt idx="0">
                  <c:v>2.2999999999999998</c:v>
                </c:pt>
                <c:pt idx="1">
                  <c:v>2.5</c:v>
                </c:pt>
                <c:pt idx="2">
                  <c:v>2.5</c:v>
                </c:pt>
                <c:pt idx="3">
                  <c:v>2.6</c:v>
                </c:pt>
                <c:pt idx="4">
                  <c:v>2.6</c:v>
                </c:pt>
                <c:pt idx="5">
                  <c:v>3.5</c:v>
                </c:pt>
                <c:pt idx="6">
                  <c:v>4.3</c:v>
                </c:pt>
                <c:pt idx="7">
                  <c:v>4.9000000000000004</c:v>
                </c:pt>
                <c:pt idx="8">
                  <c:v>6.7</c:v>
                </c:pt>
                <c:pt idx="9">
                  <c:v>8.5</c:v>
                </c:pt>
                <c:pt idx="10">
                  <c:v>8.6999999999999993</c:v>
                </c:pt>
                <c:pt idx="11">
                  <c:v>10.1</c:v>
                </c:pt>
                <c:pt idx="12">
                  <c:v>10.6</c:v>
                </c:pt>
                <c:pt idx="13">
                  <c:v>10.6</c:v>
                </c:pt>
                <c:pt idx="14">
                  <c:v>10.6</c:v>
                </c:pt>
                <c:pt idx="15">
                  <c:v>12.2</c:v>
                </c:pt>
                <c:pt idx="16">
                  <c:v>12.3</c:v>
                </c:pt>
                <c:pt idx="17">
                  <c:v>13.9</c:v>
                </c:pt>
                <c:pt idx="18">
                  <c:v>15.9</c:v>
                </c:pt>
                <c:pt idx="19">
                  <c:v>17.7</c:v>
                </c:pt>
                <c:pt idx="20">
                  <c:v>21.3</c:v>
                </c:pt>
                <c:pt idx="21">
                  <c:v>22.6</c:v>
                </c:pt>
                <c:pt idx="22">
                  <c:v>33.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F3-427E-83C7-C2BA661C17D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1"/>
        <c:axId val="662233864"/>
        <c:axId val="662237472"/>
      </c:barChart>
      <c:catAx>
        <c:axId val="662233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2237472"/>
        <c:crosses val="autoZero"/>
        <c:auto val="1"/>
        <c:lblAlgn val="ctr"/>
        <c:lblOffset val="100"/>
        <c:noMultiLvlLbl val="0"/>
      </c:catAx>
      <c:valAx>
        <c:axId val="662237472"/>
        <c:scaling>
          <c:orientation val="minMax"/>
          <c:max val="35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662233864"/>
        <c:crosses val="autoZero"/>
        <c:crossBetween val="between"/>
        <c:majorUnit val="35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0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 dirty="0"/>
          </a:p>
          <a:p>
            <a:pPr>
              <a:defRPr/>
            </a:pP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42773578257619405"/>
          <c:y val="0"/>
          <c:w val="0.37772399438754711"/>
          <c:h val="0.928418020450673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C$1</c:f>
              <c:strCache>
                <c:ptCount val="1"/>
                <c:pt idx="0">
                  <c:v>0-5 å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33:$A$46</c:f>
              <c:strCache>
                <c:ptCount val="14"/>
                <c:pt idx="0">
                  <c:v>Slalåm/ Alpint/ Randonee</c:v>
                </c:pt>
                <c:pt idx="1">
                  <c:v>Bandy/ Ishockey</c:v>
                </c:pt>
                <c:pt idx="2">
                  <c:v>Håndball</c:v>
                </c:pt>
                <c:pt idx="3">
                  <c:v>Skiturer i skog og fjell</c:v>
                </c:pt>
                <c:pt idx="4">
                  <c:v>Gymnastikk/ Jazzballett/ Aerobics/ Freestyle og andre former for gruppetrening</c:v>
                </c:pt>
                <c:pt idx="5">
                  <c:v>Langrenn</c:v>
                </c:pt>
                <c:pt idx="6">
                  <c:v>Dans</c:v>
                </c:pt>
                <c:pt idx="7">
                  <c:v>Turn/ Rytmisk gymnastikk</c:v>
                </c:pt>
                <c:pt idx="8">
                  <c:v>Fotball</c:v>
                </c:pt>
                <c:pt idx="9">
                  <c:v>Allidrett</c:v>
                </c:pt>
                <c:pt idx="10">
                  <c:v>Svømming</c:v>
                </c:pt>
                <c:pt idx="11">
                  <c:v>Sykling til skole og på tur</c:v>
                </c:pt>
                <c:pt idx="12">
                  <c:v>Fotturer i skog og mark, på fjell og vidde</c:v>
                </c:pt>
                <c:pt idx="13">
                  <c:v>Ingen/Driver ikke med noe av dette</c:v>
                </c:pt>
              </c:strCache>
            </c:strRef>
          </c:cat>
          <c:val>
            <c:numRef>
              <c:f>'Ark1'!$C$33:$C$46</c:f>
              <c:numCache>
                <c:formatCode>General</c:formatCode>
                <c:ptCount val="14"/>
                <c:pt idx="0">
                  <c:v>2.5</c:v>
                </c:pt>
                <c:pt idx="1">
                  <c:v>3</c:v>
                </c:pt>
                <c:pt idx="2">
                  <c:v>3.5</c:v>
                </c:pt>
                <c:pt idx="3">
                  <c:v>5.9</c:v>
                </c:pt>
                <c:pt idx="4">
                  <c:v>7.9</c:v>
                </c:pt>
                <c:pt idx="5">
                  <c:v>8.4</c:v>
                </c:pt>
                <c:pt idx="6">
                  <c:v>9.9</c:v>
                </c:pt>
                <c:pt idx="7">
                  <c:v>11.3</c:v>
                </c:pt>
                <c:pt idx="8">
                  <c:v>11.8</c:v>
                </c:pt>
                <c:pt idx="9">
                  <c:v>12.3</c:v>
                </c:pt>
                <c:pt idx="10">
                  <c:v>16.3</c:v>
                </c:pt>
                <c:pt idx="11">
                  <c:v>16.8</c:v>
                </c:pt>
                <c:pt idx="12">
                  <c:v>24.7</c:v>
                </c:pt>
                <c:pt idx="13">
                  <c:v>3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2D-44FB-A6A5-C5579D5C8D2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1"/>
        <c:axId val="662233864"/>
        <c:axId val="662237472"/>
      </c:barChart>
      <c:catAx>
        <c:axId val="662233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2237472"/>
        <c:crosses val="autoZero"/>
        <c:auto val="1"/>
        <c:lblAlgn val="ctr"/>
        <c:lblOffset val="100"/>
        <c:noMultiLvlLbl val="0"/>
      </c:catAx>
      <c:valAx>
        <c:axId val="6622374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223386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nb-NO"/>
    </a:p>
  </c:txPr>
  <c:externalData r:id="rId3">
    <c:autoUpdate val="0"/>
  </c:externalData>
</c:chartSpace>
</file>

<file path=ppt/charts/chart10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 dirty="0"/>
          </a:p>
          <a:p>
            <a:pPr>
              <a:defRPr/>
            </a:pP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4688494383224166"/>
          <c:y val="0"/>
          <c:w val="0.44834833542219127"/>
          <c:h val="0.928418020450673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D$1</c:f>
              <c:strCache>
                <c:ptCount val="1"/>
                <c:pt idx="0">
                  <c:v>6-12 å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33:$A$46</c:f>
              <c:strCache>
                <c:ptCount val="14"/>
                <c:pt idx="0">
                  <c:v>Ridning</c:v>
                </c:pt>
                <c:pt idx="1">
                  <c:v>Jogging i mosjonshensikt</c:v>
                </c:pt>
                <c:pt idx="2">
                  <c:v>Judo/ Karate/ Tae kwondo o.l.</c:v>
                </c:pt>
                <c:pt idx="3">
                  <c:v>Gymnastikk/ Jazzballett/ Aerobics/ Freestyle og andre former for gruppetrening</c:v>
                </c:pt>
                <c:pt idx="4">
                  <c:v>Slalåm/ Alpint/ Randonee</c:v>
                </c:pt>
                <c:pt idx="5">
                  <c:v>Dans</c:v>
                </c:pt>
                <c:pt idx="6">
                  <c:v>Turn/ Rytmisk gymnastikk</c:v>
                </c:pt>
                <c:pt idx="7">
                  <c:v>Langrenn</c:v>
                </c:pt>
                <c:pt idx="8">
                  <c:v>Håndball</c:v>
                </c:pt>
                <c:pt idx="9">
                  <c:v>Skiturer i skog og fjell</c:v>
                </c:pt>
                <c:pt idx="10">
                  <c:v>Svømming</c:v>
                </c:pt>
                <c:pt idx="11">
                  <c:v>Fotturer i skog og mark, på fjell og vidde</c:v>
                </c:pt>
                <c:pt idx="12">
                  <c:v>Sykling til skole og på tur</c:v>
                </c:pt>
                <c:pt idx="13">
                  <c:v>Fotball</c:v>
                </c:pt>
              </c:strCache>
            </c:strRef>
          </c:cat>
          <c:val>
            <c:numRef>
              <c:f>'Ark1'!$D$33:$D$46</c:f>
              <c:numCache>
                <c:formatCode>General</c:formatCode>
                <c:ptCount val="14"/>
                <c:pt idx="0">
                  <c:v>8</c:v>
                </c:pt>
                <c:pt idx="1">
                  <c:v>8.5</c:v>
                </c:pt>
                <c:pt idx="2">
                  <c:v>12.9</c:v>
                </c:pt>
                <c:pt idx="3">
                  <c:v>12.9</c:v>
                </c:pt>
                <c:pt idx="4">
                  <c:v>14.7</c:v>
                </c:pt>
                <c:pt idx="5">
                  <c:v>15.2</c:v>
                </c:pt>
                <c:pt idx="6">
                  <c:v>16</c:v>
                </c:pt>
                <c:pt idx="7">
                  <c:v>19.600000000000001</c:v>
                </c:pt>
                <c:pt idx="8">
                  <c:v>20.9</c:v>
                </c:pt>
                <c:pt idx="9">
                  <c:v>20.9</c:v>
                </c:pt>
                <c:pt idx="10">
                  <c:v>23.2</c:v>
                </c:pt>
                <c:pt idx="11">
                  <c:v>28.5</c:v>
                </c:pt>
                <c:pt idx="12">
                  <c:v>33</c:v>
                </c:pt>
                <c:pt idx="13">
                  <c:v>46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2D-44FB-A6A5-C5579D5C8D2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1"/>
        <c:axId val="662233864"/>
        <c:axId val="662237472"/>
      </c:barChart>
      <c:catAx>
        <c:axId val="662233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2237472"/>
        <c:crosses val="autoZero"/>
        <c:auto val="1"/>
        <c:lblAlgn val="ctr"/>
        <c:lblOffset val="100"/>
        <c:noMultiLvlLbl val="0"/>
      </c:catAx>
      <c:valAx>
        <c:axId val="6622374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223386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nb-NO"/>
    </a:p>
  </c:txPr>
  <c:externalData r:id="rId3">
    <c:autoUpdate val="0"/>
  </c:externalData>
</c:chartSpace>
</file>

<file path=ppt/charts/chart10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 dirty="0"/>
          </a:p>
          <a:p>
            <a:pPr>
              <a:defRPr/>
            </a:pP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42773578257619405"/>
          <c:y val="0"/>
          <c:w val="0.37772399438754711"/>
          <c:h val="0.928418020450673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E$1</c:f>
              <c:strCache>
                <c:ptCount val="1"/>
                <c:pt idx="0">
                  <c:v>13-17 å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33:$A$46</c:f>
              <c:strCache>
                <c:ptCount val="14"/>
                <c:pt idx="0">
                  <c:v>Gymnastikk/ Jazzballett/ Aerobics/ Freestyle og andre former for gruppetrening</c:v>
                </c:pt>
                <c:pt idx="1">
                  <c:v>Langrenn</c:v>
                </c:pt>
                <c:pt idx="2">
                  <c:v>Svømming</c:v>
                </c:pt>
                <c:pt idx="3">
                  <c:v>Vektløfting/ Kroppsbygging</c:v>
                </c:pt>
                <c:pt idx="4">
                  <c:v>Håndball</c:v>
                </c:pt>
                <c:pt idx="5">
                  <c:v>Skiturer i skog og fjell</c:v>
                </c:pt>
                <c:pt idx="6">
                  <c:v>Ingen/Driver ikke med noe av dette</c:v>
                </c:pt>
                <c:pt idx="7">
                  <c:v>Slalåm/ Alpint/ Randonee</c:v>
                </c:pt>
                <c:pt idx="8">
                  <c:v>Fotturer i skog og mark, på fjell og vidde</c:v>
                </c:pt>
                <c:pt idx="9">
                  <c:v>Sykling til skole og på tur</c:v>
                </c:pt>
                <c:pt idx="10">
                  <c:v>Løpstrening</c:v>
                </c:pt>
                <c:pt idx="11">
                  <c:v>Jogging i mosjonshensikt</c:v>
                </c:pt>
                <c:pt idx="12">
                  <c:v>Fotball</c:v>
                </c:pt>
                <c:pt idx="13">
                  <c:v>Styrketrening</c:v>
                </c:pt>
              </c:strCache>
            </c:strRef>
          </c:cat>
          <c:val>
            <c:numRef>
              <c:f>'Ark1'!$E$33:$E$46</c:f>
              <c:numCache>
                <c:formatCode>General</c:formatCode>
                <c:ptCount val="14"/>
                <c:pt idx="0">
                  <c:v>4.8</c:v>
                </c:pt>
                <c:pt idx="1">
                  <c:v>6</c:v>
                </c:pt>
                <c:pt idx="2">
                  <c:v>6.3</c:v>
                </c:pt>
                <c:pt idx="3">
                  <c:v>7.9</c:v>
                </c:pt>
                <c:pt idx="4">
                  <c:v>7.9</c:v>
                </c:pt>
                <c:pt idx="5">
                  <c:v>8.1999999999999993</c:v>
                </c:pt>
                <c:pt idx="6">
                  <c:v>10</c:v>
                </c:pt>
                <c:pt idx="7">
                  <c:v>10.3</c:v>
                </c:pt>
                <c:pt idx="8">
                  <c:v>13.6</c:v>
                </c:pt>
                <c:pt idx="9">
                  <c:v>14.5</c:v>
                </c:pt>
                <c:pt idx="10">
                  <c:v>14.8</c:v>
                </c:pt>
                <c:pt idx="11">
                  <c:v>18.399999999999999</c:v>
                </c:pt>
                <c:pt idx="12">
                  <c:v>21.8</c:v>
                </c:pt>
                <c:pt idx="13">
                  <c:v>3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2D-44FB-A6A5-C5579D5C8D2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1"/>
        <c:axId val="662233864"/>
        <c:axId val="662237472"/>
      </c:barChart>
      <c:catAx>
        <c:axId val="662233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2237472"/>
        <c:crosses val="autoZero"/>
        <c:auto val="1"/>
        <c:lblAlgn val="ctr"/>
        <c:lblOffset val="100"/>
        <c:noMultiLvlLbl val="0"/>
      </c:catAx>
      <c:valAx>
        <c:axId val="6622374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223386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nb-NO"/>
    </a:p>
  </c:txPr>
  <c:externalData r:id="rId3">
    <c:autoUpdate val="0"/>
  </c:externalData>
</c:chartSpace>
</file>

<file path=ppt/charts/chart10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 dirty="0"/>
          </a:p>
          <a:p>
            <a:pPr>
              <a:defRPr/>
            </a:pP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39119029638084712"/>
          <c:y val="1.4980915378995308E-2"/>
          <c:w val="0.37772399438754711"/>
          <c:h val="0.928418020450673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E$1</c:f>
              <c:strCache>
                <c:ptCount val="1"/>
                <c:pt idx="0">
                  <c:v>Kun barn 13-17 å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30:$A$46</c:f>
              <c:strCache>
                <c:ptCount val="17"/>
                <c:pt idx="0">
                  <c:v>Vektløfting/ Kroppsbygging</c:v>
                </c:pt>
                <c:pt idx="1">
                  <c:v>Sykling som trening (på vei/ i terreng/ spinning)</c:v>
                </c:pt>
                <c:pt idx="2">
                  <c:v>Langrenn</c:v>
                </c:pt>
                <c:pt idx="3">
                  <c:v>Håndball</c:v>
                </c:pt>
                <c:pt idx="4">
                  <c:v>Gymnastikk/ Jazzballett/ Aerobics/ Freestyle og andre former for gruppetrening</c:v>
                </c:pt>
                <c:pt idx="5">
                  <c:v>Svømming</c:v>
                </c:pt>
                <c:pt idx="6">
                  <c:v>Dans</c:v>
                </c:pt>
                <c:pt idx="7">
                  <c:v>Fotturer på fjell og vidde</c:v>
                </c:pt>
                <c:pt idx="8">
                  <c:v>Løpstrening</c:v>
                </c:pt>
                <c:pt idx="9">
                  <c:v>Slalåm/ Alpint/ Randonee</c:v>
                </c:pt>
                <c:pt idx="10">
                  <c:v>Ingen/Driver ikke med noe av dette</c:v>
                </c:pt>
                <c:pt idx="11">
                  <c:v>Skiturer i skog og fjell</c:v>
                </c:pt>
                <c:pt idx="12">
                  <c:v>Sykling til skole og på tur</c:v>
                </c:pt>
                <c:pt idx="13">
                  <c:v>Fotturer i skog og mark</c:v>
                </c:pt>
                <c:pt idx="14">
                  <c:v>Jogging i mosjonshensikt</c:v>
                </c:pt>
                <c:pt idx="15">
                  <c:v>Fotball</c:v>
                </c:pt>
                <c:pt idx="16">
                  <c:v>Styrketrening</c:v>
                </c:pt>
              </c:strCache>
            </c:strRef>
          </c:cat>
          <c:val>
            <c:numRef>
              <c:f>'Ark1'!$E$30:$E$46</c:f>
              <c:numCache>
                <c:formatCode>General</c:formatCode>
                <c:ptCount val="17"/>
                <c:pt idx="0">
                  <c:v>4.3</c:v>
                </c:pt>
                <c:pt idx="1">
                  <c:v>4.3</c:v>
                </c:pt>
                <c:pt idx="2">
                  <c:v>6.2</c:v>
                </c:pt>
                <c:pt idx="3">
                  <c:v>6.5</c:v>
                </c:pt>
                <c:pt idx="4">
                  <c:v>6.5</c:v>
                </c:pt>
                <c:pt idx="5">
                  <c:v>6.5</c:v>
                </c:pt>
                <c:pt idx="6">
                  <c:v>6.7</c:v>
                </c:pt>
                <c:pt idx="7">
                  <c:v>8.9</c:v>
                </c:pt>
                <c:pt idx="8">
                  <c:v>9.1</c:v>
                </c:pt>
                <c:pt idx="9">
                  <c:v>9.6</c:v>
                </c:pt>
                <c:pt idx="10">
                  <c:v>10.1</c:v>
                </c:pt>
                <c:pt idx="11">
                  <c:v>10.3</c:v>
                </c:pt>
                <c:pt idx="12">
                  <c:v>14.4</c:v>
                </c:pt>
                <c:pt idx="13">
                  <c:v>14.9</c:v>
                </c:pt>
                <c:pt idx="14">
                  <c:v>16.8</c:v>
                </c:pt>
                <c:pt idx="15">
                  <c:v>24</c:v>
                </c:pt>
                <c:pt idx="16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2D-44FB-A6A5-C5579D5C8D2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1"/>
        <c:axId val="662233864"/>
        <c:axId val="662237472"/>
      </c:barChart>
      <c:catAx>
        <c:axId val="662233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2237472"/>
        <c:crosses val="autoZero"/>
        <c:auto val="1"/>
        <c:lblAlgn val="ctr"/>
        <c:lblOffset val="100"/>
        <c:noMultiLvlLbl val="0"/>
      </c:catAx>
      <c:valAx>
        <c:axId val="66223747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66223386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nb-NO"/>
    </a:p>
  </c:txPr>
  <c:externalData r:id="rId3">
    <c:autoUpdate val="0"/>
  </c:externalData>
</c:chartSpace>
</file>

<file path=ppt/charts/chart10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Store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5</c:f>
              <c:strCache>
                <c:ptCount val="4"/>
                <c:pt idx="0">
                  <c:v>Medlemskontingenter /treningsavgifter /årskort o.l.</c:v>
                </c:pt>
                <c:pt idx="1">
                  <c:v>Kostnader til utstyr og bekledning</c:v>
                </c:pt>
                <c:pt idx="2">
                  <c:v>Tillegsutgifter for treningsleire og turneringer o.l.</c:v>
                </c:pt>
                <c:pt idx="3">
                  <c:v>Nedlagt dugnadsarbeid i barnas iddretslag</c:v>
                </c:pt>
              </c:strCache>
            </c:strRef>
          </c:cat>
          <c:val>
            <c:numRef>
              <c:f>'Ark1'!$B$2:$B$5</c:f>
              <c:numCache>
                <c:formatCode>General</c:formatCode>
                <c:ptCount val="4"/>
                <c:pt idx="0">
                  <c:v>16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B-4049-A161-42833C00A92B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Moderate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5</c:f>
              <c:strCache>
                <c:ptCount val="4"/>
                <c:pt idx="0">
                  <c:v>Medlemskontingenter /treningsavgifter /årskort o.l.</c:v>
                </c:pt>
                <c:pt idx="1">
                  <c:v>Kostnader til utstyr og bekledning</c:v>
                </c:pt>
                <c:pt idx="2">
                  <c:v>Tillegsutgifter for treningsleire og turneringer o.l.</c:v>
                </c:pt>
                <c:pt idx="3">
                  <c:v>Nedlagt dugnadsarbeid i barnas iddretslag</c:v>
                </c:pt>
              </c:strCache>
            </c:strRef>
          </c:cat>
          <c:val>
            <c:numRef>
              <c:f>'Ark1'!$C$2:$C$5</c:f>
              <c:numCache>
                <c:formatCode>General</c:formatCode>
                <c:ptCount val="4"/>
                <c:pt idx="0">
                  <c:v>42</c:v>
                </c:pt>
                <c:pt idx="1">
                  <c:v>39</c:v>
                </c:pt>
                <c:pt idx="2">
                  <c:v>22</c:v>
                </c:pt>
                <c:pt idx="3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BFB-4049-A161-42833C00A92B}"/>
            </c:ext>
          </c:extLst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Små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5</c:f>
              <c:strCache>
                <c:ptCount val="4"/>
                <c:pt idx="0">
                  <c:v>Medlemskontingenter /treningsavgifter /årskort o.l.</c:v>
                </c:pt>
                <c:pt idx="1">
                  <c:v>Kostnader til utstyr og bekledning</c:v>
                </c:pt>
                <c:pt idx="2">
                  <c:v>Tillegsutgifter for treningsleire og turneringer o.l.</c:v>
                </c:pt>
                <c:pt idx="3">
                  <c:v>Nedlagt dugnadsarbeid i barnas iddretslag</c:v>
                </c:pt>
              </c:strCache>
            </c:strRef>
          </c:cat>
          <c:val>
            <c:numRef>
              <c:f>'Ark1'!$D$2:$D$5</c:f>
              <c:numCache>
                <c:formatCode>General</c:formatCode>
                <c:ptCount val="4"/>
                <c:pt idx="0">
                  <c:v>18</c:v>
                </c:pt>
                <c:pt idx="1">
                  <c:v>29</c:v>
                </c:pt>
                <c:pt idx="2">
                  <c:v>24</c:v>
                </c:pt>
                <c:pt idx="3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FB-4049-A161-42833C00A92B}"/>
            </c:ext>
          </c:extLst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Ingen</c:v>
                </c:pt>
              </c:strCache>
            </c:strRef>
          </c:tx>
          <c:spPr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7.5593955697775368E-3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4F5-4D67-9D26-A65373091397}"/>
                </c:ext>
              </c:extLst>
            </c:dLbl>
            <c:dLbl>
              <c:idx val="3"/>
              <c:layout>
                <c:manualLayout>
                  <c:x val="1.1339093354666374E-2"/>
                  <c:y val="7.962439854582023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4F5-4D67-9D26-A65373091397}"/>
                </c:ext>
              </c:extLst>
            </c:dLbl>
            <c:dLbl>
              <c:idx val="4"/>
              <c:layout>
                <c:manualLayout>
                  <c:x val="7.5593955697775368E-3"/>
                  <c:y val="-1.824704720863737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4F5-4D67-9D26-A653730913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5</c:f>
              <c:strCache>
                <c:ptCount val="4"/>
                <c:pt idx="0">
                  <c:v>Medlemskontingenter /treningsavgifter /årskort o.l.</c:v>
                </c:pt>
                <c:pt idx="1">
                  <c:v>Kostnader til utstyr og bekledning</c:v>
                </c:pt>
                <c:pt idx="2">
                  <c:v>Tillegsutgifter for treningsleire og turneringer o.l.</c:v>
                </c:pt>
                <c:pt idx="3">
                  <c:v>Nedlagt dugnadsarbeid i barnas iddretslag</c:v>
                </c:pt>
              </c:strCache>
            </c:strRef>
          </c:cat>
          <c:val>
            <c:numRef>
              <c:f>'Ark1'!$E$2:$E$5</c:f>
              <c:numCache>
                <c:formatCode>General</c:formatCode>
                <c:ptCount val="4"/>
                <c:pt idx="0">
                  <c:v>19</c:v>
                </c:pt>
                <c:pt idx="1">
                  <c:v>16</c:v>
                </c:pt>
                <c:pt idx="2">
                  <c:v>34</c:v>
                </c:pt>
                <c:pt idx="3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FB-4049-A161-42833C00A92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812578640"/>
        <c:axId val="812562896"/>
      </c:barChart>
      <c:catAx>
        <c:axId val="81257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12562896"/>
        <c:crosses val="autoZero"/>
        <c:auto val="1"/>
        <c:lblAlgn val="ctr"/>
        <c:lblOffset val="100"/>
        <c:noMultiLvlLbl val="0"/>
      </c:catAx>
      <c:valAx>
        <c:axId val="812562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12578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nb-NO"/>
    </a:p>
  </c:txPr>
  <c:externalData r:id="rId3">
    <c:autoUpdate val="0"/>
  </c:externalData>
</c:chartSpace>
</file>

<file path=ppt/charts/chart10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Vet ikke</c:v>
                </c:pt>
                <c:pt idx="1">
                  <c:v>Under 5000 kroner</c:v>
                </c:pt>
                <c:pt idx="2">
                  <c:v>Kr 5000 - 14 999</c:v>
                </c:pt>
                <c:pt idx="3">
                  <c:v>Kr 15 000 - 49 999</c:v>
                </c:pt>
                <c:pt idx="4">
                  <c:v>Kr 50 000 - 99 999</c:v>
                </c:pt>
                <c:pt idx="5">
                  <c:v>Kr 100 000 eller mer</c:v>
                </c:pt>
              </c:strCache>
            </c:strRef>
          </c:cat>
          <c:val>
            <c:numRef>
              <c:f>'Ark1'!$B$2:$B$7</c:f>
              <c:numCache>
                <c:formatCode>General</c:formatCode>
                <c:ptCount val="6"/>
                <c:pt idx="0">
                  <c:v>4.8</c:v>
                </c:pt>
                <c:pt idx="1">
                  <c:v>41.8</c:v>
                </c:pt>
                <c:pt idx="2">
                  <c:v>26.3</c:v>
                </c:pt>
                <c:pt idx="3">
                  <c:v>9.5</c:v>
                </c:pt>
                <c:pt idx="4">
                  <c:v>1.7</c:v>
                </c:pt>
                <c:pt idx="5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93-4A08-9F2B-DDCE2256AFF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663759568"/>
        <c:axId val="663763832"/>
      </c:barChart>
      <c:catAx>
        <c:axId val="6637595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3763832"/>
        <c:crosses val="autoZero"/>
        <c:auto val="1"/>
        <c:lblAlgn val="ctr"/>
        <c:lblOffset val="100"/>
        <c:noMultiLvlLbl val="0"/>
      </c:catAx>
      <c:valAx>
        <c:axId val="6637638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37595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0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Under 5000 kron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9</c:v>
                </c:pt>
              </c:numCache>
            </c:numRef>
          </c:cat>
          <c:val>
            <c:numRef>
              <c:f>'Ark1'!$B$2:$B$3</c:f>
              <c:numCache>
                <c:formatCode>General</c:formatCode>
                <c:ptCount val="2"/>
                <c:pt idx="0">
                  <c:v>41</c:v>
                </c:pt>
                <c:pt idx="1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B-4049-A161-42833C00A92B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Kr 5000 - 14 99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9</c:v>
                </c:pt>
              </c:numCache>
            </c:numRef>
          </c:cat>
          <c:val>
            <c:numRef>
              <c:f>'Ark1'!$C$2:$C$3</c:f>
              <c:numCache>
                <c:formatCode>General</c:formatCode>
                <c:ptCount val="2"/>
                <c:pt idx="0">
                  <c:v>28</c:v>
                </c:pt>
                <c:pt idx="1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BFB-4049-A161-42833C00A92B}"/>
            </c:ext>
          </c:extLst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Kr 15 000 - 49 99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9</c:v>
                </c:pt>
              </c:numCache>
            </c:numRef>
          </c:cat>
          <c:val>
            <c:numRef>
              <c:f>'Ark1'!$D$2:$D$3</c:f>
              <c:numCache>
                <c:formatCode>General</c:formatCode>
                <c:ptCount val="2"/>
                <c:pt idx="0">
                  <c:v>10</c:v>
                </c:pt>
                <c:pt idx="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FB-4049-A161-42833C00A92B}"/>
            </c:ext>
          </c:extLst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Kr 50 000 - 99 999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7.5593955697775368E-3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4F5-4D67-9D26-A65373091397}"/>
                </c:ext>
              </c:extLst>
            </c:dLbl>
            <c:dLbl>
              <c:idx val="3"/>
              <c:layout>
                <c:manualLayout>
                  <c:x val="1.1339093354666374E-2"/>
                  <c:y val="7.962439854582023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4F5-4D67-9D26-A65373091397}"/>
                </c:ext>
              </c:extLst>
            </c:dLbl>
            <c:dLbl>
              <c:idx val="4"/>
              <c:layout>
                <c:manualLayout>
                  <c:x val="7.5593955697775368E-3"/>
                  <c:y val="-1.824704720863737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4F5-4D67-9D26-A653730913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9</c:v>
                </c:pt>
              </c:numCache>
            </c:numRef>
          </c:cat>
          <c:val>
            <c:numRef>
              <c:f>'Ark1'!$E$2:$E$3</c:f>
              <c:numCache>
                <c:formatCode>General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FB-4049-A161-42833C00A92B}"/>
            </c:ext>
          </c:extLst>
        </c:ser>
        <c:ser>
          <c:idx val="4"/>
          <c:order val="4"/>
          <c:tx>
            <c:strRef>
              <c:f>'Ark1'!$F$1</c:f>
              <c:strCache>
                <c:ptCount val="1"/>
                <c:pt idx="0">
                  <c:v>Kr 100 000 eller m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7.962439854582023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4F5-4D67-9D26-A65373091397}"/>
                </c:ext>
              </c:extLst>
            </c:dLbl>
            <c:dLbl>
              <c:idx val="1"/>
              <c:layout>
                <c:manualLayout>
                  <c:x val="-1.0394168908444112E-2"/>
                  <c:y val="-5.971829890936517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5261880974042996E-2"/>
                      <c:h val="6.0912664887552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44F5-4D67-9D26-A6537309139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4F5-4D67-9D26-A65373091397}"/>
                </c:ext>
              </c:extLst>
            </c:dLbl>
            <c:dLbl>
              <c:idx val="3"/>
              <c:layout>
                <c:manualLayout>
                  <c:x val="-1.039416890844411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5261880974042996E-2"/>
                      <c:h val="6.489388481484349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44F5-4D67-9D26-A65373091397}"/>
                </c:ext>
              </c:extLst>
            </c:dLbl>
            <c:dLbl>
              <c:idx val="4"/>
              <c:layout>
                <c:manualLayout>
                  <c:x val="-1.8898488924443842E-2"/>
                  <c:y val="-1.824704720863737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4F5-4D67-9D26-A653730913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9</c:v>
                </c:pt>
              </c:numCache>
            </c:numRef>
          </c:cat>
          <c:val>
            <c:numRef>
              <c:f>'Ark1'!$F$2:$F$3</c:f>
              <c:numCache>
                <c:formatCode>General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FB-4049-A161-42833C00A92B}"/>
            </c:ext>
          </c:extLst>
        </c:ser>
        <c:ser>
          <c:idx val="5"/>
          <c:order val="5"/>
          <c:tx>
            <c:strRef>
              <c:f>'Ark1'!$G$1</c:f>
              <c:strCache>
                <c:ptCount val="1"/>
                <c:pt idx="0">
                  <c:v>Vet ikke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'Ark1'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9</c:v>
                </c:pt>
              </c:numCache>
            </c:numRef>
          </c:cat>
          <c:val>
            <c:numRef>
              <c:f>'Ark1'!$G$2:$G$3</c:f>
              <c:numCache>
                <c:formatCode>General</c:formatCode>
                <c:ptCount val="2"/>
                <c:pt idx="0">
                  <c:v>5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06-41C1-9723-2B6CBC6B826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812578640"/>
        <c:axId val="812562896"/>
      </c:barChart>
      <c:catAx>
        <c:axId val="81257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12562896"/>
        <c:crosses val="autoZero"/>
        <c:auto val="1"/>
        <c:lblAlgn val="ctr"/>
        <c:lblOffset val="100"/>
        <c:noMultiLvlLbl val="0"/>
      </c:catAx>
      <c:valAx>
        <c:axId val="812562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12578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nb-NO"/>
    </a:p>
  </c:txPr>
  <c:externalData r:id="rId3">
    <c:autoUpdate val="0"/>
  </c:externalData>
</c:chartSpace>
</file>

<file path=ppt/charts/chart10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Under 5000 kron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Oslo</c:v>
                </c:pt>
                <c:pt idx="1">
                  <c:v>Østlandet uten Oslo</c:v>
                </c:pt>
                <c:pt idx="2">
                  <c:v>Vestlandet</c:v>
                </c:pt>
                <c:pt idx="3">
                  <c:v>Midt-Norge</c:v>
                </c:pt>
                <c:pt idx="4">
                  <c:v>Nord-Norge</c:v>
                </c:pt>
              </c:strCache>
            </c:strRef>
          </c:cat>
          <c:val>
            <c:numRef>
              <c:f>'Ark1'!$B$2:$B$6</c:f>
              <c:numCache>
                <c:formatCode>0</c:formatCode>
                <c:ptCount val="5"/>
                <c:pt idx="0">
                  <c:v>22.5</c:v>
                </c:pt>
                <c:pt idx="1">
                  <c:v>27.6</c:v>
                </c:pt>
                <c:pt idx="2">
                  <c:v>34.1</c:v>
                </c:pt>
                <c:pt idx="3">
                  <c:v>39.299999999999997</c:v>
                </c:pt>
                <c:pt idx="4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FB-4049-A161-42833C00A92B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Kr 5000 - 14 99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Oslo</c:v>
                </c:pt>
                <c:pt idx="1">
                  <c:v>Østlandet uten Oslo</c:v>
                </c:pt>
                <c:pt idx="2">
                  <c:v>Vestlandet</c:v>
                </c:pt>
                <c:pt idx="3">
                  <c:v>Midt-Norge</c:v>
                </c:pt>
                <c:pt idx="4">
                  <c:v>Nord-Norge</c:v>
                </c:pt>
              </c:strCache>
            </c:strRef>
          </c:cat>
          <c:val>
            <c:numRef>
              <c:f>'Ark1'!$C$2:$C$6</c:f>
              <c:numCache>
                <c:formatCode>0</c:formatCode>
                <c:ptCount val="5"/>
                <c:pt idx="0">
                  <c:v>41</c:v>
                </c:pt>
                <c:pt idx="1">
                  <c:v>36.799999999999997</c:v>
                </c:pt>
                <c:pt idx="2">
                  <c:v>27.6</c:v>
                </c:pt>
                <c:pt idx="3">
                  <c:v>30.4</c:v>
                </c:pt>
                <c:pt idx="4">
                  <c:v>3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BFB-4049-A161-42833C00A92B}"/>
            </c:ext>
          </c:extLst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Kr 15 000 - 49 99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Oslo</c:v>
                </c:pt>
                <c:pt idx="1">
                  <c:v>Østlandet uten Oslo</c:v>
                </c:pt>
                <c:pt idx="2">
                  <c:v>Vestlandet</c:v>
                </c:pt>
                <c:pt idx="3">
                  <c:v>Midt-Norge</c:v>
                </c:pt>
                <c:pt idx="4">
                  <c:v>Nord-Norge</c:v>
                </c:pt>
              </c:strCache>
            </c:strRef>
          </c:cat>
          <c:val>
            <c:numRef>
              <c:f>'Ark1'!$D$2:$D$6</c:f>
              <c:numCache>
                <c:formatCode>0</c:formatCode>
                <c:ptCount val="5"/>
                <c:pt idx="0">
                  <c:v>13.7</c:v>
                </c:pt>
                <c:pt idx="1">
                  <c:v>12.9</c:v>
                </c:pt>
                <c:pt idx="2">
                  <c:v>14</c:v>
                </c:pt>
                <c:pt idx="3">
                  <c:v>11.9</c:v>
                </c:pt>
                <c:pt idx="4">
                  <c:v>1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FB-4049-A161-42833C00A92B}"/>
            </c:ext>
          </c:extLst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Kr 50 000 - 99 999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7.5593955697775368E-3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4F5-4D67-9D26-A65373091397}"/>
                </c:ext>
              </c:extLst>
            </c:dLbl>
            <c:dLbl>
              <c:idx val="3"/>
              <c:layout>
                <c:manualLayout>
                  <c:x val="1.1339093354666374E-2"/>
                  <c:y val="7.962439854582023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4F5-4D67-9D26-A65373091397}"/>
                </c:ext>
              </c:extLst>
            </c:dLbl>
            <c:dLbl>
              <c:idx val="4"/>
              <c:layout>
                <c:manualLayout>
                  <c:x val="7.5593955697775368E-3"/>
                  <c:y val="-1.824704720863737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4F5-4D67-9D26-A653730913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Oslo</c:v>
                </c:pt>
                <c:pt idx="1">
                  <c:v>Østlandet uten Oslo</c:v>
                </c:pt>
                <c:pt idx="2">
                  <c:v>Vestlandet</c:v>
                </c:pt>
                <c:pt idx="3">
                  <c:v>Midt-Norge</c:v>
                </c:pt>
                <c:pt idx="4">
                  <c:v>Nord-Norge</c:v>
                </c:pt>
              </c:strCache>
            </c:strRef>
          </c:cat>
          <c:val>
            <c:numRef>
              <c:f>'Ark1'!$E$2:$E$6</c:f>
              <c:numCache>
                <c:formatCode>0</c:formatCode>
                <c:ptCount val="5"/>
                <c:pt idx="0">
                  <c:v>4.8</c:v>
                </c:pt>
                <c:pt idx="1">
                  <c:v>3</c:v>
                </c:pt>
                <c:pt idx="2">
                  <c:v>0.3</c:v>
                </c:pt>
                <c:pt idx="3">
                  <c:v>2.200000000000000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FB-4049-A161-42833C00A92B}"/>
            </c:ext>
          </c:extLst>
        </c:ser>
        <c:ser>
          <c:idx val="4"/>
          <c:order val="4"/>
          <c:tx>
            <c:strRef>
              <c:f>'Ark1'!$F$1</c:f>
              <c:strCache>
                <c:ptCount val="1"/>
                <c:pt idx="0">
                  <c:v>Kr 100 000 eller m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7.962439854582023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4F5-4D67-9D26-A65373091397}"/>
                </c:ext>
              </c:extLst>
            </c:dLbl>
            <c:dLbl>
              <c:idx val="1"/>
              <c:layout>
                <c:manualLayout>
                  <c:x val="-1.0394168908444112E-2"/>
                  <c:y val="-5.9718298909365178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5261880974042996E-2"/>
                      <c:h val="6.091266488755248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44F5-4D67-9D26-A6537309139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4F5-4D67-9D26-A65373091397}"/>
                </c:ext>
              </c:extLst>
            </c:dLbl>
            <c:dLbl>
              <c:idx val="3"/>
              <c:layout>
                <c:manualLayout>
                  <c:x val="-1.039416890844411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5261880974042996E-2"/>
                      <c:h val="6.489388481484349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44F5-4D67-9D26-A65373091397}"/>
                </c:ext>
              </c:extLst>
            </c:dLbl>
            <c:dLbl>
              <c:idx val="4"/>
              <c:layout>
                <c:manualLayout>
                  <c:x val="-1.8898488924443842E-2"/>
                  <c:y val="-1.824704720863737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4F5-4D67-9D26-A653730913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Oslo</c:v>
                </c:pt>
                <c:pt idx="1">
                  <c:v>Østlandet uten Oslo</c:v>
                </c:pt>
                <c:pt idx="2">
                  <c:v>Vestlandet</c:v>
                </c:pt>
                <c:pt idx="3">
                  <c:v>Midt-Norge</c:v>
                </c:pt>
                <c:pt idx="4">
                  <c:v>Nord-Norge</c:v>
                </c:pt>
              </c:strCache>
            </c:strRef>
          </c:cat>
          <c:val>
            <c:numRef>
              <c:f>'Ark1'!$F$2:$F$6</c:f>
              <c:numCache>
                <c:formatCode>0</c:formatCode>
                <c:ptCount val="5"/>
                <c:pt idx="0">
                  <c:v>0.8</c:v>
                </c:pt>
                <c:pt idx="1">
                  <c:v>1</c:v>
                </c:pt>
                <c:pt idx="2">
                  <c:v>0.6</c:v>
                </c:pt>
                <c:pt idx="3">
                  <c:v>0</c:v>
                </c:pt>
                <c:pt idx="4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FB-4049-A161-42833C00A92B}"/>
            </c:ext>
          </c:extLst>
        </c:ser>
        <c:ser>
          <c:idx val="5"/>
          <c:order val="5"/>
          <c:tx>
            <c:strRef>
              <c:f>'Ark1'!$G$1</c:f>
              <c:strCache>
                <c:ptCount val="1"/>
                <c:pt idx="0">
                  <c:v>Vet ikke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Ark1'!$A$2:$A$6</c:f>
              <c:strCache>
                <c:ptCount val="5"/>
                <c:pt idx="0">
                  <c:v>Oslo</c:v>
                </c:pt>
                <c:pt idx="1">
                  <c:v>Østlandet uten Oslo</c:v>
                </c:pt>
                <c:pt idx="2">
                  <c:v>Vestlandet</c:v>
                </c:pt>
                <c:pt idx="3">
                  <c:v>Midt-Norge</c:v>
                </c:pt>
                <c:pt idx="4">
                  <c:v>Nord-Norge</c:v>
                </c:pt>
              </c:strCache>
            </c:strRef>
          </c:cat>
          <c:val>
            <c:numRef>
              <c:f>'Ark1'!$G$2:$G$6</c:f>
              <c:numCache>
                <c:formatCode>0</c:formatCode>
                <c:ptCount val="5"/>
                <c:pt idx="0">
                  <c:v>2.4</c:v>
                </c:pt>
                <c:pt idx="1">
                  <c:v>6</c:v>
                </c:pt>
                <c:pt idx="2">
                  <c:v>7.1</c:v>
                </c:pt>
                <c:pt idx="3">
                  <c:v>2.2000000000000002</c:v>
                </c:pt>
                <c:pt idx="4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06-41C1-9723-2B6CBC6B826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812578640"/>
        <c:axId val="812562896"/>
      </c:barChart>
      <c:catAx>
        <c:axId val="812578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12562896"/>
        <c:crosses val="autoZero"/>
        <c:auto val="1"/>
        <c:lblAlgn val="ctr"/>
        <c:lblOffset val="100"/>
        <c:noMultiLvlLbl val="0"/>
      </c:catAx>
      <c:valAx>
        <c:axId val="812562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12578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nb-NO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965591423849791E-2"/>
          <c:y val="0.1028512590313008"/>
          <c:w val="0.82130451242301028"/>
          <c:h val="0.642520723545302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e</c:v>
                </c:pt>
              </c:strCache>
            </c:strRef>
          </c:tx>
          <c:spPr>
            <a:solidFill>
              <a:srgbClr val="00A5A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0"/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Trener eller mosjonerer 3-4 ganger per uke eller mer</c:v>
                </c:pt>
                <c:pt idx="1">
                  <c:v>Blir anpusten , svett og sliten, eller svært sliten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7800000000000005</c:v>
                </c:pt>
                <c:pt idx="1">
                  <c:v>0.676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3C-4392-90FC-33F4DB4106A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8"/>
        <c:axId val="249627008"/>
        <c:axId val="249628544"/>
      </c:barChart>
      <c:catAx>
        <c:axId val="2496270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nb-NO"/>
          </a:p>
        </c:txPr>
        <c:crossAx val="249628544"/>
        <c:crosses val="autoZero"/>
        <c:auto val="1"/>
        <c:lblAlgn val="ctr"/>
        <c:lblOffset val="100"/>
        <c:noMultiLvlLbl val="0"/>
      </c:catAx>
      <c:valAx>
        <c:axId val="249628544"/>
        <c:scaling>
          <c:orientation val="minMax"/>
          <c:max val="0.7000000000000004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249627008"/>
        <c:crosses val="autoZero"/>
        <c:crossBetween val="between"/>
        <c:majorUnit val="0.7000000000000004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nb-NO"/>
    </a:p>
  </c:txPr>
  <c:externalData r:id="rId1">
    <c:autoUpdate val="0"/>
  </c:externalData>
</c:chartSpace>
</file>

<file path=ppt/charts/chart1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771321561561745"/>
          <c:y val="0.10832188145072873"/>
          <c:w val="0.34962131282014713"/>
          <c:h val="0.7623865568983940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Vet ikke</c:v>
                </c:pt>
                <c:pt idx="1">
                  <c:v>Under 5000 kroner</c:v>
                </c:pt>
                <c:pt idx="2">
                  <c:v>Kr 5000 - 14 999</c:v>
                </c:pt>
                <c:pt idx="3">
                  <c:v>Kr 15 000 - 49 999</c:v>
                </c:pt>
                <c:pt idx="4">
                  <c:v>Kr 50 000 - 99 999</c:v>
                </c:pt>
                <c:pt idx="5">
                  <c:v>Kr 100 000 eller mer</c:v>
                </c:pt>
              </c:strCache>
            </c:strRef>
          </c:cat>
          <c:val>
            <c:numRef>
              <c:f>'Ark1'!$C$2:$C$7</c:f>
              <c:numCache>
                <c:formatCode>0</c:formatCode>
                <c:ptCount val="6"/>
                <c:pt idx="0">
                  <c:v>7.7</c:v>
                </c:pt>
                <c:pt idx="1">
                  <c:v>71.900000000000006</c:v>
                </c:pt>
                <c:pt idx="2">
                  <c:v>5.4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93-4A08-9F2B-DDCE2256AFFA}"/>
            </c:ext>
          </c:extLst>
        </c:ser>
        <c:ser>
          <c:idx val="1"/>
          <c:order val="1"/>
          <c:tx>
            <c:strRef>
              <c:f>'Ark1'!$D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Vet ikke</c:v>
                </c:pt>
                <c:pt idx="1">
                  <c:v>Under 5000 kroner</c:v>
                </c:pt>
                <c:pt idx="2">
                  <c:v>Kr 5000 - 14 999</c:v>
                </c:pt>
                <c:pt idx="3">
                  <c:v>Kr 15 000 - 49 999</c:v>
                </c:pt>
                <c:pt idx="4">
                  <c:v>Kr 50 000 - 99 999</c:v>
                </c:pt>
                <c:pt idx="5">
                  <c:v>Kr 100 000 eller mer</c:v>
                </c:pt>
              </c:strCache>
            </c:strRef>
          </c:cat>
          <c:val>
            <c:numRef>
              <c:f>'Ark1'!$D$2:$D$7</c:f>
              <c:numCache>
                <c:formatCode>0</c:formatCode>
                <c:ptCount val="6"/>
                <c:pt idx="0">
                  <c:v>9.9</c:v>
                </c:pt>
                <c:pt idx="1">
                  <c:v>60.2</c:v>
                </c:pt>
                <c:pt idx="2">
                  <c:v>19.7</c:v>
                </c:pt>
                <c:pt idx="3">
                  <c:v>3.9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5A-4A1D-9284-356BBFC48B7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663759568"/>
        <c:axId val="663763832"/>
      </c:barChart>
      <c:catAx>
        <c:axId val="6637595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3763832"/>
        <c:crosses val="autoZero"/>
        <c:auto val="1"/>
        <c:lblAlgn val="ctr"/>
        <c:lblOffset val="100"/>
        <c:noMultiLvlLbl val="0"/>
      </c:catAx>
      <c:valAx>
        <c:axId val="66376383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663759568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206492311157951"/>
          <c:y val="2.5000000000000001E-2"/>
          <c:w val="0.34805882307767355"/>
          <c:h val="5.999112165610418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3095894960672618"/>
          <c:y val="0.12647391416533466"/>
          <c:w val="0.39851833518061586"/>
          <c:h val="0.7442343669997927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E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Vet ikke</c:v>
                </c:pt>
                <c:pt idx="1">
                  <c:v>Under 5000 kroner</c:v>
                </c:pt>
                <c:pt idx="2">
                  <c:v>Kr 5000 - 14 999</c:v>
                </c:pt>
                <c:pt idx="3">
                  <c:v>Kr 15 000 - 49 999</c:v>
                </c:pt>
                <c:pt idx="4">
                  <c:v>Kr 50 000 - 99 999</c:v>
                </c:pt>
                <c:pt idx="5">
                  <c:v>Kr 100 000 eller mer</c:v>
                </c:pt>
              </c:strCache>
            </c:strRef>
          </c:cat>
          <c:val>
            <c:numRef>
              <c:f>'Ark1'!$E$2:$E$7</c:f>
              <c:numCache>
                <c:formatCode>General</c:formatCode>
                <c:ptCount val="6"/>
                <c:pt idx="0">
                  <c:v>7.7</c:v>
                </c:pt>
                <c:pt idx="1">
                  <c:v>28.8</c:v>
                </c:pt>
                <c:pt idx="2">
                  <c:v>23.2</c:v>
                </c:pt>
                <c:pt idx="3">
                  <c:v>11</c:v>
                </c:pt>
                <c:pt idx="4">
                  <c:v>2.2000000000000002</c:v>
                </c:pt>
                <c:pt idx="5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61-4AA1-ADAC-96F48043A882}"/>
            </c:ext>
          </c:extLst>
        </c:ser>
        <c:ser>
          <c:idx val="1"/>
          <c:order val="1"/>
          <c:tx>
            <c:strRef>
              <c:f>'Ark1'!$F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Vet ikke</c:v>
                </c:pt>
                <c:pt idx="1">
                  <c:v>Under 5000 kroner</c:v>
                </c:pt>
                <c:pt idx="2">
                  <c:v>Kr 5000 - 14 999</c:v>
                </c:pt>
                <c:pt idx="3">
                  <c:v>Kr 15 000 - 49 999</c:v>
                </c:pt>
                <c:pt idx="4">
                  <c:v>Kr 50 000 - 99 999</c:v>
                </c:pt>
                <c:pt idx="5">
                  <c:v>Kr 100 000 eller mer</c:v>
                </c:pt>
              </c:strCache>
            </c:strRef>
          </c:cat>
          <c:val>
            <c:numRef>
              <c:f>'Ark1'!$F$2:$F$7</c:f>
              <c:numCache>
                <c:formatCode>General</c:formatCode>
                <c:ptCount val="6"/>
                <c:pt idx="0">
                  <c:v>6.6</c:v>
                </c:pt>
                <c:pt idx="1">
                  <c:v>22.9</c:v>
                </c:pt>
                <c:pt idx="2">
                  <c:v>27.4</c:v>
                </c:pt>
                <c:pt idx="3">
                  <c:v>10.8</c:v>
                </c:pt>
                <c:pt idx="4">
                  <c:v>3.6</c:v>
                </c:pt>
                <c:pt idx="5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D2-490A-AA18-CF4F7890355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663759568"/>
        <c:axId val="663763832"/>
      </c:barChart>
      <c:catAx>
        <c:axId val="6637595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3763832"/>
        <c:crosses val="autoZero"/>
        <c:auto val="1"/>
        <c:lblAlgn val="ctr"/>
        <c:lblOffset val="100"/>
        <c:noMultiLvlLbl val="0"/>
      </c:catAx>
      <c:valAx>
        <c:axId val="66376383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663759568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3436416365184218"/>
          <c:y val="2.5000000000000001E-2"/>
          <c:w val="0.29197681490553529"/>
          <c:h val="5.9822861882834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3095894960672618"/>
          <c:y val="0.12647391416533466"/>
          <c:w val="0.39851833518061586"/>
          <c:h val="0.7442343669997927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D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Vet ikke</c:v>
                </c:pt>
                <c:pt idx="1">
                  <c:v>Under 5000 kroner</c:v>
                </c:pt>
                <c:pt idx="2">
                  <c:v>Kr 5000 - 14 999</c:v>
                </c:pt>
                <c:pt idx="3">
                  <c:v>Kr 15 000 - 49 999</c:v>
                </c:pt>
                <c:pt idx="4">
                  <c:v>Kr 50 000 - 99 999</c:v>
                </c:pt>
                <c:pt idx="5">
                  <c:v>Kr 100 000 eller mer</c:v>
                </c:pt>
              </c:strCache>
            </c:strRef>
          </c:cat>
          <c:val>
            <c:numRef>
              <c:f>'Ark1'!$D$2:$D$7</c:f>
              <c:numCache>
                <c:formatCode>General</c:formatCode>
                <c:ptCount val="6"/>
                <c:pt idx="0">
                  <c:v>0</c:v>
                </c:pt>
                <c:pt idx="1">
                  <c:v>39.200000000000003</c:v>
                </c:pt>
                <c:pt idx="2">
                  <c:v>41.4</c:v>
                </c:pt>
                <c:pt idx="3">
                  <c:v>14</c:v>
                </c:pt>
                <c:pt idx="4">
                  <c:v>1.8</c:v>
                </c:pt>
                <c:pt idx="5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9F-4D4D-BA58-AD781B51EA16}"/>
            </c:ext>
          </c:extLst>
        </c:ser>
        <c:ser>
          <c:idx val="1"/>
          <c:order val="1"/>
          <c:tx>
            <c:strRef>
              <c:f>'Ark1'!$E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Vet ikke</c:v>
                </c:pt>
                <c:pt idx="1">
                  <c:v>Under 5000 kroner</c:v>
                </c:pt>
                <c:pt idx="2">
                  <c:v>Kr 5000 - 14 999</c:v>
                </c:pt>
                <c:pt idx="3">
                  <c:v>Kr 15 000 - 49 999</c:v>
                </c:pt>
                <c:pt idx="4">
                  <c:v>Kr 50 000 - 99 999</c:v>
                </c:pt>
                <c:pt idx="5">
                  <c:v>Kr 100 000 eller mer</c:v>
                </c:pt>
              </c:strCache>
            </c:strRef>
          </c:cat>
          <c:val>
            <c:numRef>
              <c:f>'Ark1'!$E$2:$E$7</c:f>
              <c:numCache>
                <c:formatCode>General</c:formatCode>
                <c:ptCount val="6"/>
                <c:pt idx="0">
                  <c:v>1.3</c:v>
                </c:pt>
                <c:pt idx="1">
                  <c:v>30.3</c:v>
                </c:pt>
                <c:pt idx="2">
                  <c:v>47.2</c:v>
                </c:pt>
                <c:pt idx="3">
                  <c:v>14.3</c:v>
                </c:pt>
                <c:pt idx="4">
                  <c:v>1.3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9F-4D4D-BA58-AD781B51EA1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663759568"/>
        <c:axId val="663763832"/>
      </c:barChart>
      <c:catAx>
        <c:axId val="6637595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3763832"/>
        <c:crosses val="autoZero"/>
        <c:auto val="1"/>
        <c:lblAlgn val="ctr"/>
        <c:lblOffset val="100"/>
        <c:noMultiLvlLbl val="0"/>
      </c:catAx>
      <c:valAx>
        <c:axId val="66376383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663759568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3436416365184218"/>
          <c:y val="2.5000000000000001E-2"/>
          <c:w val="0.29197681490553529"/>
          <c:h val="5.9822861882834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507957462023401E-2"/>
          <c:y val="0.14603125"/>
          <c:w val="0.56151451876980563"/>
          <c:h val="0.7570000000000000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Ja, mer enn 15 timer pr. måned</c:v>
                </c:pt>
              </c:strCache>
            </c:strRef>
          </c:tx>
          <c:spPr>
            <a:solidFill>
              <a:srgbClr val="33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:$A$9</c:f>
              <c:numCache>
                <c:formatCode>General</c:formatCode>
                <c:ptCount val="8"/>
                <c:pt idx="0">
                  <c:v>2005</c:v>
                </c:pt>
                <c:pt idx="1">
                  <c:v>2007</c:v>
                </c:pt>
                <c:pt idx="2">
                  <c:v>2009</c:v>
                </c:pt>
                <c:pt idx="3">
                  <c:v>2011</c:v>
                </c:pt>
                <c:pt idx="4">
                  <c:v>2013</c:v>
                </c:pt>
                <c:pt idx="5">
                  <c:v>2015</c:v>
                </c:pt>
                <c:pt idx="6">
                  <c:v>2017</c:v>
                </c:pt>
                <c:pt idx="7">
                  <c:v>2019</c:v>
                </c:pt>
              </c:numCache>
            </c:numRef>
          </c:cat>
          <c:val>
            <c:numRef>
              <c:f>'Ark1'!$B$2:$B$9</c:f>
              <c:numCache>
                <c:formatCode>General</c:formatCode>
                <c:ptCount val="8"/>
                <c:pt idx="0">
                  <c:v>1.4</c:v>
                </c:pt>
                <c:pt idx="1">
                  <c:v>1.9</c:v>
                </c:pt>
                <c:pt idx="2">
                  <c:v>1.7</c:v>
                </c:pt>
                <c:pt idx="3">
                  <c:v>2</c:v>
                </c:pt>
                <c:pt idx="4">
                  <c:v>2.4</c:v>
                </c:pt>
                <c:pt idx="5">
                  <c:v>2.2000000000000002</c:v>
                </c:pt>
                <c:pt idx="6">
                  <c:v>1.7</c:v>
                </c:pt>
                <c:pt idx="7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23-4D20-A3F7-171E5C0E7CA6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Ja, 6-15 timer pr. måned</c:v>
                </c:pt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:$A$9</c:f>
              <c:numCache>
                <c:formatCode>General</c:formatCode>
                <c:ptCount val="8"/>
                <c:pt idx="0">
                  <c:v>2005</c:v>
                </c:pt>
                <c:pt idx="1">
                  <c:v>2007</c:v>
                </c:pt>
                <c:pt idx="2">
                  <c:v>2009</c:v>
                </c:pt>
                <c:pt idx="3">
                  <c:v>2011</c:v>
                </c:pt>
                <c:pt idx="4">
                  <c:v>2013</c:v>
                </c:pt>
                <c:pt idx="5">
                  <c:v>2015</c:v>
                </c:pt>
                <c:pt idx="6">
                  <c:v>2017</c:v>
                </c:pt>
                <c:pt idx="7">
                  <c:v>2019</c:v>
                </c:pt>
              </c:numCache>
            </c:numRef>
          </c:cat>
          <c:val>
            <c:numRef>
              <c:f>'Ark1'!$C$2:$C$9</c:f>
              <c:numCache>
                <c:formatCode>General</c:formatCode>
                <c:ptCount val="8"/>
                <c:pt idx="0">
                  <c:v>2.6</c:v>
                </c:pt>
                <c:pt idx="1">
                  <c:v>3.3</c:v>
                </c:pt>
                <c:pt idx="2">
                  <c:v>3.4</c:v>
                </c:pt>
                <c:pt idx="3">
                  <c:v>3.3</c:v>
                </c:pt>
                <c:pt idx="4">
                  <c:v>4</c:v>
                </c:pt>
                <c:pt idx="5">
                  <c:v>4.9000000000000004</c:v>
                </c:pt>
                <c:pt idx="6">
                  <c:v>4.3</c:v>
                </c:pt>
                <c:pt idx="7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823-4D20-A3F7-171E5C0E7CA6}"/>
            </c:ext>
          </c:extLst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Ja, 1-5 timer pr. måned</c:v>
                </c:pt>
              </c:strCache>
            </c:strRef>
          </c:tx>
          <c:spPr>
            <a:solidFill>
              <a:srgbClr val="99FF6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:$A$9</c:f>
              <c:numCache>
                <c:formatCode>General</c:formatCode>
                <c:ptCount val="8"/>
                <c:pt idx="0">
                  <c:v>2005</c:v>
                </c:pt>
                <c:pt idx="1">
                  <c:v>2007</c:v>
                </c:pt>
                <c:pt idx="2">
                  <c:v>2009</c:v>
                </c:pt>
                <c:pt idx="3">
                  <c:v>2011</c:v>
                </c:pt>
                <c:pt idx="4">
                  <c:v>2013</c:v>
                </c:pt>
                <c:pt idx="5">
                  <c:v>2015</c:v>
                </c:pt>
                <c:pt idx="6">
                  <c:v>2017</c:v>
                </c:pt>
                <c:pt idx="7">
                  <c:v>2019</c:v>
                </c:pt>
              </c:numCache>
            </c:numRef>
          </c:cat>
          <c:val>
            <c:numRef>
              <c:f>'Ark1'!$D$2:$D$9</c:f>
              <c:numCache>
                <c:formatCode>General</c:formatCode>
                <c:ptCount val="8"/>
                <c:pt idx="0">
                  <c:v>4.9000000000000004</c:v>
                </c:pt>
                <c:pt idx="1">
                  <c:v>5</c:v>
                </c:pt>
                <c:pt idx="2">
                  <c:v>5.5</c:v>
                </c:pt>
                <c:pt idx="3">
                  <c:v>5.8</c:v>
                </c:pt>
                <c:pt idx="4">
                  <c:v>7.5</c:v>
                </c:pt>
                <c:pt idx="5">
                  <c:v>9</c:v>
                </c:pt>
                <c:pt idx="6">
                  <c:v>8.1</c:v>
                </c:pt>
                <c:pt idx="7">
                  <c:v>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823-4D20-A3F7-171E5C0E7CA6}"/>
            </c:ext>
          </c:extLst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Ja, mindre enn 1 time pr. måned</c:v>
                </c:pt>
              </c:strCache>
            </c:strRef>
          </c:tx>
          <c:spPr>
            <a:solidFill>
              <a:srgbClr val="CCFFC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:$A$9</c:f>
              <c:numCache>
                <c:formatCode>General</c:formatCode>
                <c:ptCount val="8"/>
                <c:pt idx="0">
                  <c:v>2005</c:v>
                </c:pt>
                <c:pt idx="1">
                  <c:v>2007</c:v>
                </c:pt>
                <c:pt idx="2">
                  <c:v>2009</c:v>
                </c:pt>
                <c:pt idx="3">
                  <c:v>2011</c:v>
                </c:pt>
                <c:pt idx="4">
                  <c:v>2013</c:v>
                </c:pt>
                <c:pt idx="5">
                  <c:v>2015</c:v>
                </c:pt>
                <c:pt idx="6">
                  <c:v>2017</c:v>
                </c:pt>
                <c:pt idx="7">
                  <c:v>2019</c:v>
                </c:pt>
              </c:numCache>
            </c:numRef>
          </c:cat>
          <c:val>
            <c:numRef>
              <c:f>'Ark1'!$E$2:$E$9</c:f>
              <c:numCache>
                <c:formatCode>General</c:formatCode>
                <c:ptCount val="8"/>
                <c:pt idx="0">
                  <c:v>16.600000000000001</c:v>
                </c:pt>
                <c:pt idx="1">
                  <c:v>15.4</c:v>
                </c:pt>
                <c:pt idx="2">
                  <c:v>14.4</c:v>
                </c:pt>
                <c:pt idx="3">
                  <c:v>13.9</c:v>
                </c:pt>
                <c:pt idx="4">
                  <c:v>12.3</c:v>
                </c:pt>
                <c:pt idx="5">
                  <c:v>12.3</c:v>
                </c:pt>
                <c:pt idx="6">
                  <c:v>11.2</c:v>
                </c:pt>
                <c:pt idx="7">
                  <c:v>1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23-4D20-A3F7-171E5C0E7CA6}"/>
            </c:ext>
          </c:extLst>
        </c:ser>
        <c:ser>
          <c:idx val="4"/>
          <c:order val="4"/>
          <c:tx>
            <c:strRef>
              <c:f>'Ark1'!$F$1</c:f>
              <c:strCache>
                <c:ptCount val="1"/>
                <c:pt idx="0">
                  <c:v>Nei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:$A$9</c:f>
              <c:numCache>
                <c:formatCode>General</c:formatCode>
                <c:ptCount val="8"/>
                <c:pt idx="0">
                  <c:v>2005</c:v>
                </c:pt>
                <c:pt idx="1">
                  <c:v>2007</c:v>
                </c:pt>
                <c:pt idx="2">
                  <c:v>2009</c:v>
                </c:pt>
                <c:pt idx="3">
                  <c:v>2011</c:v>
                </c:pt>
                <c:pt idx="4">
                  <c:v>2013</c:v>
                </c:pt>
                <c:pt idx="5">
                  <c:v>2015</c:v>
                </c:pt>
                <c:pt idx="6">
                  <c:v>2017</c:v>
                </c:pt>
                <c:pt idx="7">
                  <c:v>2019</c:v>
                </c:pt>
              </c:numCache>
            </c:numRef>
          </c:cat>
          <c:val>
            <c:numRef>
              <c:f>'Ark1'!$F$2:$F$9</c:f>
              <c:numCache>
                <c:formatCode>General</c:formatCode>
                <c:ptCount val="8"/>
                <c:pt idx="0">
                  <c:v>71.400000000000006</c:v>
                </c:pt>
                <c:pt idx="1">
                  <c:v>72.8</c:v>
                </c:pt>
                <c:pt idx="2">
                  <c:v>73.3</c:v>
                </c:pt>
                <c:pt idx="3">
                  <c:v>73.5</c:v>
                </c:pt>
                <c:pt idx="4">
                  <c:v>71.7</c:v>
                </c:pt>
                <c:pt idx="5">
                  <c:v>69.900000000000006</c:v>
                </c:pt>
                <c:pt idx="6">
                  <c:v>72.599999999999994</c:v>
                </c:pt>
                <c:pt idx="7">
                  <c:v>7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823-4D20-A3F7-171E5C0E7CA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750975672"/>
        <c:axId val="750985840"/>
      </c:barChart>
      <c:catAx>
        <c:axId val="750975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0985840"/>
        <c:crosses val="autoZero"/>
        <c:auto val="1"/>
        <c:lblAlgn val="ctr"/>
        <c:lblOffset val="100"/>
        <c:noMultiLvlLbl val="0"/>
      </c:catAx>
      <c:valAx>
        <c:axId val="750985840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0975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9864298800967384"/>
          <c:y val="0.29322193078113123"/>
          <c:w val="0.29041955571479494"/>
          <c:h val="0.35893089573505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nb-NO"/>
    </a:p>
  </c:txPr>
  <c:externalData r:id="rId3">
    <c:autoUpdate val="0"/>
  </c:externalData>
</c:chartSpace>
</file>

<file path=ppt/charts/chart1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0492248580682841E-2"/>
          <c:y val="4.9716876187546666E-2"/>
          <c:w val="0.82935130955610248"/>
          <c:h val="0.822321202202604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Ja</c:v>
                </c:pt>
              </c:strCache>
            </c:strRef>
          </c:tx>
          <c:spPr>
            <a:solidFill>
              <a:srgbClr val="99FF66"/>
            </a:solidFill>
            <a:ln w="28575">
              <a:noFill/>
            </a:ln>
          </c:spPr>
          <c:invertIfNegative val="0"/>
          <c:dLbls>
            <c:dLbl>
              <c:idx val="0"/>
              <c:layout>
                <c:manualLayout>
                  <c:x val="2.053107170445395E-3"/>
                  <c:y val="-2.40178622371982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FF7-4CB6-99E0-C2BBAF7E7CE4}"/>
                </c:ext>
              </c:extLst>
            </c:dLbl>
            <c:dLbl>
              <c:idx val="1"/>
              <c:layout>
                <c:manualLayout>
                  <c:x val="-3.3204851352473946E-3"/>
                  <c:y val="-1.88665418631987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FF7-4CB6-99E0-C2BBAF7E7CE4}"/>
                </c:ext>
              </c:extLst>
            </c:dLbl>
            <c:dLbl>
              <c:idx val="2"/>
              <c:layout>
                <c:manualLayout>
                  <c:x val="2.6190973521444331E-4"/>
                  <c:y val="-2.91691826111975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BFF7-4CB6-99E0-C2BBAF7E7CE4}"/>
                </c:ext>
              </c:extLst>
            </c:dLbl>
            <c:dLbl>
              <c:idx val="3"/>
              <c:layout>
                <c:manualLayout>
                  <c:x val="3.9023029004915896E-3"/>
                  <c:y val="-1.62908816761992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BFF7-4CB6-99E0-C2BBAF7E7CE4}"/>
                </c:ext>
              </c:extLst>
            </c:dLbl>
            <c:dLbl>
              <c:idx val="4"/>
              <c:layout>
                <c:manualLayout>
                  <c:x val="4.1315081520008085E-3"/>
                  <c:y val="-2.91691826111975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BFF7-4CB6-99E0-C2BBAF7E7CE4}"/>
                </c:ext>
              </c:extLst>
            </c:dLbl>
            <c:dLbl>
              <c:idx val="5"/>
              <c:layout>
                <c:manualLayout>
                  <c:x val="-2.3813596881026807E-3"/>
                  <c:y val="-2.40178622371982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BFF7-4CB6-99E0-C2BBAF7E7CE4}"/>
                </c:ext>
              </c:extLst>
            </c:dLbl>
            <c:dLbl>
              <c:idx val="6"/>
              <c:layout>
                <c:manualLayout>
                  <c:x val="-3.1668175116770364E-3"/>
                  <c:y val="-2.1442202050198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4174147997818533E-2"/>
                      <c:h val="5.666452411399317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2-BFF7-4CB6-99E0-C2BBAF7E7CE4}"/>
                </c:ext>
              </c:extLst>
            </c:dLbl>
            <c:dLbl>
              <c:idx val="7"/>
              <c:layout>
                <c:manualLayout>
                  <c:x val="5.4732185476402432E-3"/>
                  <c:y val="-2.65935224241979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BFF7-4CB6-99E0-C2BBAF7E7CE4}"/>
                </c:ext>
              </c:extLst>
            </c:dLbl>
            <c:dLbl>
              <c:idx val="8"/>
              <c:layout>
                <c:manualLayout>
                  <c:x val="-3.7571728392387237E-3"/>
                  <c:y val="-2.91692482419092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E8B-4B89-995E-ECCE14987B7E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D$1:$L$1</c:f>
              <c:numCache>
                <c:formatCode>General</c:formatCode>
                <c:ptCount val="9"/>
                <c:pt idx="0">
                  <c:v>2003</c:v>
                </c:pt>
                <c:pt idx="1">
                  <c:v>2005</c:v>
                </c:pt>
                <c:pt idx="2">
                  <c:v>2007</c:v>
                </c:pt>
                <c:pt idx="3">
                  <c:v>2009</c:v>
                </c:pt>
                <c:pt idx="4">
                  <c:v>2011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numCache>
            </c:numRef>
          </c:cat>
          <c:val>
            <c:numRef>
              <c:f>Sheet1!$D$2:$L$2</c:f>
              <c:numCache>
                <c:formatCode>General</c:formatCode>
                <c:ptCount val="9"/>
                <c:pt idx="0">
                  <c:v>35.700000000000003</c:v>
                </c:pt>
                <c:pt idx="1">
                  <c:v>37.9</c:v>
                </c:pt>
                <c:pt idx="2">
                  <c:v>38.6</c:v>
                </c:pt>
                <c:pt idx="3">
                  <c:v>37.6</c:v>
                </c:pt>
                <c:pt idx="4">
                  <c:v>38.1</c:v>
                </c:pt>
                <c:pt idx="5">
                  <c:v>38.9</c:v>
                </c:pt>
                <c:pt idx="6">
                  <c:v>42.4</c:v>
                </c:pt>
                <c:pt idx="7">
                  <c:v>39.1</c:v>
                </c:pt>
                <c:pt idx="8">
                  <c:v>4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EC-42CE-8C9C-B9974F45766F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Nei</c:v>
                </c:pt>
              </c:strCache>
            </c:strRef>
          </c:tx>
          <c:spPr>
            <a:solidFill>
              <a:sysClr val="window" lastClr="FFFFFF">
                <a:lumMod val="95000"/>
              </a:sysClr>
            </a:solidFill>
            <a:ln w="28575">
              <a:noFill/>
            </a:ln>
          </c:spPr>
          <c:invertIfNegative val="0"/>
          <c:dLbls>
            <c:dLbl>
              <c:idx val="8"/>
              <c:layout>
                <c:manualLayout>
                  <c:x val="-1.0281255908924385E-2"/>
                  <c:y val="-3.28396651641983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E8B-4B89-995E-ECCE14987B7E}"/>
                </c:ext>
              </c:extLst>
            </c:dLbl>
            <c:dLbl>
              <c:idx val="9"/>
              <c:layout>
                <c:manualLayout>
                  <c:x val="8.1840798089878337E-3"/>
                  <c:y val="-2.76884146128762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4E5-4277-ADB1-E16AFE70E7C1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D$1:$L$1</c:f>
              <c:numCache>
                <c:formatCode>General</c:formatCode>
                <c:ptCount val="9"/>
                <c:pt idx="0">
                  <c:v>2003</c:v>
                </c:pt>
                <c:pt idx="1">
                  <c:v>2005</c:v>
                </c:pt>
                <c:pt idx="2">
                  <c:v>2007</c:v>
                </c:pt>
                <c:pt idx="3">
                  <c:v>2009</c:v>
                </c:pt>
                <c:pt idx="4">
                  <c:v>2011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numCache>
            </c:numRef>
          </c:cat>
          <c:val>
            <c:numRef>
              <c:f>Sheet1!$D$3:$L$3</c:f>
              <c:numCache>
                <c:formatCode>General</c:formatCode>
                <c:ptCount val="9"/>
                <c:pt idx="0">
                  <c:v>63.2</c:v>
                </c:pt>
                <c:pt idx="1">
                  <c:v>59.8</c:v>
                </c:pt>
                <c:pt idx="2">
                  <c:v>60.3</c:v>
                </c:pt>
                <c:pt idx="3">
                  <c:v>61.4</c:v>
                </c:pt>
                <c:pt idx="4">
                  <c:v>61</c:v>
                </c:pt>
                <c:pt idx="5">
                  <c:v>59.5</c:v>
                </c:pt>
                <c:pt idx="6">
                  <c:v>56.5</c:v>
                </c:pt>
                <c:pt idx="7">
                  <c:v>59.1</c:v>
                </c:pt>
                <c:pt idx="8">
                  <c:v>5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EC-42CE-8C9C-B9974F4576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06861312"/>
        <c:axId val="106862848"/>
      </c:barChart>
      <c:catAx>
        <c:axId val="1068613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06862848"/>
        <c:crosses val="autoZero"/>
        <c:auto val="1"/>
        <c:lblAlgn val="ctr"/>
        <c:lblOffset val="100"/>
        <c:noMultiLvlLbl val="0"/>
      </c:catAx>
      <c:valAx>
        <c:axId val="106862848"/>
        <c:scaling>
          <c:orientation val="minMax"/>
          <c:max val="100"/>
          <c:min val="0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106861312"/>
        <c:crosses val="autoZero"/>
        <c:crossBetween val="between"/>
        <c:majorUnit val="10"/>
        <c:minorUnit val="2"/>
      </c:valAx>
    </c:plotArea>
    <c:legend>
      <c:legendPos val="r"/>
      <c:layout>
        <c:manualLayout>
          <c:xMode val="edge"/>
          <c:yMode val="edge"/>
          <c:x val="0.93079213607048683"/>
          <c:y val="0.36488519315828938"/>
          <c:w val="6.5908322599773861E-2"/>
          <c:h val="0.2487657787917571"/>
        </c:manualLayout>
      </c:layout>
      <c:overlay val="1"/>
      <c:spPr>
        <a:ln>
          <a:solidFill>
            <a:schemeClr val="bg1"/>
          </a:solidFill>
        </a:ln>
      </c:spPr>
      <c:txPr>
        <a:bodyPr/>
        <a:lstStyle/>
        <a:p>
          <a:pPr>
            <a:defRPr sz="1400"/>
          </a:pPr>
          <a:endParaRPr lang="nb-NO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nb-NO"/>
    </a:p>
  </c:txPr>
  <c:externalData r:id="rId2">
    <c:autoUpdate val="0"/>
  </c:externalData>
</c:chartSpace>
</file>

<file path=ppt/charts/chart1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2446666622517439"/>
          <c:y val="5.1141632009091303E-2"/>
          <c:w val="0.65448487778388509"/>
          <c:h val="0.8773413782805932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007681"/>
            </a:solidFill>
            <a:ln w="12700">
              <a:noFill/>
              <a:prstDash val="solid"/>
            </a:ln>
          </c:spPr>
          <c:invertIfNegative val="0"/>
          <c:dPt>
            <c:idx val="23"/>
            <c:invertIfNegative val="0"/>
            <c:bubble3D val="0"/>
            <c:spPr>
              <a:solidFill>
                <a:srgbClr val="FF0000"/>
              </a:solidFill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5BA6-4799-B378-D7C68BD3EFEE}"/>
              </c:ext>
            </c:extLst>
          </c:dPt>
          <c:dPt>
            <c:idx val="25"/>
            <c:invertIfNegative val="0"/>
            <c:bubble3D val="0"/>
            <c:spPr>
              <a:solidFill>
                <a:srgbClr val="E87722"/>
              </a:solidFill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009-4A2F-8C15-C2338DF0E64F}"/>
              </c:ext>
            </c:extLst>
          </c:dPt>
          <c:dPt>
            <c:idx val="26"/>
            <c:invertIfNegative val="0"/>
            <c:bubble3D val="0"/>
            <c:spPr>
              <a:solidFill>
                <a:srgbClr val="E87722"/>
              </a:solidFill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009-4A2F-8C15-C2338DF0E64F}"/>
              </c:ext>
            </c:extLst>
          </c:dPt>
          <c:dLbls>
            <c:numFmt formatCode="#,##0" sourceLinked="0"/>
            <c:spPr>
              <a:noFill/>
              <a:ln w="25399">
                <a:noFill/>
              </a:ln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5</c:f>
              <c:strCache>
                <c:ptCount val="24"/>
                <c:pt idx="0">
                  <c:v>Har ikke innvandrerbakgrunn</c:v>
                </c:pt>
                <c:pt idx="1">
                  <c:v>Har innvandrerbakgrunn</c:v>
                </c:pt>
                <c:pt idx="3">
                  <c:v>Bor i Nord-Norge</c:v>
                </c:pt>
                <c:pt idx="4">
                  <c:v>Bor i Midt-Norge</c:v>
                </c:pt>
                <c:pt idx="5">
                  <c:v>Bor på Vestlandet</c:v>
                </c:pt>
                <c:pt idx="6">
                  <c:v>Bor på Østlandet utenom Oslo</c:v>
                </c:pt>
                <c:pt idx="7">
                  <c:v>Bor i Oslo</c:v>
                </c:pt>
                <c:pt idx="9">
                  <c:v>Høyest  inntekt</c:v>
                </c:pt>
                <c:pt idx="10">
                  <c:v>Middels inntekt</c:v>
                </c:pt>
                <c:pt idx="11">
                  <c:v>Lavest  inntekt</c:v>
                </c:pt>
                <c:pt idx="13">
                  <c:v>Alder 60 år og eldre</c:v>
                </c:pt>
                <c:pt idx="14">
                  <c:v>Alder 40-59 år</c:v>
                </c:pt>
                <c:pt idx="15">
                  <c:v>Alder 25-39 år</c:v>
                </c:pt>
                <c:pt idx="16">
                  <c:v>Alder 15-24 år</c:v>
                </c:pt>
                <c:pt idx="18">
                  <c:v>Kvinner</c:v>
                </c:pt>
                <c:pt idx="19">
                  <c:v>Menn</c:v>
                </c:pt>
                <c:pt idx="21">
                  <c:v>TOTAL HELE BEFOLKNINGEN</c:v>
                </c:pt>
                <c:pt idx="23">
                  <c:v>Har hjemmeboende barn under 18 år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26.3</c:v>
                </c:pt>
                <c:pt idx="1">
                  <c:v>20.2</c:v>
                </c:pt>
                <c:pt idx="3">
                  <c:v>28.5</c:v>
                </c:pt>
                <c:pt idx="4">
                  <c:v>28.4</c:v>
                </c:pt>
                <c:pt idx="5">
                  <c:v>25.4</c:v>
                </c:pt>
                <c:pt idx="6">
                  <c:v>26.5</c:v>
                </c:pt>
                <c:pt idx="7">
                  <c:v>19.399999999999999</c:v>
                </c:pt>
                <c:pt idx="9">
                  <c:v>33.799999999999997</c:v>
                </c:pt>
                <c:pt idx="10">
                  <c:v>21.8</c:v>
                </c:pt>
                <c:pt idx="11">
                  <c:v>14.9</c:v>
                </c:pt>
                <c:pt idx="13">
                  <c:v>17.100000000000001</c:v>
                </c:pt>
                <c:pt idx="14">
                  <c:v>32.200000000000003</c:v>
                </c:pt>
                <c:pt idx="15">
                  <c:v>27.9</c:v>
                </c:pt>
                <c:pt idx="16">
                  <c:v>24.6</c:v>
                </c:pt>
                <c:pt idx="18">
                  <c:v>22.9</c:v>
                </c:pt>
                <c:pt idx="19">
                  <c:v>28.6</c:v>
                </c:pt>
                <c:pt idx="21">
                  <c:v>25.8</c:v>
                </c:pt>
                <c:pt idx="23">
                  <c:v>4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A1-4946-995E-8C236AE46D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06159104"/>
        <c:axId val="106177280"/>
      </c:barChart>
      <c:catAx>
        <c:axId val="1061591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77280"/>
        <c:crosses val="autoZero"/>
        <c:auto val="1"/>
        <c:lblAlgn val="ctr"/>
        <c:lblOffset val="100"/>
        <c:noMultiLvlLbl val="0"/>
      </c:catAx>
      <c:valAx>
        <c:axId val="106177280"/>
        <c:scaling>
          <c:orientation val="minMax"/>
          <c:max val="50"/>
          <c:min val="0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59104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Arial"/>
          <a:cs typeface="Arial" panose="020B0604020202020204" pitchFamily="34" charset="0"/>
        </a:defRPr>
      </a:pPr>
      <a:endParaRPr lang="nb-NO"/>
    </a:p>
  </c:txPr>
  <c:externalData r:id="rId2">
    <c:autoUpdate val="0"/>
  </c:externalData>
  <c:userShapes r:id="rId3"/>
</c:chartSpace>
</file>

<file path=ppt/charts/chart1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048044778898287"/>
          <c:y val="4.4642072517004409E-2"/>
          <c:w val="0.64610508479757234"/>
          <c:h val="0.8556687455469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10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Helt umulig å svare</c:v>
                </c:pt>
                <c:pt idx="1">
                  <c:v>Helt uenig</c:v>
                </c:pt>
                <c:pt idx="2">
                  <c:v>Delvis uenig</c:v>
                </c:pt>
                <c:pt idx="3">
                  <c:v>Delvis enig</c:v>
                </c:pt>
                <c:pt idx="4">
                  <c:v>Helt enig</c:v>
                </c:pt>
              </c:strCache>
            </c:strRef>
          </c:cat>
          <c:val>
            <c:numRef>
              <c:f>'Ark1'!$B$2:$B$6</c:f>
              <c:numCache>
                <c:formatCode>0</c:formatCode>
                <c:ptCount val="5"/>
                <c:pt idx="0">
                  <c:v>2.5</c:v>
                </c:pt>
                <c:pt idx="1">
                  <c:v>3.4</c:v>
                </c:pt>
                <c:pt idx="2">
                  <c:v>7.2</c:v>
                </c:pt>
                <c:pt idx="3">
                  <c:v>23.3</c:v>
                </c:pt>
                <c:pt idx="4">
                  <c:v>6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FE-483C-81B5-3D97FB9114A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1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1400"/>
      </a:pPr>
      <a:endParaRPr lang="nb-NO"/>
    </a:p>
  </c:txPr>
  <c:externalData r:id="rId3">
    <c:autoUpdate val="0"/>
  </c:externalData>
</c:chartSpace>
</file>

<file path=ppt/charts/chart1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048044778898287"/>
          <c:y val="4.4642072517004409E-2"/>
          <c:w val="0.64610508479757234"/>
          <c:h val="0.8556687455469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10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Helt umulig å svare</c:v>
                </c:pt>
                <c:pt idx="1">
                  <c:v>Helt uenig</c:v>
                </c:pt>
                <c:pt idx="2">
                  <c:v>Delvis uenig</c:v>
                </c:pt>
                <c:pt idx="3">
                  <c:v>Delvis enig</c:v>
                </c:pt>
                <c:pt idx="4">
                  <c:v>Helt enig</c:v>
                </c:pt>
              </c:strCache>
            </c:strRef>
          </c:cat>
          <c:val>
            <c:numRef>
              <c:f>'Ark1'!$B$2:$B$6</c:f>
              <c:numCache>
                <c:formatCode>0</c:formatCode>
                <c:ptCount val="5"/>
                <c:pt idx="0">
                  <c:v>2.5</c:v>
                </c:pt>
                <c:pt idx="1">
                  <c:v>13.2</c:v>
                </c:pt>
                <c:pt idx="2">
                  <c:v>24.2</c:v>
                </c:pt>
                <c:pt idx="3">
                  <c:v>34.700000000000003</c:v>
                </c:pt>
                <c:pt idx="4">
                  <c:v>2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FE-483C-81B5-3D97FB9114A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1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1400"/>
      </a:pPr>
      <a:endParaRPr lang="nb-NO"/>
    </a:p>
  </c:txPr>
  <c:externalData r:id="rId3">
    <c:autoUpdate val="0"/>
  </c:externalData>
</c:chartSpace>
</file>

<file path=ppt/charts/chart1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048044778898287"/>
          <c:y val="4.4642072517004409E-2"/>
          <c:w val="0.64610508479757234"/>
          <c:h val="0.8556687455469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10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Helt umulig å svare</c:v>
                </c:pt>
                <c:pt idx="1">
                  <c:v>Helt uenig</c:v>
                </c:pt>
                <c:pt idx="2">
                  <c:v>Delvis uenig</c:v>
                </c:pt>
                <c:pt idx="3">
                  <c:v>Delvis enig</c:v>
                </c:pt>
                <c:pt idx="4">
                  <c:v>Helt enig</c:v>
                </c:pt>
              </c:strCache>
            </c:strRef>
          </c:cat>
          <c:val>
            <c:numRef>
              <c:f>'Ark1'!$B$2:$B$6</c:f>
              <c:numCache>
                <c:formatCode>0</c:formatCode>
                <c:ptCount val="5"/>
                <c:pt idx="0">
                  <c:v>5.2</c:v>
                </c:pt>
                <c:pt idx="1">
                  <c:v>4.5999999999999996</c:v>
                </c:pt>
                <c:pt idx="2">
                  <c:v>12</c:v>
                </c:pt>
                <c:pt idx="3">
                  <c:v>35.1</c:v>
                </c:pt>
                <c:pt idx="4">
                  <c:v>4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FE-483C-81B5-3D97FB9114A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1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1400"/>
      </a:pPr>
      <a:endParaRPr lang="nb-NO"/>
    </a:p>
  </c:txPr>
  <c:externalData r:id="rId3">
    <c:autoUpdate val="0"/>
  </c:externalData>
</c:chartSpace>
</file>

<file path=ppt/charts/chart1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048044778898287"/>
          <c:y val="4.4642072517004409E-2"/>
          <c:w val="0.64610508479757234"/>
          <c:h val="0.8556687455469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10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Helt umulig å svare</c:v>
                </c:pt>
                <c:pt idx="1">
                  <c:v>Helt uenig</c:v>
                </c:pt>
                <c:pt idx="2">
                  <c:v>Delvis uenig</c:v>
                </c:pt>
                <c:pt idx="3">
                  <c:v>Delvis enig</c:v>
                </c:pt>
                <c:pt idx="4">
                  <c:v>Helt enig</c:v>
                </c:pt>
              </c:strCache>
            </c:strRef>
          </c:cat>
          <c:val>
            <c:numRef>
              <c:f>'Ark1'!$B$2:$B$6</c:f>
              <c:numCache>
                <c:formatCode>0</c:formatCode>
                <c:ptCount val="5"/>
                <c:pt idx="0">
                  <c:v>5.3</c:v>
                </c:pt>
                <c:pt idx="1">
                  <c:v>13.7</c:v>
                </c:pt>
                <c:pt idx="2">
                  <c:v>23.8</c:v>
                </c:pt>
                <c:pt idx="3">
                  <c:v>38.6</c:v>
                </c:pt>
                <c:pt idx="4">
                  <c:v>1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FE-483C-81B5-3D97FB9114A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1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1400"/>
      </a:pPr>
      <a:endParaRPr lang="nb-NO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3.7540382111107731E-2"/>
          <c:w val="0.74531868405497514"/>
          <c:h val="0.8247690494550652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e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0</c:f>
              <c:numCache>
                <c:formatCode>General</c:formatCode>
                <c:ptCount val="9"/>
                <c:pt idx="0">
                  <c:v>2003</c:v>
                </c:pt>
                <c:pt idx="1">
                  <c:v>2005</c:v>
                </c:pt>
                <c:pt idx="2">
                  <c:v>2007</c:v>
                </c:pt>
                <c:pt idx="3">
                  <c:v>2009</c:v>
                </c:pt>
                <c:pt idx="4">
                  <c:v>2011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numCache>
            </c:numRef>
          </c:cat>
          <c:val>
            <c:numRef>
              <c:f>Sheet1!$B$2:$B$10</c:f>
              <c:numCache>
                <c:formatCode>0%</c:formatCode>
                <c:ptCount val="9"/>
                <c:pt idx="0">
                  <c:v>0.67</c:v>
                </c:pt>
                <c:pt idx="1">
                  <c:v>0.69</c:v>
                </c:pt>
                <c:pt idx="2">
                  <c:v>0.71</c:v>
                </c:pt>
                <c:pt idx="3">
                  <c:v>0.71</c:v>
                </c:pt>
                <c:pt idx="4">
                  <c:v>0.73</c:v>
                </c:pt>
                <c:pt idx="5">
                  <c:v>0.72</c:v>
                </c:pt>
                <c:pt idx="6">
                  <c:v>0.73</c:v>
                </c:pt>
                <c:pt idx="7">
                  <c:v>0.71</c:v>
                </c:pt>
                <c:pt idx="8">
                  <c:v>0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9C-4A9D-B8E2-23FA571792E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60 år +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2751349685182212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9CC-41C6-B719-471DE1B8B86C}"/>
                </c:ext>
              </c:extLst>
            </c:dLbl>
            <c:dLbl>
              <c:idx val="1"/>
              <c:layout>
                <c:manualLayout>
                  <c:x val="1.4572971068779691E-2"/>
                  <c:y val="-4.1028799845963062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9CC-41C6-B719-471DE1B8B86C}"/>
                </c:ext>
              </c:extLst>
            </c:dLbl>
            <c:dLbl>
              <c:idx val="2"/>
              <c:layout>
                <c:manualLayout>
                  <c:x val="9.1081069179873055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9CC-41C6-B719-471DE1B8B86C}"/>
                </c:ext>
              </c:extLst>
            </c:dLbl>
            <c:dLbl>
              <c:idx val="3"/>
              <c:layout>
                <c:manualLayout>
                  <c:x val="1.0929728301584767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9CC-41C6-B719-471DE1B8B86C}"/>
                </c:ext>
              </c:extLst>
            </c:dLbl>
            <c:dLbl>
              <c:idx val="4"/>
              <c:layout>
                <c:manualLayout>
                  <c:x val="3.6432427671949227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9CC-41C6-B719-471DE1B8B86C}"/>
                </c:ext>
              </c:extLst>
            </c:dLbl>
            <c:dLbl>
              <c:idx val="5"/>
              <c:layout>
                <c:manualLayout>
                  <c:x val="5.4648641507923836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9CC-41C6-B719-471DE1B8B86C}"/>
                </c:ext>
              </c:extLst>
            </c:dLbl>
            <c:dLbl>
              <c:idx val="6"/>
              <c:layout>
                <c:manualLayout>
                  <c:x val="7.2864855343898454E-3"/>
                  <c:y val="8.951841559453091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9CC-41C6-B719-471DE1B8B86C}"/>
                </c:ext>
              </c:extLst>
            </c:dLbl>
            <c:dLbl>
              <c:idx val="7"/>
              <c:layout>
                <c:manualLayout>
                  <c:x val="7.286485534389845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9CC-41C6-B719-471DE1B8B86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0</c:f>
              <c:numCache>
                <c:formatCode>General</c:formatCode>
                <c:ptCount val="9"/>
                <c:pt idx="0">
                  <c:v>2003</c:v>
                </c:pt>
                <c:pt idx="1">
                  <c:v>2005</c:v>
                </c:pt>
                <c:pt idx="2">
                  <c:v>2007</c:v>
                </c:pt>
                <c:pt idx="3">
                  <c:v>2009</c:v>
                </c:pt>
                <c:pt idx="4">
                  <c:v>2011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numCache>
            </c:numRef>
          </c:cat>
          <c:val>
            <c:numRef>
              <c:f>Sheet1!$C$2:$C$10</c:f>
              <c:numCache>
                <c:formatCode>0%</c:formatCode>
                <c:ptCount val="9"/>
                <c:pt idx="0">
                  <c:v>0.48</c:v>
                </c:pt>
                <c:pt idx="1">
                  <c:v>0.56000000000000005</c:v>
                </c:pt>
                <c:pt idx="2">
                  <c:v>0.57999999999999996</c:v>
                </c:pt>
                <c:pt idx="3">
                  <c:v>0.59</c:v>
                </c:pt>
                <c:pt idx="4">
                  <c:v>0.62</c:v>
                </c:pt>
                <c:pt idx="5">
                  <c:v>0.62</c:v>
                </c:pt>
                <c:pt idx="6">
                  <c:v>0.63</c:v>
                </c:pt>
                <c:pt idx="7">
                  <c:v>0.63</c:v>
                </c:pt>
                <c:pt idx="8">
                  <c:v>0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9C-4A9D-B8E2-23FA571792E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34171776"/>
        <c:axId val="234198144"/>
      </c:barChart>
      <c:catAx>
        <c:axId val="234171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nb-NO"/>
          </a:p>
        </c:txPr>
        <c:crossAx val="234198144"/>
        <c:crosses val="autoZero"/>
        <c:auto val="1"/>
        <c:lblAlgn val="ctr"/>
        <c:lblOffset val="100"/>
        <c:noMultiLvlLbl val="0"/>
      </c:catAx>
      <c:valAx>
        <c:axId val="234198144"/>
        <c:scaling>
          <c:orientation val="minMax"/>
          <c:max val="1"/>
        </c:scaling>
        <c:delete val="1"/>
        <c:axPos val="l"/>
        <c:numFmt formatCode="0%" sourceLinked="1"/>
        <c:majorTickMark val="out"/>
        <c:minorTickMark val="none"/>
        <c:tickLblPos val="nextTo"/>
        <c:crossAx val="234171776"/>
        <c:crosses val="autoZero"/>
        <c:crossBetween val="between"/>
        <c:majorUnit val="1"/>
      </c:valAx>
    </c:plotArea>
    <c:legend>
      <c:legendPos val="r"/>
      <c:layout>
        <c:manualLayout>
          <c:xMode val="edge"/>
          <c:yMode val="edge"/>
          <c:x val="0.79859920308386412"/>
          <c:y val="0.45126764211825687"/>
          <c:w val="0.12016116700657958"/>
          <c:h val="0.29350907497743317"/>
        </c:manualLayout>
      </c:layout>
      <c:overlay val="1"/>
      <c:txPr>
        <a:bodyPr/>
        <a:lstStyle/>
        <a:p>
          <a:pPr>
            <a:defRPr sz="1400"/>
          </a:pPr>
          <a:endParaRPr lang="nb-NO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b-NO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7540382111107731E-2"/>
          <c:w val="0.74531868405497514"/>
          <c:h val="0.8247690494550652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le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0</c:f>
              <c:numCache>
                <c:formatCode>General</c:formatCode>
                <c:ptCount val="9"/>
                <c:pt idx="1">
                  <c:v>2005</c:v>
                </c:pt>
                <c:pt idx="2">
                  <c:v>2007</c:v>
                </c:pt>
                <c:pt idx="3">
                  <c:v>2009</c:v>
                </c:pt>
                <c:pt idx="4">
                  <c:v>2011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numCache>
            </c:numRef>
          </c:cat>
          <c:val>
            <c:numRef>
              <c:f>Sheet1!$B$2:$B$10</c:f>
              <c:numCache>
                <c:formatCode>0%</c:formatCode>
                <c:ptCount val="9"/>
                <c:pt idx="1">
                  <c:v>0.625</c:v>
                </c:pt>
                <c:pt idx="2">
                  <c:v>0.63100000000000001</c:v>
                </c:pt>
                <c:pt idx="3">
                  <c:v>0.625</c:v>
                </c:pt>
                <c:pt idx="4">
                  <c:v>0.65800000000000003</c:v>
                </c:pt>
                <c:pt idx="5">
                  <c:v>0.63100000000000001</c:v>
                </c:pt>
                <c:pt idx="6">
                  <c:v>0.64200000000000002</c:v>
                </c:pt>
                <c:pt idx="7">
                  <c:v>0.63</c:v>
                </c:pt>
                <c:pt idx="8">
                  <c:v>0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9C-4A9D-B8E2-23FA571792E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34171776"/>
        <c:axId val="234198144"/>
      </c:barChart>
      <c:catAx>
        <c:axId val="234171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nb-NO"/>
          </a:p>
        </c:txPr>
        <c:crossAx val="234198144"/>
        <c:crosses val="autoZero"/>
        <c:auto val="1"/>
        <c:lblAlgn val="ctr"/>
        <c:lblOffset val="100"/>
        <c:noMultiLvlLbl val="0"/>
      </c:catAx>
      <c:valAx>
        <c:axId val="234198144"/>
        <c:scaling>
          <c:orientation val="minMax"/>
          <c:max val="1"/>
        </c:scaling>
        <c:delete val="1"/>
        <c:axPos val="l"/>
        <c:numFmt formatCode="0%" sourceLinked="1"/>
        <c:majorTickMark val="out"/>
        <c:minorTickMark val="none"/>
        <c:tickLblPos val="nextTo"/>
        <c:crossAx val="234171776"/>
        <c:crosses val="autoZero"/>
        <c:crossBetween val="between"/>
        <c:majorUnit val="1"/>
      </c:valAx>
    </c:plotArea>
    <c:legend>
      <c:legendPos val="r"/>
      <c:layout>
        <c:manualLayout>
          <c:xMode val="edge"/>
          <c:yMode val="edge"/>
          <c:x val="0.79859920308386412"/>
          <c:y val="0.45126764211825687"/>
          <c:w val="0.12016116700657958"/>
          <c:h val="0.29350907497743317"/>
        </c:manualLayout>
      </c:layout>
      <c:overlay val="1"/>
      <c:txPr>
        <a:bodyPr/>
        <a:lstStyle/>
        <a:p>
          <a:pPr>
            <a:defRPr sz="1400"/>
          </a:pPr>
          <a:endParaRPr lang="nb-NO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b-NO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844194951222648E-2"/>
          <c:y val="5.0905605831268221E-2"/>
          <c:w val="0.5793975534347533"/>
          <c:h val="0.83145276304943028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Alle</c:v>
                </c:pt>
              </c:strCache>
            </c:strRef>
          </c:tx>
          <c:spPr>
            <a:ln w="28575" cap="rnd">
              <a:solidFill>
                <a:srgbClr val="01A79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01A796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:$A$10</c:f>
              <c:numCache>
                <c:formatCode>General</c:formatCode>
                <c:ptCount val="9"/>
                <c:pt idx="0">
                  <c:v>2003</c:v>
                </c:pt>
                <c:pt idx="1">
                  <c:v>2005</c:v>
                </c:pt>
                <c:pt idx="2">
                  <c:v>2007</c:v>
                </c:pt>
                <c:pt idx="3">
                  <c:v>2009</c:v>
                </c:pt>
                <c:pt idx="4">
                  <c:v>2011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numCache>
            </c:numRef>
          </c:cat>
          <c:val>
            <c:numRef>
              <c:f>Feuil1!$B$2:$B$10</c:f>
              <c:numCache>
                <c:formatCode>0%</c:formatCode>
                <c:ptCount val="9"/>
                <c:pt idx="0">
                  <c:v>0.32</c:v>
                </c:pt>
                <c:pt idx="1">
                  <c:v>0.33</c:v>
                </c:pt>
                <c:pt idx="2">
                  <c:v>0.34</c:v>
                </c:pt>
                <c:pt idx="3">
                  <c:v>0.35</c:v>
                </c:pt>
                <c:pt idx="4">
                  <c:v>0.36</c:v>
                </c:pt>
                <c:pt idx="5">
                  <c:v>0.32</c:v>
                </c:pt>
                <c:pt idx="6">
                  <c:v>0.33</c:v>
                </c:pt>
                <c:pt idx="7">
                  <c:v>0.34</c:v>
                </c:pt>
                <c:pt idx="8">
                  <c:v>0.3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3AE6-493B-8F3F-222A72DC5D0B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Kvinner</c:v>
                </c:pt>
              </c:strCache>
            </c:strRef>
          </c:tx>
          <c:spPr>
            <a:ln w="28575" cap="rnd">
              <a:solidFill>
                <a:srgbClr val="D41A57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D41A57"/>
                </a:solidFill>
              </a:ln>
              <a:effectLst/>
            </c:spPr>
          </c:marker>
          <c:dLbls>
            <c:dLbl>
              <c:idx val="4"/>
              <c:layout>
                <c:manualLayout>
                  <c:x val="-1.448741982105246E-2"/>
                  <c:y val="-3.91871924033019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AE6-493B-8F3F-222A72DC5D0B}"/>
                </c:ext>
              </c:extLst>
            </c:dLbl>
            <c:dLbl>
              <c:idx val="5"/>
              <c:layout>
                <c:manualLayout>
                  <c:x val="-1.4487419821052418E-2"/>
                  <c:y val="-3.51041215224774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EC6-1547-933D-71B8261BD74A}"/>
                </c:ext>
              </c:extLst>
            </c:dLbl>
            <c:dLbl>
              <c:idx val="6"/>
              <c:layout>
                <c:manualLayout>
                  <c:x val="-1.4487419821052502E-2"/>
                  <c:y val="-3.10210506416529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3AE6-493B-8F3F-222A72DC5D0B}"/>
                </c:ext>
              </c:extLst>
            </c:dLbl>
            <c:dLbl>
              <c:idx val="8"/>
              <c:layout>
                <c:manualLayout>
                  <c:x val="-5.4502475997562552E-3"/>
                  <c:y val="-2.28549088800040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EC6-1547-933D-71B8261BD7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:$A$10</c:f>
              <c:numCache>
                <c:formatCode>General</c:formatCode>
                <c:ptCount val="9"/>
                <c:pt idx="0">
                  <c:v>2003</c:v>
                </c:pt>
                <c:pt idx="1">
                  <c:v>2005</c:v>
                </c:pt>
                <c:pt idx="2">
                  <c:v>2007</c:v>
                </c:pt>
                <c:pt idx="3">
                  <c:v>2009</c:v>
                </c:pt>
                <c:pt idx="4">
                  <c:v>2011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numCache>
            </c:numRef>
          </c:cat>
          <c:val>
            <c:numRef>
              <c:f>Feuil1!$C$2:$C$10</c:f>
              <c:numCache>
                <c:formatCode>0%</c:formatCode>
                <c:ptCount val="9"/>
                <c:pt idx="0">
                  <c:v>0.33</c:v>
                </c:pt>
                <c:pt idx="1">
                  <c:v>0.35</c:v>
                </c:pt>
                <c:pt idx="2">
                  <c:v>0.38</c:v>
                </c:pt>
                <c:pt idx="3">
                  <c:v>0.37</c:v>
                </c:pt>
                <c:pt idx="4">
                  <c:v>0.4</c:v>
                </c:pt>
                <c:pt idx="5">
                  <c:v>0.33</c:v>
                </c:pt>
                <c:pt idx="6">
                  <c:v>0.34</c:v>
                </c:pt>
                <c:pt idx="7">
                  <c:v>0.35</c:v>
                </c:pt>
                <c:pt idx="8">
                  <c:v>0.38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3AE6-493B-8F3F-222A72DC5D0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788165872"/>
        <c:axId val="788166200"/>
        <c:extLst>
          <c:ext xmlns:c15="http://schemas.microsoft.com/office/drawing/2012/chart" uri="{02D57815-91ED-43cb-92C2-25804820EDAC}">
            <c15:filteredLine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Feuil1!$D$1</c15:sqref>
                        </c15:formulaRef>
                      </c:ext>
                    </c:extLst>
                    <c:strCache>
                      <c:ptCount val="1"/>
                      <c:pt idx="0">
                        <c:v>Menn</c:v>
                      </c:pt>
                    </c:strCache>
                  </c:strRef>
                </c:tx>
                <c:spPr>
                  <a:ln w="28575" cap="rnd">
                    <a:solidFill>
                      <a:srgbClr val="01A796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bg1"/>
                    </a:solidFill>
                    <a:ln w="9525">
                      <a:solidFill>
                        <a:srgbClr val="01A796"/>
                      </a:solidFill>
                    </a:ln>
                    <a:effectLst/>
                  </c:spPr>
                </c:marker>
                <c:dLbls>
                  <c:dLbl>
                    <c:idx val="6"/>
                    <c:layout>
                      <c:manualLayout>
                        <c:x val="-1.7868533270086633E-2"/>
                        <c:y val="-2.6937979760828498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E-3AE6-493B-8F3F-222A72DC5D0B}"/>
                      </c:ext>
                    </c:extLst>
                  </c:dLbl>
                  <c:dLbl>
                    <c:idx val="7"/>
                    <c:layout>
                      <c:manualLayout>
                        <c:x val="-1.9248342789012239E-2"/>
                        <c:y val="-1.8771837999179603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2-8EC6-1547-933D-71B8261BD74A}"/>
                      </c:ext>
                    </c:extLst>
                  </c:dLbl>
                  <c:dLbl>
                    <c:idx val="8"/>
                    <c:layout>
                      <c:manualLayout>
                        <c:x val="-6.8300571186817628E-3"/>
                        <c:y val="-3.1021050641652982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3-8EC6-1547-933D-71B8261BD74A}"/>
                      </c:ext>
                    </c:extLst>
                  </c:dLbl>
                  <c:dLbl>
                    <c:idx val="10"/>
                    <c:layout>
                      <c:manualLayout>
                        <c:x val="-1.2249980466449728E-2"/>
                        <c:y val="-1.8771837999179527E-2"/>
                      </c:manualLayout>
                    </c:layout>
                    <c:dLblPos val="r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6-3AE6-493B-8F3F-222A72DC5D0B}"/>
                      </c:ext>
                    </c:extLst>
                  </c:dLbl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nb-NO"/>
                    </a:p>
                  </c:txPr>
                  <c:dLblPos val="t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Feuil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03</c:v>
                      </c:pt>
                      <c:pt idx="1">
                        <c:v>2005</c:v>
                      </c:pt>
                      <c:pt idx="2">
                        <c:v>2007</c:v>
                      </c:pt>
                      <c:pt idx="3">
                        <c:v>2009</c:v>
                      </c:pt>
                      <c:pt idx="4">
                        <c:v>2011</c:v>
                      </c:pt>
                      <c:pt idx="5">
                        <c:v>2013</c:v>
                      </c:pt>
                      <c:pt idx="6">
                        <c:v>2015</c:v>
                      </c:pt>
                      <c:pt idx="7">
                        <c:v>2017</c:v>
                      </c:pt>
                      <c:pt idx="8">
                        <c:v>2019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Feuil1!$D$2:$D$10</c15:sqref>
                        </c15:formulaRef>
                      </c:ext>
                    </c:extLst>
                    <c:numCache>
                      <c:formatCode>0%</c:formatCode>
                      <c:ptCount val="9"/>
                      <c:pt idx="0">
                        <c:v>0.32</c:v>
                      </c:pt>
                      <c:pt idx="1">
                        <c:v>0.3</c:v>
                      </c:pt>
                      <c:pt idx="2">
                        <c:v>0.3</c:v>
                      </c:pt>
                      <c:pt idx="3">
                        <c:v>0.32</c:v>
                      </c:pt>
                      <c:pt idx="4">
                        <c:v>0.32</c:v>
                      </c:pt>
                      <c:pt idx="5">
                        <c:v>0.31</c:v>
                      </c:pt>
                      <c:pt idx="6">
                        <c:v>0.32</c:v>
                      </c:pt>
                      <c:pt idx="7">
                        <c:v>0.33</c:v>
                      </c:pt>
                      <c:pt idx="8">
                        <c:v>0.33</c:v>
                      </c:pt>
                    </c:numCache>
                  </c:numRef>
                </c:val>
                <c:smooth val="1"/>
                <c:extLst>
                  <c:ext xmlns:c16="http://schemas.microsoft.com/office/drawing/2014/chart" uri="{C3380CC4-5D6E-409C-BE32-E72D297353CC}">
                    <c16:uniqueId val="{00000007-3AE6-493B-8F3F-222A72DC5D0B}"/>
                  </c:ext>
                </c:extLst>
              </c15:ser>
            </c15:filteredLineSeries>
          </c:ext>
        </c:extLst>
      </c:lineChart>
      <c:catAx>
        <c:axId val="7881658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0.5"/>
          <c:min val="0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88165872"/>
        <c:crosses val="autoZero"/>
        <c:crossBetween val="between"/>
        <c:majorUnit val="0.25"/>
        <c:minorUnit val="0.25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742178028239168"/>
          <c:y val="0.34790335917777881"/>
          <c:w val="0.10476991458979079"/>
          <c:h val="0.207041914812352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598364493519527E-2"/>
          <c:y val="3.2012847419605868E-2"/>
          <c:w val="0.60430020880386637"/>
          <c:h val="0.86674797849241758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piser frokost hjemme hver dag </c:v>
                </c:pt>
              </c:strCache>
            </c:strRef>
          </c:tx>
          <c:spPr>
            <a:ln w="28575" cap="rnd">
              <a:solidFill>
                <a:srgbClr val="00AA99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00AA99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:$A$15</c:f>
              <c:numCache>
                <c:formatCode>General</c:formatCode>
                <c:ptCount val="14"/>
                <c:pt idx="0">
                  <c:v>1993</c:v>
                </c:pt>
                <c:pt idx="1">
                  <c:v>1995</c:v>
                </c:pt>
                <c:pt idx="2">
                  <c:v>1997</c:v>
                </c:pt>
                <c:pt idx="3">
                  <c:v>1999</c:v>
                </c:pt>
                <c:pt idx="4">
                  <c:v>2001</c:v>
                </c:pt>
                <c:pt idx="5">
                  <c:v>2003</c:v>
                </c:pt>
                <c:pt idx="6">
                  <c:v>2005</c:v>
                </c:pt>
                <c:pt idx="7">
                  <c:v>2007</c:v>
                </c:pt>
                <c:pt idx="8">
                  <c:v>2009</c:v>
                </c:pt>
                <c:pt idx="9">
                  <c:v>2011</c:v>
                </c:pt>
                <c:pt idx="10">
                  <c:v>2013</c:v>
                </c:pt>
                <c:pt idx="11">
                  <c:v>2015</c:v>
                </c:pt>
                <c:pt idx="12">
                  <c:v>2017</c:v>
                </c:pt>
                <c:pt idx="13">
                  <c:v>2019</c:v>
                </c:pt>
              </c:numCache>
            </c:numRef>
          </c:cat>
          <c:val>
            <c:numRef>
              <c:f>Feuil1!$B$2:$B$15</c:f>
              <c:numCache>
                <c:formatCode>0%</c:formatCode>
                <c:ptCount val="14"/>
                <c:pt idx="0">
                  <c:v>0.74</c:v>
                </c:pt>
                <c:pt idx="1">
                  <c:v>0.74</c:v>
                </c:pt>
                <c:pt idx="2">
                  <c:v>0.72</c:v>
                </c:pt>
                <c:pt idx="3">
                  <c:v>0.7</c:v>
                </c:pt>
                <c:pt idx="4">
                  <c:v>0.69</c:v>
                </c:pt>
                <c:pt idx="5">
                  <c:v>0.67</c:v>
                </c:pt>
                <c:pt idx="6">
                  <c:v>0.66</c:v>
                </c:pt>
                <c:pt idx="7">
                  <c:v>0.69</c:v>
                </c:pt>
                <c:pt idx="8">
                  <c:v>0.69</c:v>
                </c:pt>
                <c:pt idx="9">
                  <c:v>0.68</c:v>
                </c:pt>
                <c:pt idx="10">
                  <c:v>0.68</c:v>
                </c:pt>
                <c:pt idx="11">
                  <c:v>0.66</c:v>
                </c:pt>
                <c:pt idx="12">
                  <c:v>0.65</c:v>
                </c:pt>
                <c:pt idx="13">
                  <c:v>0.5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4340-4E2B-90F5-BAC3564AC4C2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Latt være å spise frokost 2 ganger i uken eller oftere</c:v>
                </c:pt>
              </c:strCache>
            </c:strRef>
          </c:tx>
          <c:spPr>
            <a:ln w="28575" cap="rnd">
              <a:solidFill>
                <a:srgbClr val="FFBE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FFBE0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7917684511139183E-2"/>
                  <c:y val="-2.0145080398390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340-4E2B-90F5-BAC3564AC4C2}"/>
                </c:ext>
              </c:extLst>
            </c:dLbl>
            <c:dLbl>
              <c:idx val="1"/>
              <c:layout>
                <c:manualLayout>
                  <c:x val="-1.5101554204576787E-2"/>
                  <c:y val="-3.454090084963692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340-4E2B-90F5-BAC3564AC4C2}"/>
                </c:ext>
              </c:extLst>
            </c:dLbl>
            <c:dLbl>
              <c:idx val="2"/>
              <c:layout>
                <c:manualLayout>
                  <c:x val="-1.5101554204576787E-2"/>
                  <c:y val="-3.454090084963692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340-4E2B-90F5-BAC3564AC4C2}"/>
                </c:ext>
              </c:extLst>
            </c:dLbl>
            <c:dLbl>
              <c:idx val="3"/>
              <c:layout>
                <c:manualLayout>
                  <c:x val="-1.6509619357857986E-2"/>
                  <c:y val="-2.734299062401347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340-4E2B-90F5-BAC3564AC4C2}"/>
                </c:ext>
              </c:extLst>
            </c:dLbl>
            <c:dLbl>
              <c:idx val="4"/>
              <c:layout>
                <c:manualLayout>
                  <c:x val="-1.5259989252138902E-2"/>
                  <c:y val="-3.094194573682526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340-4E2B-90F5-BAC3564AC4C2}"/>
                </c:ext>
              </c:extLst>
            </c:dLbl>
            <c:dLbl>
              <c:idx val="8"/>
              <c:layout>
                <c:manualLayout>
                  <c:x val="-2.183565351796209E-2"/>
                  <c:y val="-3.45409008496367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340-4E2B-90F5-BAC3564AC4C2}"/>
                </c:ext>
              </c:extLst>
            </c:dLbl>
            <c:dLbl>
              <c:idx val="9"/>
              <c:layout>
                <c:manualLayout>
                  <c:x val="-2.3243718671243235E-2"/>
                  <c:y val="-2.734299062401347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340-4E2B-90F5-BAC3564AC4C2}"/>
                </c:ext>
              </c:extLst>
            </c:dLbl>
            <c:dLbl>
              <c:idx val="10"/>
              <c:layout>
                <c:manualLayout>
                  <c:x val="-2.7467914131086874E-2"/>
                  <c:y val="-2.37440355112018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340-4E2B-90F5-BAC3564AC4C2}"/>
                </c:ext>
              </c:extLst>
            </c:dLbl>
            <c:dLbl>
              <c:idx val="11"/>
              <c:layout>
                <c:manualLayout>
                  <c:x val="-2.3243718671243287E-2"/>
                  <c:y val="-2.0145080398390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340-4E2B-90F5-BAC3564AC4C2}"/>
                </c:ext>
              </c:extLst>
            </c:dLbl>
            <c:dLbl>
              <c:idx val="12"/>
              <c:layout>
                <c:manualLayout>
                  <c:x val="-2.3243718671243387E-2"/>
                  <c:y val="-2.37440355112018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340-4E2B-90F5-BAC3564AC4C2}"/>
                </c:ext>
              </c:extLst>
            </c:dLbl>
            <c:dLbl>
              <c:idx val="13"/>
              <c:layout>
                <c:manualLayout>
                  <c:x val="-2.6059848977805677E-2"/>
                  <c:y val="-2.734299062401347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340-4E2B-90F5-BAC3564AC4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:$A$15</c:f>
              <c:numCache>
                <c:formatCode>General</c:formatCode>
                <c:ptCount val="14"/>
                <c:pt idx="0">
                  <c:v>1993</c:v>
                </c:pt>
                <c:pt idx="1">
                  <c:v>1995</c:v>
                </c:pt>
                <c:pt idx="2">
                  <c:v>1997</c:v>
                </c:pt>
                <c:pt idx="3">
                  <c:v>1999</c:v>
                </c:pt>
                <c:pt idx="4">
                  <c:v>2001</c:v>
                </c:pt>
                <c:pt idx="5">
                  <c:v>2003</c:v>
                </c:pt>
                <c:pt idx="6">
                  <c:v>2005</c:v>
                </c:pt>
                <c:pt idx="7">
                  <c:v>2007</c:v>
                </c:pt>
                <c:pt idx="8">
                  <c:v>2009</c:v>
                </c:pt>
                <c:pt idx="9">
                  <c:v>2011</c:v>
                </c:pt>
                <c:pt idx="10">
                  <c:v>2013</c:v>
                </c:pt>
                <c:pt idx="11">
                  <c:v>2015</c:v>
                </c:pt>
                <c:pt idx="12">
                  <c:v>2017</c:v>
                </c:pt>
                <c:pt idx="13">
                  <c:v>2019</c:v>
                </c:pt>
              </c:numCache>
            </c:numRef>
          </c:cat>
          <c:val>
            <c:numRef>
              <c:f>Feuil1!$C$2:$C$15</c:f>
              <c:numCache>
                <c:formatCode>General</c:formatCode>
                <c:ptCount val="14"/>
                <c:pt idx="9" formatCode="0%">
                  <c:v>0.21</c:v>
                </c:pt>
                <c:pt idx="10" formatCode="0%">
                  <c:v>0.22</c:v>
                </c:pt>
                <c:pt idx="11" formatCode="0%">
                  <c:v>0.24</c:v>
                </c:pt>
                <c:pt idx="12" formatCode="0%">
                  <c:v>0.25</c:v>
                </c:pt>
                <c:pt idx="13" formatCode="0%">
                  <c:v>0.2800000000000000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C-4340-4E2B-90F5-BAC3564AC4C2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Kun drikke til frokost 3 ganger per uke eller oftere</c:v>
                </c:pt>
              </c:strCache>
            </c:strRef>
          </c:tx>
          <c:spPr>
            <a:ln w="28575" cap="rnd">
              <a:solidFill>
                <a:srgbClr val="01642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01642C"/>
                </a:solidFill>
              </a:ln>
              <a:effectLst/>
            </c:spPr>
          </c:marker>
          <c:dLbls>
            <c:dLbl>
              <c:idx val="7"/>
              <c:layout>
                <c:manualLayout>
                  <c:x val="-2.3937052170144385E-2"/>
                  <c:y val="2.51928274808277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0998609785121489E-2"/>
                      <c:h val="4.388939929188431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4340-4E2B-90F5-BAC3564AC4C2}"/>
                </c:ext>
              </c:extLst>
            </c:dLbl>
            <c:dLbl>
              <c:idx val="8"/>
              <c:layout>
                <c:manualLayout>
                  <c:x val="-2.2529042452499197E-2"/>
                  <c:y val="2.51926857896814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340-4E2B-90F5-BAC3564AC4C2}"/>
                </c:ext>
              </c:extLst>
            </c:dLbl>
            <c:dLbl>
              <c:idx val="9"/>
              <c:layout>
                <c:manualLayout>
                  <c:x val="-2.2529042452499093E-2"/>
                  <c:y val="2.51926857896814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340-4E2B-90F5-BAC3564AC4C2}"/>
                </c:ext>
              </c:extLst>
            </c:dLbl>
            <c:dLbl>
              <c:idx val="10"/>
              <c:layout>
                <c:manualLayout>
                  <c:x val="-1.8304846992655659E-2"/>
                  <c:y val="2.15937306768698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340-4E2B-90F5-BAC3564AC4C2}"/>
                </c:ext>
              </c:extLst>
            </c:dLbl>
            <c:dLbl>
              <c:idx val="11"/>
              <c:layout>
                <c:manualLayout>
                  <c:x val="-2.1120977299217948E-2"/>
                  <c:y val="2.51926857896815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4340-4E2B-90F5-BAC3564AC4C2}"/>
                </c:ext>
              </c:extLst>
            </c:dLbl>
            <c:dLbl>
              <c:idx val="12"/>
              <c:layout>
                <c:manualLayout>
                  <c:x val="-1.4080651532811964E-2"/>
                  <c:y val="2.51926857896814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4340-4E2B-90F5-BAC3564AC4C2}"/>
                </c:ext>
              </c:extLst>
            </c:dLbl>
            <c:dLbl>
              <c:idx val="13"/>
              <c:layout>
                <c:manualLayout>
                  <c:x val="-1.4080651532811964E-2"/>
                  <c:y val="2.87916409024932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4340-4E2B-90F5-BAC3564AC4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:$A$15</c:f>
              <c:numCache>
                <c:formatCode>General</c:formatCode>
                <c:ptCount val="14"/>
                <c:pt idx="0">
                  <c:v>1993</c:v>
                </c:pt>
                <c:pt idx="1">
                  <c:v>1995</c:v>
                </c:pt>
                <c:pt idx="2">
                  <c:v>1997</c:v>
                </c:pt>
                <c:pt idx="3">
                  <c:v>1999</c:v>
                </c:pt>
                <c:pt idx="4">
                  <c:v>2001</c:v>
                </c:pt>
                <c:pt idx="5">
                  <c:v>2003</c:v>
                </c:pt>
                <c:pt idx="6">
                  <c:v>2005</c:v>
                </c:pt>
                <c:pt idx="7">
                  <c:v>2007</c:v>
                </c:pt>
                <c:pt idx="8">
                  <c:v>2009</c:v>
                </c:pt>
                <c:pt idx="9">
                  <c:v>2011</c:v>
                </c:pt>
                <c:pt idx="10">
                  <c:v>2013</c:v>
                </c:pt>
                <c:pt idx="11">
                  <c:v>2015</c:v>
                </c:pt>
                <c:pt idx="12">
                  <c:v>2017</c:v>
                </c:pt>
                <c:pt idx="13">
                  <c:v>2019</c:v>
                </c:pt>
              </c:numCache>
            </c:numRef>
          </c:cat>
          <c:val>
            <c:numRef>
              <c:f>Feuil1!$D$2:$D$15</c:f>
              <c:numCache>
                <c:formatCode>General</c:formatCode>
                <c:ptCount val="14"/>
                <c:pt idx="5" formatCode="0%">
                  <c:v>0.22</c:v>
                </c:pt>
                <c:pt idx="6" formatCode="0%">
                  <c:v>0.2</c:v>
                </c:pt>
                <c:pt idx="7" formatCode="0%">
                  <c:v>0.2</c:v>
                </c:pt>
                <c:pt idx="8" formatCode="0%">
                  <c:v>0.18</c:v>
                </c:pt>
                <c:pt idx="9" formatCode="0%">
                  <c:v>0.16</c:v>
                </c:pt>
                <c:pt idx="10" formatCode="0%">
                  <c:v>0.17</c:v>
                </c:pt>
                <c:pt idx="11" formatCode="0%">
                  <c:v>0.18</c:v>
                </c:pt>
                <c:pt idx="12" formatCode="0%">
                  <c:v>0.18</c:v>
                </c:pt>
                <c:pt idx="13" formatCode="0%">
                  <c:v>0.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4340-4E2B-90F5-BAC3564AC4C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788165872"/>
        <c:axId val="788166200"/>
        <c:extLst/>
      </c:lineChart>
      <c:catAx>
        <c:axId val="7881658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0.75000000000000011"/>
          <c:min val="0"/>
        </c:scaling>
        <c:delete val="0"/>
        <c:axPos val="l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88165872"/>
        <c:crosses val="autoZero"/>
        <c:crossBetween val="between"/>
        <c:majorUnit val="25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9569605483427022"/>
          <c:y val="3.0245108679942942E-2"/>
          <c:w val="0.27298159126662558"/>
          <c:h val="0.912356091387388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nb-NO"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618419368371748E-2"/>
          <c:y val="2.5008894085635846E-2"/>
          <c:w val="0.5931665644536771"/>
          <c:h val="0.81547872198652738"/>
        </c:manualLayout>
      </c:layout>
      <c:lineChart>
        <c:grouping val="standard"/>
        <c:varyColors val="0"/>
        <c:ser>
          <c:idx val="1"/>
          <c:order val="1"/>
          <c:tx>
            <c:strRef>
              <c:f>Feuil1!$B$1</c:f>
              <c:strCache>
                <c:ptCount val="1"/>
                <c:pt idx="0">
                  <c:v>Brød kjøpt i bakeri/butikk</c:v>
                </c:pt>
              </c:strCache>
            </c:strRef>
          </c:tx>
          <c:spPr>
            <a:ln w="28575" cap="rnd">
              <a:solidFill>
                <a:srgbClr val="01A79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01A796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euil1!$A$2:$A$10</c:f>
              <c:numCache>
                <c:formatCode>General</c:formatCode>
                <c:ptCount val="9"/>
                <c:pt idx="0">
                  <c:v>2003</c:v>
                </c:pt>
                <c:pt idx="1">
                  <c:v>2005</c:v>
                </c:pt>
                <c:pt idx="2">
                  <c:v>2007</c:v>
                </c:pt>
                <c:pt idx="3">
                  <c:v>2009</c:v>
                </c:pt>
                <c:pt idx="4">
                  <c:v>2011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numCache>
            </c:numRef>
          </c:cat>
          <c:val>
            <c:numRef>
              <c:f>Feuil1!$B$2:$B$10</c:f>
              <c:numCache>
                <c:formatCode>0</c:formatCode>
                <c:ptCount val="9"/>
                <c:pt idx="0">
                  <c:v>225.1</c:v>
                </c:pt>
                <c:pt idx="1">
                  <c:v>217.4</c:v>
                </c:pt>
                <c:pt idx="2">
                  <c:v>215.5</c:v>
                </c:pt>
                <c:pt idx="3">
                  <c:v>217.4</c:v>
                </c:pt>
                <c:pt idx="4" formatCode="General">
                  <c:v>203</c:v>
                </c:pt>
                <c:pt idx="5" formatCode="General">
                  <c:v>204</c:v>
                </c:pt>
                <c:pt idx="6" formatCode="General">
                  <c:v>202</c:v>
                </c:pt>
                <c:pt idx="7" formatCode="General">
                  <c:v>193</c:v>
                </c:pt>
                <c:pt idx="8" formatCode="General">
                  <c:v>18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280D-4887-AD3D-361CD6AA4F01}"/>
            </c:ext>
          </c:extLst>
        </c:ser>
        <c:ser>
          <c:idx val="2"/>
          <c:order val="2"/>
          <c:tx>
            <c:strRef>
              <c:f>Feuil1!$C$1</c:f>
              <c:strCache>
                <c:ptCount val="1"/>
                <c:pt idx="0">
                  <c:v>Rundstykker fra bakeri/butikk</c:v>
                </c:pt>
              </c:strCache>
            </c:strRef>
          </c:tx>
          <c:spPr>
            <a:ln w="28575" cap="rnd">
              <a:solidFill>
                <a:srgbClr val="D41A57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D41A57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8482999382907307E-2"/>
                  <c:y val="-2.79535027632504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EE4-4D85-B1CC-1FB908E156AF}"/>
                </c:ext>
              </c:extLst>
            </c:dLbl>
            <c:dLbl>
              <c:idx val="1"/>
              <c:layout>
                <c:manualLayout>
                  <c:x val="-1.7055740743300539E-2"/>
                  <c:y val="-3.53121273609887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EE4-4D85-B1CC-1FB908E156AF}"/>
                </c:ext>
              </c:extLst>
            </c:dLbl>
            <c:dLbl>
              <c:idx val="2"/>
              <c:layout>
                <c:manualLayout>
                  <c:x val="-1.7055740743300567E-2"/>
                  <c:y val="-3.89914396598577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EE4-4D85-B1CC-1FB908E156AF}"/>
                </c:ext>
              </c:extLst>
            </c:dLbl>
            <c:dLbl>
              <c:idx val="3"/>
              <c:layout>
                <c:manualLayout>
                  <c:x val="-1.8813628903987863E-2"/>
                  <c:y val="-3.91872833696244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5AA-4B32-8BF6-7ADAA1E16B9F}"/>
                </c:ext>
              </c:extLst>
            </c:dLbl>
            <c:dLbl>
              <c:idx val="4"/>
              <c:layout>
                <c:manualLayout>
                  <c:x val="-1.8482999382907254E-2"/>
                  <c:y val="-4.26707519587269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EE4-4D85-B1CC-1FB908E156AF}"/>
                </c:ext>
              </c:extLst>
            </c:dLbl>
            <c:dLbl>
              <c:idx val="5"/>
              <c:layout>
                <c:manualLayout>
                  <c:x val="-1.1346706184873599E-2"/>
                  <c:y val="-3.16328150621195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EE4-4D85-B1CC-1FB908E156AF}"/>
                </c:ext>
              </c:extLst>
            </c:dLbl>
            <c:dLbl>
              <c:idx val="8"/>
              <c:layout>
                <c:manualLayout>
                  <c:x val="-1.2249980466449728E-2"/>
                  <c:y val="-1.877183799917952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80D-4887-AD3D-361CD6AA4F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Feuil1!$A$2:$A$10</c:f>
              <c:numCache>
                <c:formatCode>General</c:formatCode>
                <c:ptCount val="9"/>
                <c:pt idx="0">
                  <c:v>2003</c:v>
                </c:pt>
                <c:pt idx="1">
                  <c:v>2005</c:v>
                </c:pt>
                <c:pt idx="2">
                  <c:v>2007</c:v>
                </c:pt>
                <c:pt idx="3">
                  <c:v>2009</c:v>
                </c:pt>
                <c:pt idx="4">
                  <c:v>2011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numCache>
            </c:numRef>
          </c:cat>
          <c:val>
            <c:numRef>
              <c:f>Feuil1!$C$2:$C$10</c:f>
              <c:numCache>
                <c:formatCode>General</c:formatCode>
                <c:ptCount val="9"/>
                <c:pt idx="1">
                  <c:v>20</c:v>
                </c:pt>
                <c:pt idx="2">
                  <c:v>19</c:v>
                </c:pt>
                <c:pt idx="3">
                  <c:v>17</c:v>
                </c:pt>
                <c:pt idx="4">
                  <c:v>16</c:v>
                </c:pt>
                <c:pt idx="5">
                  <c:v>16</c:v>
                </c:pt>
                <c:pt idx="6">
                  <c:v>16</c:v>
                </c:pt>
                <c:pt idx="7" formatCode="0">
                  <c:v>16.600000000000001</c:v>
                </c:pt>
                <c:pt idx="8">
                  <c:v>1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280D-4887-AD3D-361CD6AA4F01}"/>
            </c:ext>
          </c:extLst>
        </c:ser>
        <c:ser>
          <c:idx val="3"/>
          <c:order val="3"/>
          <c:tx>
            <c:strRef>
              <c:f>Feuil1!$D$1</c:f>
              <c:strCache>
                <c:ptCount val="1"/>
                <c:pt idx="0">
                  <c:v>Baguetter, rundstykker, brød og lignende kjøpt halvstekte</c:v>
                </c:pt>
              </c:strCache>
            </c:strRef>
          </c:tx>
          <c:spPr>
            <a:ln w="28575" cap="rnd">
              <a:solidFill>
                <a:srgbClr val="40404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rgbClr val="40404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8482999382907307E-2"/>
                  <c:y val="4.26710416683566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C7D-4380-88D4-5D73F34AA096}"/>
                </c:ext>
              </c:extLst>
            </c:dLbl>
            <c:dLbl>
              <c:idx val="1"/>
              <c:layout>
                <c:manualLayout>
                  <c:x val="-1.8482999382907282E-2"/>
                  <c:y val="3.89917293694874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C7D-4380-88D4-5D73F34AA096}"/>
                </c:ext>
              </c:extLst>
            </c:dLbl>
            <c:dLbl>
              <c:idx val="3"/>
              <c:layout>
                <c:manualLayout>
                  <c:x val="-1.8482999382907307E-2"/>
                  <c:y val="3.89917293694875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C7D-4380-88D4-5D73F34AA0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euil1!$A$2:$A$10</c:f>
              <c:numCache>
                <c:formatCode>General</c:formatCode>
                <c:ptCount val="9"/>
                <c:pt idx="0">
                  <c:v>2003</c:v>
                </c:pt>
                <c:pt idx="1">
                  <c:v>2005</c:v>
                </c:pt>
                <c:pt idx="2">
                  <c:v>2007</c:v>
                </c:pt>
                <c:pt idx="3">
                  <c:v>2009</c:v>
                </c:pt>
                <c:pt idx="4">
                  <c:v>2011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numCache>
            </c:numRef>
          </c:cat>
          <c:val>
            <c:numRef>
              <c:f>Feuil1!$D$2:$D$10</c:f>
              <c:numCache>
                <c:formatCode>General</c:formatCode>
                <c:ptCount val="9"/>
                <c:pt idx="1">
                  <c:v>16</c:v>
                </c:pt>
                <c:pt idx="2">
                  <c:v>15</c:v>
                </c:pt>
                <c:pt idx="3">
                  <c:v>14</c:v>
                </c:pt>
                <c:pt idx="4">
                  <c:v>16</c:v>
                </c:pt>
                <c:pt idx="5">
                  <c:v>16</c:v>
                </c:pt>
                <c:pt idx="6">
                  <c:v>16</c:v>
                </c:pt>
                <c:pt idx="7" formatCode="0">
                  <c:v>16.899999999999999</c:v>
                </c:pt>
                <c:pt idx="8">
                  <c:v>1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C7D-4380-88D4-5D73F34AA0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88165872"/>
        <c:axId val="788166200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Feuil1!$A$1</c15:sqref>
                        </c15:formulaRef>
                      </c:ext>
                    </c:extLst>
                    <c:strCache>
                      <c:ptCount val="1"/>
                      <c:pt idx="0">
                        <c:v>Column1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bg1"/>
                    </a:solidFill>
                    <a:ln w="9525">
                      <a:solidFill>
                        <a:srgbClr val="01A796"/>
                      </a:solidFill>
                    </a:ln>
                    <a:effectLst/>
                  </c:spPr>
                </c:marke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8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nb-NO"/>
                    </a:p>
                  </c:txPr>
                  <c:dLblPos val="t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0"/>
                    </c:ext>
                  </c:extLst>
                </c:dLbls>
                <c:cat>
                  <c:numRef>
                    <c:extLst>
                      <c:ext uri="{02D57815-91ED-43cb-92C2-25804820EDAC}">
                        <c15:formulaRef>
                          <c15:sqref>Feuil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03</c:v>
                      </c:pt>
                      <c:pt idx="1">
                        <c:v>2005</c:v>
                      </c:pt>
                      <c:pt idx="2">
                        <c:v>2007</c:v>
                      </c:pt>
                      <c:pt idx="3">
                        <c:v>2009</c:v>
                      </c:pt>
                      <c:pt idx="4">
                        <c:v>2011</c:v>
                      </c:pt>
                      <c:pt idx="5">
                        <c:v>2013</c:v>
                      </c:pt>
                      <c:pt idx="6">
                        <c:v>2015</c:v>
                      </c:pt>
                      <c:pt idx="7">
                        <c:v>2017</c:v>
                      </c:pt>
                      <c:pt idx="8">
                        <c:v>2019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Feuil1!$A$2:$A$10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03</c:v>
                      </c:pt>
                      <c:pt idx="1">
                        <c:v>2005</c:v>
                      </c:pt>
                      <c:pt idx="2">
                        <c:v>2007</c:v>
                      </c:pt>
                      <c:pt idx="3">
                        <c:v>2009</c:v>
                      </c:pt>
                      <c:pt idx="4">
                        <c:v>2011</c:v>
                      </c:pt>
                      <c:pt idx="5">
                        <c:v>2013</c:v>
                      </c:pt>
                      <c:pt idx="6">
                        <c:v>2015</c:v>
                      </c:pt>
                      <c:pt idx="7">
                        <c:v>2017</c:v>
                      </c:pt>
                      <c:pt idx="8">
                        <c:v>2019</c:v>
                      </c:pt>
                    </c:numCache>
                  </c:numRef>
                </c:val>
                <c:smooth val="1"/>
                <c:extLst>
                  <c:ext xmlns:c16="http://schemas.microsoft.com/office/drawing/2014/chart" uri="{C3380CC4-5D6E-409C-BE32-E72D297353CC}">
                    <c16:uniqueId val="{00000000-280D-4887-AD3D-361CD6AA4F01}"/>
                  </c:ext>
                </c:extLst>
              </c15:ser>
            </c15:filteredLineSeries>
          </c:ext>
        </c:extLst>
      </c:lineChart>
      <c:catAx>
        <c:axId val="7881658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250"/>
          <c:min val="0"/>
        </c:scaling>
        <c:delete val="0"/>
        <c:axPos val="l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88165872"/>
        <c:crosses val="autoZero"/>
        <c:crossBetween val="between"/>
        <c:majorUnit val="25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19417022544106"/>
          <c:y val="0.27884928493869166"/>
          <c:w val="0.28058297783916863"/>
          <c:h val="0.285872136075454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128732174590033E-4"/>
          <c:y val="5.1192931493864238E-2"/>
          <c:w val="0.93230405918291503"/>
          <c:h val="0.827925707804866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D41A5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15</c:f>
              <c:strCache>
                <c:ptCount val="14"/>
                <c:pt idx="0">
                  <c:v>Fiber</c:v>
                </c:pt>
                <c:pt idx="1">
                  <c:v>Vitamin D</c:v>
                </c:pt>
                <c:pt idx="2">
                  <c:v>Omega 3</c:v>
                </c:pt>
                <c:pt idx="3">
                  <c:v>Vitamin C</c:v>
                </c:pt>
                <c:pt idx="4">
                  <c:v>Jern</c:v>
                </c:pt>
                <c:pt idx="5">
                  <c:v>Anti- oksidanter</c:v>
                </c:pt>
                <c:pt idx="6">
                  <c:v>Proteiner</c:v>
                </c:pt>
                <c:pt idx="7">
                  <c:v>Fulkorn</c:v>
                </c:pt>
                <c:pt idx="8">
                  <c:v>Vitamin B12</c:v>
                </c:pt>
                <c:pt idx="9">
                  <c:v>Kalsium</c:v>
                </c:pt>
                <c:pt idx="10">
                  <c:v>Sunt fett</c:v>
                </c:pt>
                <c:pt idx="11">
                  <c:v>Mineraler</c:v>
                </c:pt>
                <c:pt idx="12">
                  <c:v>Jod</c:v>
                </c:pt>
                <c:pt idx="13">
                  <c:v>Melkesyre- bakterier</c:v>
                </c:pt>
              </c:strCache>
            </c:strRef>
          </c:cat>
          <c:val>
            <c:numRef>
              <c:f>Feuil1!$B$2:$B$15</c:f>
              <c:numCache>
                <c:formatCode>0%</c:formatCode>
                <c:ptCount val="14"/>
                <c:pt idx="0">
                  <c:v>0.76</c:v>
                </c:pt>
                <c:pt idx="1">
                  <c:v>0.69</c:v>
                </c:pt>
                <c:pt idx="2">
                  <c:v>0.73</c:v>
                </c:pt>
                <c:pt idx="3">
                  <c:v>0.64</c:v>
                </c:pt>
                <c:pt idx="4">
                  <c:v>0.62</c:v>
                </c:pt>
                <c:pt idx="5">
                  <c:v>0.69</c:v>
                </c:pt>
                <c:pt idx="6">
                  <c:v>0.57999999999999996</c:v>
                </c:pt>
                <c:pt idx="7">
                  <c:v>0.56000000000000005</c:v>
                </c:pt>
                <c:pt idx="8">
                  <c:v>0.5</c:v>
                </c:pt>
                <c:pt idx="9">
                  <c:v>0.56999999999999995</c:v>
                </c:pt>
                <c:pt idx="10">
                  <c:v>0.54</c:v>
                </c:pt>
                <c:pt idx="11">
                  <c:v>0.43</c:v>
                </c:pt>
                <c:pt idx="13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E6-493B-8F3F-222A72DC5D0B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1A79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15</c:f>
              <c:strCache>
                <c:ptCount val="14"/>
                <c:pt idx="0">
                  <c:v>Fiber</c:v>
                </c:pt>
                <c:pt idx="1">
                  <c:v>Vitamin D</c:v>
                </c:pt>
                <c:pt idx="2">
                  <c:v>Omega 3</c:v>
                </c:pt>
                <c:pt idx="3">
                  <c:v>Vitamin C</c:v>
                </c:pt>
                <c:pt idx="4">
                  <c:v>Jern</c:v>
                </c:pt>
                <c:pt idx="5">
                  <c:v>Anti- oksidanter</c:v>
                </c:pt>
                <c:pt idx="6">
                  <c:v>Proteiner</c:v>
                </c:pt>
                <c:pt idx="7">
                  <c:v>Fulkorn</c:v>
                </c:pt>
                <c:pt idx="8">
                  <c:v>Vitamin B12</c:v>
                </c:pt>
                <c:pt idx="9">
                  <c:v>Kalsium</c:v>
                </c:pt>
                <c:pt idx="10">
                  <c:v>Sunt fett</c:v>
                </c:pt>
                <c:pt idx="11">
                  <c:v>Mineraler</c:v>
                </c:pt>
                <c:pt idx="12">
                  <c:v>Jod</c:v>
                </c:pt>
                <c:pt idx="13">
                  <c:v>Melkesyre- bakterier</c:v>
                </c:pt>
              </c:strCache>
            </c:strRef>
          </c:cat>
          <c:val>
            <c:numRef>
              <c:f>Feuil1!$C$2:$C$15</c:f>
              <c:numCache>
                <c:formatCode>0%</c:formatCode>
                <c:ptCount val="14"/>
                <c:pt idx="0">
                  <c:v>0.74</c:v>
                </c:pt>
                <c:pt idx="1">
                  <c:v>0.71</c:v>
                </c:pt>
                <c:pt idx="2">
                  <c:v>0.72</c:v>
                </c:pt>
                <c:pt idx="3">
                  <c:v>0.65</c:v>
                </c:pt>
                <c:pt idx="4">
                  <c:v>0.61</c:v>
                </c:pt>
                <c:pt idx="5">
                  <c:v>0.64</c:v>
                </c:pt>
                <c:pt idx="6">
                  <c:v>0.57999999999999996</c:v>
                </c:pt>
                <c:pt idx="7">
                  <c:v>0.54</c:v>
                </c:pt>
                <c:pt idx="8">
                  <c:v>0.52</c:v>
                </c:pt>
                <c:pt idx="9">
                  <c:v>0.53</c:v>
                </c:pt>
                <c:pt idx="10">
                  <c:v>0.54</c:v>
                </c:pt>
                <c:pt idx="11">
                  <c:v>0.41</c:v>
                </c:pt>
                <c:pt idx="13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75E-4A20-A958-5BEFE43AE034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00316F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1.44659465761650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7F6-42FF-9D14-00303B49BF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15</c:f>
              <c:strCache>
                <c:ptCount val="14"/>
                <c:pt idx="0">
                  <c:v>Fiber</c:v>
                </c:pt>
                <c:pt idx="1">
                  <c:v>Vitamin D</c:v>
                </c:pt>
                <c:pt idx="2">
                  <c:v>Omega 3</c:v>
                </c:pt>
                <c:pt idx="3">
                  <c:v>Vitamin C</c:v>
                </c:pt>
                <c:pt idx="4">
                  <c:v>Jern</c:v>
                </c:pt>
                <c:pt idx="5">
                  <c:v>Anti- oksidanter</c:v>
                </c:pt>
                <c:pt idx="6">
                  <c:v>Proteiner</c:v>
                </c:pt>
                <c:pt idx="7">
                  <c:v>Fulkorn</c:v>
                </c:pt>
                <c:pt idx="8">
                  <c:v>Vitamin B12</c:v>
                </c:pt>
                <c:pt idx="9">
                  <c:v>Kalsium</c:v>
                </c:pt>
                <c:pt idx="10">
                  <c:v>Sunt fett</c:v>
                </c:pt>
                <c:pt idx="11">
                  <c:v>Mineraler</c:v>
                </c:pt>
                <c:pt idx="12">
                  <c:v>Jod</c:v>
                </c:pt>
                <c:pt idx="13">
                  <c:v>Melkesyre- bakterier</c:v>
                </c:pt>
              </c:strCache>
            </c:strRef>
          </c:cat>
          <c:val>
            <c:numRef>
              <c:f>Feuil1!$D$2:$D$15</c:f>
              <c:numCache>
                <c:formatCode>0%</c:formatCode>
                <c:ptCount val="14"/>
                <c:pt idx="0">
                  <c:v>0.71</c:v>
                </c:pt>
                <c:pt idx="1">
                  <c:v>0.71</c:v>
                </c:pt>
                <c:pt idx="2">
                  <c:v>0.67</c:v>
                </c:pt>
                <c:pt idx="3">
                  <c:v>0.63</c:v>
                </c:pt>
                <c:pt idx="4">
                  <c:v>0.59</c:v>
                </c:pt>
                <c:pt idx="5">
                  <c:v>0.57999999999999996</c:v>
                </c:pt>
                <c:pt idx="6">
                  <c:v>0.56000000000000005</c:v>
                </c:pt>
                <c:pt idx="7">
                  <c:v>0.53</c:v>
                </c:pt>
                <c:pt idx="8">
                  <c:v>0.53</c:v>
                </c:pt>
                <c:pt idx="9">
                  <c:v>0.5</c:v>
                </c:pt>
                <c:pt idx="10">
                  <c:v>0.49</c:v>
                </c:pt>
                <c:pt idx="11">
                  <c:v>0.38</c:v>
                </c:pt>
                <c:pt idx="12">
                  <c:v>0.37</c:v>
                </c:pt>
                <c:pt idx="13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9D-4149-BBA5-F51B8BF9A1D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10"/>
        <c:axId val="788165872"/>
        <c:axId val="788166200"/>
      </c:barChart>
      <c:catAx>
        <c:axId val="7881658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88166200"/>
        <c:crossesAt val="0"/>
        <c:auto val="1"/>
        <c:lblAlgn val="ctr"/>
        <c:lblOffset val="100"/>
        <c:noMultiLvlLbl val="0"/>
      </c:catAx>
      <c:valAx>
        <c:axId val="788166200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788165872"/>
        <c:crosses val="autoZero"/>
        <c:crossBetween val="between"/>
        <c:majorUnit val="1"/>
      </c:valAx>
      <c:spPr>
        <a:solidFill>
          <a:schemeClr val="bg1"/>
        </a:soli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646127414807"/>
          <c:y val="0.13666257097076068"/>
          <c:w val="6.2694311172490275E-2"/>
          <c:h val="0.2845190190395083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230371525078073E-2"/>
          <c:y val="4.9239432290846083E-2"/>
          <c:w val="0.5848797742599301"/>
          <c:h val="0.73940532723427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Alle</c:v>
                </c:pt>
              </c:strCache>
            </c:strRef>
          </c:tx>
          <c:spPr>
            <a:solidFill>
              <a:srgbClr val="00316F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4.61193618748603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3FA-4A05-8FDD-02A1FF26D7F7}"/>
                </c:ext>
              </c:extLst>
            </c:dLbl>
            <c:dLbl>
              <c:idx val="1"/>
              <c:layout>
                <c:manualLayout>
                  <c:x val="0"/>
                  <c:y val="1.226635197173531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3FA-4A05-8FDD-02A1FF26D7F7}"/>
                </c:ext>
              </c:extLst>
            </c:dLbl>
            <c:dLbl>
              <c:idx val="2"/>
              <c:layout>
                <c:manualLayout>
                  <c:x val="3.2152659639165922E-2"/>
                  <c:y val="4.67112230008564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3FA-4A05-8FDD-02A1FF26D7F7}"/>
                </c:ext>
              </c:extLst>
            </c:dLbl>
            <c:dLbl>
              <c:idx val="3"/>
              <c:layout>
                <c:manualLayout>
                  <c:x val="8.3876503406519805E-3"/>
                  <c:y val="2.374797564810902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3FA-4A05-8FDD-02A1FF26D7F7}"/>
                </c:ext>
              </c:extLst>
            </c:dLbl>
            <c:dLbl>
              <c:idx val="4"/>
              <c:layout>
                <c:manualLayout>
                  <c:x val="2.7958834468839932E-3"/>
                  <c:y val="1.226635197173517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3FA-4A05-8FDD-02A1FF26D7F7}"/>
                </c:ext>
              </c:extLst>
            </c:dLbl>
            <c:dLbl>
              <c:idx val="5"/>
              <c:layout>
                <c:manualLayout>
                  <c:x val="2.7958834468839932E-3"/>
                  <c:y val="1.992076775598445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3FA-4A05-8FDD-02A1FF26D7F7}"/>
                </c:ext>
              </c:extLst>
            </c:dLbl>
            <c:dLbl>
              <c:idx val="6"/>
              <c:layout>
                <c:manualLayout>
                  <c:x val="1.3979417234419454E-3"/>
                  <c:y val="1.609355986385981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3FA-4A05-8FDD-02A1FF26D7F7}"/>
                </c:ext>
              </c:extLst>
            </c:dLbl>
            <c:dLbl>
              <c:idx val="7"/>
              <c:layout>
                <c:manualLayout>
                  <c:x val="2.7958834468839932E-3"/>
                  <c:y val="2.374797564810902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3FA-4A05-8FDD-02A1FF26D7F7}"/>
                </c:ext>
              </c:extLst>
            </c:dLbl>
            <c:dLbl>
              <c:idx val="8"/>
              <c:layout>
                <c:manualLayout>
                  <c:x val="0"/>
                  <c:y val="1.992076775598438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3FA-4A05-8FDD-02A1FF26D7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91919"/>
                    </a:solidFill>
                    <a:latin typeface="+mn-lt"/>
                    <a:ea typeface="+mn-ea"/>
                    <a:cs typeface="Calibri" panose="020F0502020204030204" pitchFamily="34" charset="0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:$A$10</c:f>
              <c:numCache>
                <c:formatCode>General</c:formatCode>
                <c:ptCount val="9"/>
                <c:pt idx="0">
                  <c:v>2005</c:v>
                </c:pt>
                <c:pt idx="1">
                  <c:v>2007</c:v>
                </c:pt>
                <c:pt idx="2">
                  <c:v>2009</c:v>
                </c:pt>
                <c:pt idx="3">
                  <c:v>2001</c:v>
                </c:pt>
                <c:pt idx="4">
                  <c:v>2011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numCache>
            </c:numRef>
          </c:cat>
          <c:val>
            <c:numRef>
              <c:f>'Ark1'!$B$2:$B$10</c:f>
              <c:numCache>
                <c:formatCode>0%</c:formatCode>
                <c:ptCount val="9"/>
                <c:pt idx="0">
                  <c:v>0.12</c:v>
                </c:pt>
                <c:pt idx="1">
                  <c:v>0.14000000000000001</c:v>
                </c:pt>
                <c:pt idx="2">
                  <c:v>0.14000000000000001</c:v>
                </c:pt>
                <c:pt idx="3">
                  <c:v>0.13</c:v>
                </c:pt>
                <c:pt idx="4">
                  <c:v>0.12</c:v>
                </c:pt>
                <c:pt idx="5">
                  <c:v>0.14000000000000001</c:v>
                </c:pt>
                <c:pt idx="6">
                  <c:v>0.19</c:v>
                </c:pt>
                <c:pt idx="7">
                  <c:v>0.24</c:v>
                </c:pt>
                <c:pt idx="8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07-481D-9DF9-BC8F29BAEF3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32506488"/>
        <c:axId val="432506160"/>
      </c:barChart>
      <c:lineChart>
        <c:grouping val="standard"/>
        <c:varyColors val="0"/>
        <c:ser>
          <c:idx val="1"/>
          <c:order val="1"/>
          <c:tx>
            <c:strRef>
              <c:f>'Ark1'!$C$1</c:f>
              <c:strCache>
                <c:ptCount val="1"/>
                <c:pt idx="0">
                  <c:v>Oslo</c:v>
                </c:pt>
              </c:strCache>
            </c:strRef>
          </c:tx>
          <c:spPr>
            <a:ln w="28575" cap="rnd">
              <a:solidFill>
                <a:srgbClr val="01A79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2"/>
              </a:solidFill>
              <a:ln w="9525">
                <a:solidFill>
                  <a:schemeClr val="bg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:$A$10</c:f>
              <c:numCache>
                <c:formatCode>General</c:formatCode>
                <c:ptCount val="9"/>
                <c:pt idx="0">
                  <c:v>2005</c:v>
                </c:pt>
                <c:pt idx="1">
                  <c:v>2007</c:v>
                </c:pt>
                <c:pt idx="2">
                  <c:v>2009</c:v>
                </c:pt>
                <c:pt idx="3">
                  <c:v>2001</c:v>
                </c:pt>
                <c:pt idx="4">
                  <c:v>2011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numCache>
            </c:numRef>
          </c:cat>
          <c:val>
            <c:numRef>
              <c:f>'Ark1'!$C$2:$C$10</c:f>
              <c:numCache>
                <c:formatCode>General</c:formatCode>
                <c:ptCount val="9"/>
                <c:pt idx="2" formatCode="0%">
                  <c:v>0.15</c:v>
                </c:pt>
                <c:pt idx="3" formatCode="0%">
                  <c:v>0.17</c:v>
                </c:pt>
                <c:pt idx="4" formatCode="0%">
                  <c:v>0.2</c:v>
                </c:pt>
                <c:pt idx="5" formatCode="0%">
                  <c:v>0.19</c:v>
                </c:pt>
                <c:pt idx="6" formatCode="0%">
                  <c:v>0.3</c:v>
                </c:pt>
                <c:pt idx="7" formatCode="0%">
                  <c:v>0.36</c:v>
                </c:pt>
                <c:pt idx="8" formatCode="0%">
                  <c:v>0.4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0307-481D-9DF9-BC8F29BAEF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32506488"/>
        <c:axId val="432506160"/>
      </c:lineChart>
      <c:catAx>
        <c:axId val="432506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Calibri" panose="020F0502020204030204" pitchFamily="34" charset="0"/>
              </a:defRPr>
            </a:pPr>
            <a:endParaRPr lang="nb-NO"/>
          </a:p>
        </c:txPr>
        <c:crossAx val="432506160"/>
        <c:crosses val="autoZero"/>
        <c:auto val="1"/>
        <c:lblAlgn val="ctr"/>
        <c:lblOffset val="100"/>
        <c:noMultiLvlLbl val="0"/>
      </c:catAx>
      <c:valAx>
        <c:axId val="432506160"/>
        <c:scaling>
          <c:orientation val="minMax"/>
          <c:max val="0.5"/>
        </c:scaling>
        <c:delete val="1"/>
        <c:axPos val="l"/>
        <c:numFmt formatCode="0%" sourceLinked="1"/>
        <c:majorTickMark val="out"/>
        <c:minorTickMark val="none"/>
        <c:tickLblPos val="nextTo"/>
        <c:crossAx val="432506488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6724302903292763"/>
          <c:y val="0.43038278708730193"/>
          <c:w val="9.2322036519172951E-2"/>
          <c:h val="0.215541718675508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Calibri" panose="020F0502020204030204" pitchFamily="34" charset="0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618465835410091E-2"/>
          <c:y val="0"/>
          <c:w val="0.70647411710085239"/>
          <c:h val="0.7803178394632976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elt enig</c:v>
                </c:pt>
              </c:strCache>
            </c:strRef>
          </c:tx>
          <c:spPr>
            <a:solidFill>
              <a:srgbClr val="01A796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6</c:f>
              <c:strCache>
                <c:ptCount val="5"/>
                <c:pt idx="0">
                  <c:v>Vegetarianer</c:v>
                </c:pt>
                <c:pt idx="1">
                  <c:v>Veganer</c:v>
                </c:pt>
                <c:pt idx="2">
                  <c:v>Pescetarianer</c:v>
                </c:pt>
                <c:pt idx="3">
                  <c:v>Flexiterianer</c:v>
                </c:pt>
                <c:pt idx="4">
                  <c:v>Altetende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03</c:v>
                </c:pt>
                <c:pt idx="1">
                  <c:v>0.01</c:v>
                </c:pt>
                <c:pt idx="2">
                  <c:v>0.02</c:v>
                </c:pt>
                <c:pt idx="3">
                  <c:v>0.05</c:v>
                </c:pt>
                <c:pt idx="4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65-4F1B-9038-5785D7766D7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elvis enig</c:v>
                </c:pt>
              </c:strCache>
            </c:strRef>
          </c:tx>
          <c:spPr>
            <a:solidFill>
              <a:srgbClr val="52D2C9"/>
            </a:solidFill>
            <a:ln>
              <a:noFill/>
            </a:ln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F65-4F1B-9038-5785D7766D7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Vegetarianer</c:v>
                </c:pt>
                <c:pt idx="1">
                  <c:v>Veganer</c:v>
                </c:pt>
                <c:pt idx="2">
                  <c:v>Pescetarianer</c:v>
                </c:pt>
                <c:pt idx="3">
                  <c:v>Flexiterianer</c:v>
                </c:pt>
                <c:pt idx="4">
                  <c:v>Altetende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03</c:v>
                </c:pt>
                <c:pt idx="1">
                  <c:v>0.01</c:v>
                </c:pt>
                <c:pt idx="2">
                  <c:v>0.03</c:v>
                </c:pt>
                <c:pt idx="3">
                  <c:v>0.06</c:v>
                </c:pt>
                <c:pt idx="4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F65-4F1B-9038-5785D7766D7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um enig</c:v>
                </c:pt>
              </c:strCache>
            </c:strRef>
          </c:tx>
          <c:spPr>
            <a:solidFill>
              <a:schemeClr val="bg1"/>
            </a:solidFill>
          </c:spPr>
          <c:invertIfNegative val="0"/>
          <c:dLbls>
            <c:dLbl>
              <c:idx val="1"/>
              <c:layout>
                <c:manualLayout>
                  <c:x val="2.8081645504824809E-3"/>
                  <c:y val="-6.778917531094939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8713482528683634E-2"/>
                      <c:h val="4.770694051767301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E5A-473B-9AFD-2A0695862E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Vegetarianer</c:v>
                </c:pt>
                <c:pt idx="1">
                  <c:v>Veganer</c:v>
                </c:pt>
                <c:pt idx="2">
                  <c:v>Pescetarianer</c:v>
                </c:pt>
                <c:pt idx="3">
                  <c:v>Flexiterianer</c:v>
                </c:pt>
                <c:pt idx="4">
                  <c:v>Altetende</c:v>
                </c:pt>
              </c:strCache>
            </c:strRef>
          </c:cat>
          <c:val>
            <c:numRef>
              <c:f>Sheet1!$D$2:$D$6</c:f>
              <c:numCache>
                <c:formatCode>0%</c:formatCode>
                <c:ptCount val="5"/>
                <c:pt idx="0">
                  <c:v>0.06</c:v>
                </c:pt>
                <c:pt idx="1">
                  <c:v>0.02</c:v>
                </c:pt>
                <c:pt idx="2">
                  <c:v>0.05</c:v>
                </c:pt>
                <c:pt idx="3">
                  <c:v>0.11</c:v>
                </c:pt>
                <c:pt idx="4">
                  <c:v>0.880000000000000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5A-473B-9AFD-2A0695862EB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38414080"/>
        <c:axId val="238559232"/>
      </c:barChart>
      <c:catAx>
        <c:axId val="2384140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38559232"/>
        <c:crosses val="autoZero"/>
        <c:auto val="1"/>
        <c:lblAlgn val="ctr"/>
        <c:lblOffset val="100"/>
        <c:noMultiLvlLbl val="0"/>
      </c:catAx>
      <c:valAx>
        <c:axId val="238559232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238414080"/>
        <c:crosses val="autoZero"/>
        <c:crossBetween val="between"/>
        <c:majorUnit val="10"/>
      </c:valAx>
    </c:plotArea>
    <c:legend>
      <c:legendPos val="r"/>
      <c:layout>
        <c:manualLayout>
          <c:xMode val="edge"/>
          <c:yMode val="edge"/>
          <c:x val="0.7925623440372247"/>
          <c:y val="0.30837659715857124"/>
          <c:w val="9.1205646754568867E-2"/>
          <c:h val="0.15755504898655773"/>
        </c:manualLayout>
      </c:layout>
      <c:overlay val="0"/>
    </c:legend>
    <c:plotVisOnly val="1"/>
    <c:dispBlanksAs val="gap"/>
    <c:showDLblsOverMax val="0"/>
  </c:chart>
  <c:spPr>
    <a:noFill/>
  </c:spPr>
  <c:txPr>
    <a:bodyPr/>
    <a:lstStyle/>
    <a:p>
      <a:pPr>
        <a:defRPr sz="800"/>
      </a:pPr>
      <a:endParaRPr lang="nb-NO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2.7465667915106119E-2"/>
          <c:y val="0.11370913637613964"/>
          <c:w val="0.78302145398995859"/>
          <c:h val="0.7539434242134156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127</c:f>
              <c:strCache>
                <c:ptCount val="1"/>
                <c:pt idx="0">
                  <c:v>Yter verdi-fullt bidrag</c:v>
                </c:pt>
              </c:strCache>
            </c:strRef>
          </c:tx>
          <c:spPr>
            <a:solidFill>
              <a:srgbClr val="009D9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128:$A$1141</c:f>
              <c:numCache>
                <c:formatCode>General</c:formatCode>
                <c:ptCount val="14"/>
                <c:pt idx="0">
                  <c:v>1993</c:v>
                </c:pt>
                <c:pt idx="1">
                  <c:v>1995</c:v>
                </c:pt>
                <c:pt idx="2">
                  <c:v>1997</c:v>
                </c:pt>
                <c:pt idx="3">
                  <c:v>1999</c:v>
                </c:pt>
                <c:pt idx="4">
                  <c:v>2001</c:v>
                </c:pt>
                <c:pt idx="5">
                  <c:v>2003</c:v>
                </c:pt>
                <c:pt idx="6">
                  <c:v>2005</c:v>
                </c:pt>
                <c:pt idx="7">
                  <c:v>2007</c:v>
                </c:pt>
                <c:pt idx="8">
                  <c:v>2009</c:v>
                </c:pt>
                <c:pt idx="9">
                  <c:v>2011</c:v>
                </c:pt>
                <c:pt idx="10">
                  <c:v>2013</c:v>
                </c:pt>
                <c:pt idx="11">
                  <c:v>2015</c:v>
                </c:pt>
                <c:pt idx="12">
                  <c:v>2017</c:v>
                </c:pt>
                <c:pt idx="13">
                  <c:v>2019</c:v>
                </c:pt>
              </c:numCache>
            </c:numRef>
          </c:cat>
          <c:val>
            <c:numRef>
              <c:f>Sheet1!$B$1128:$B$1141</c:f>
              <c:numCache>
                <c:formatCode>General</c:formatCode>
                <c:ptCount val="14"/>
                <c:pt idx="0">
                  <c:v>25</c:v>
                </c:pt>
                <c:pt idx="1">
                  <c:v>27</c:v>
                </c:pt>
                <c:pt idx="2">
                  <c:v>35</c:v>
                </c:pt>
                <c:pt idx="3">
                  <c:v>37</c:v>
                </c:pt>
                <c:pt idx="4">
                  <c:v>36</c:v>
                </c:pt>
                <c:pt idx="5">
                  <c:v>33</c:v>
                </c:pt>
                <c:pt idx="6">
                  <c:v>34</c:v>
                </c:pt>
                <c:pt idx="7">
                  <c:v>41</c:v>
                </c:pt>
                <c:pt idx="8">
                  <c:v>39</c:v>
                </c:pt>
                <c:pt idx="9">
                  <c:v>42</c:v>
                </c:pt>
                <c:pt idx="10">
                  <c:v>43</c:v>
                </c:pt>
                <c:pt idx="11">
                  <c:v>44</c:v>
                </c:pt>
                <c:pt idx="12">
                  <c:v>52</c:v>
                </c:pt>
                <c:pt idx="13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B3-4475-B660-EA4B7F383DE3}"/>
            </c:ext>
          </c:extLst>
        </c:ser>
        <c:ser>
          <c:idx val="1"/>
          <c:order val="1"/>
          <c:tx>
            <c:strRef>
              <c:f>Sheet1!$C$1127</c:f>
              <c:strCache>
                <c:ptCount val="1"/>
                <c:pt idx="0">
                  <c:v>Umulig å velge</c:v>
                </c:pt>
              </c:strCache>
            </c:strRef>
          </c:tx>
          <c:spPr>
            <a:solidFill>
              <a:sysClr val="window" lastClr="FFFFFF">
                <a:lumMod val="85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128:$A$1141</c:f>
              <c:numCache>
                <c:formatCode>General</c:formatCode>
                <c:ptCount val="14"/>
                <c:pt idx="0">
                  <c:v>1993</c:v>
                </c:pt>
                <c:pt idx="1">
                  <c:v>1995</c:v>
                </c:pt>
                <c:pt idx="2">
                  <c:v>1997</c:v>
                </c:pt>
                <c:pt idx="3">
                  <c:v>1999</c:v>
                </c:pt>
                <c:pt idx="4">
                  <c:v>2001</c:v>
                </c:pt>
                <c:pt idx="5">
                  <c:v>2003</c:v>
                </c:pt>
                <c:pt idx="6">
                  <c:v>2005</c:v>
                </c:pt>
                <c:pt idx="7">
                  <c:v>2007</c:v>
                </c:pt>
                <c:pt idx="8">
                  <c:v>2009</c:v>
                </c:pt>
                <c:pt idx="9">
                  <c:v>2011</c:v>
                </c:pt>
                <c:pt idx="10">
                  <c:v>2013</c:v>
                </c:pt>
                <c:pt idx="11">
                  <c:v>2015</c:v>
                </c:pt>
                <c:pt idx="12">
                  <c:v>2017</c:v>
                </c:pt>
                <c:pt idx="13">
                  <c:v>2019</c:v>
                </c:pt>
              </c:numCache>
            </c:numRef>
          </c:cat>
          <c:val>
            <c:numRef>
              <c:f>Sheet1!$C$1128:$C$1141</c:f>
              <c:numCache>
                <c:formatCode>General</c:formatCode>
                <c:ptCount val="14"/>
                <c:pt idx="0">
                  <c:v>30</c:v>
                </c:pt>
                <c:pt idx="1">
                  <c:v>28</c:v>
                </c:pt>
                <c:pt idx="2">
                  <c:v>28</c:v>
                </c:pt>
                <c:pt idx="3">
                  <c:v>26</c:v>
                </c:pt>
                <c:pt idx="4">
                  <c:v>28</c:v>
                </c:pt>
                <c:pt idx="5">
                  <c:v>25</c:v>
                </c:pt>
                <c:pt idx="6">
                  <c:v>26</c:v>
                </c:pt>
                <c:pt idx="7">
                  <c:v>25</c:v>
                </c:pt>
                <c:pt idx="8">
                  <c:v>26</c:v>
                </c:pt>
                <c:pt idx="9">
                  <c:v>25</c:v>
                </c:pt>
                <c:pt idx="10">
                  <c:v>28</c:v>
                </c:pt>
                <c:pt idx="11">
                  <c:v>23</c:v>
                </c:pt>
                <c:pt idx="12">
                  <c:v>24</c:v>
                </c:pt>
                <c:pt idx="13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B3-4475-B660-EA4B7F383DE3}"/>
            </c:ext>
          </c:extLst>
        </c:ser>
        <c:ser>
          <c:idx val="2"/>
          <c:order val="2"/>
          <c:tx>
            <c:strRef>
              <c:f>Sheet1!$D$1127</c:f>
              <c:strCache>
                <c:ptCount val="1"/>
                <c:pt idx="0">
                  <c:v>Utnytter velferds- ordninger</c:v>
                </c:pt>
              </c:strCache>
            </c:strRef>
          </c:tx>
          <c:spPr>
            <a:solidFill>
              <a:srgbClr val="FF6D6D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128:$A$1141</c:f>
              <c:numCache>
                <c:formatCode>General</c:formatCode>
                <c:ptCount val="14"/>
                <c:pt idx="0">
                  <c:v>1993</c:v>
                </c:pt>
                <c:pt idx="1">
                  <c:v>1995</c:v>
                </c:pt>
                <c:pt idx="2">
                  <c:v>1997</c:v>
                </c:pt>
                <c:pt idx="3">
                  <c:v>1999</c:v>
                </c:pt>
                <c:pt idx="4">
                  <c:v>2001</c:v>
                </c:pt>
                <c:pt idx="5">
                  <c:v>2003</c:v>
                </c:pt>
                <c:pt idx="6">
                  <c:v>2005</c:v>
                </c:pt>
                <c:pt idx="7">
                  <c:v>2007</c:v>
                </c:pt>
                <c:pt idx="8">
                  <c:v>2009</c:v>
                </c:pt>
                <c:pt idx="9">
                  <c:v>2011</c:v>
                </c:pt>
                <c:pt idx="10">
                  <c:v>2013</c:v>
                </c:pt>
                <c:pt idx="11">
                  <c:v>2015</c:v>
                </c:pt>
                <c:pt idx="12">
                  <c:v>2017</c:v>
                </c:pt>
                <c:pt idx="13">
                  <c:v>2019</c:v>
                </c:pt>
              </c:numCache>
            </c:numRef>
          </c:cat>
          <c:val>
            <c:numRef>
              <c:f>Sheet1!$D$1128:$D$1141</c:f>
              <c:numCache>
                <c:formatCode>General</c:formatCode>
                <c:ptCount val="14"/>
                <c:pt idx="0">
                  <c:v>45</c:v>
                </c:pt>
                <c:pt idx="1">
                  <c:v>45</c:v>
                </c:pt>
                <c:pt idx="2">
                  <c:v>37</c:v>
                </c:pt>
                <c:pt idx="3">
                  <c:v>37</c:v>
                </c:pt>
                <c:pt idx="4">
                  <c:v>36</c:v>
                </c:pt>
                <c:pt idx="5">
                  <c:v>42</c:v>
                </c:pt>
                <c:pt idx="6">
                  <c:v>40</c:v>
                </c:pt>
                <c:pt idx="7">
                  <c:v>34</c:v>
                </c:pt>
                <c:pt idx="8">
                  <c:v>35</c:v>
                </c:pt>
                <c:pt idx="9">
                  <c:v>34</c:v>
                </c:pt>
                <c:pt idx="10">
                  <c:v>29</c:v>
                </c:pt>
                <c:pt idx="11">
                  <c:v>33</c:v>
                </c:pt>
                <c:pt idx="12">
                  <c:v>25</c:v>
                </c:pt>
                <c:pt idx="1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B3-4475-B660-EA4B7F383D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97872896"/>
        <c:axId val="97886976"/>
      </c:barChart>
      <c:catAx>
        <c:axId val="97872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5400000" vert="horz"/>
          <a:lstStyle/>
          <a:p>
            <a:pPr>
              <a:defRPr sz="1200" b="1"/>
            </a:pPr>
            <a:endParaRPr lang="nb-NO"/>
          </a:p>
        </c:txPr>
        <c:crossAx val="97886976"/>
        <c:crosses val="autoZero"/>
        <c:auto val="1"/>
        <c:lblAlgn val="ctr"/>
        <c:lblOffset val="100"/>
        <c:noMultiLvlLbl val="0"/>
      </c:catAx>
      <c:valAx>
        <c:axId val="97886976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9787289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1841802762527438"/>
          <c:y val="0.10463027864991059"/>
          <c:w val="0.17946748844125379"/>
          <c:h val="0.71832949166224125"/>
        </c:manualLayout>
      </c:layout>
      <c:overlay val="0"/>
      <c:txPr>
        <a:bodyPr/>
        <a:lstStyle/>
        <a:p>
          <a:pPr>
            <a:defRPr sz="1400">
              <a:latin typeface="+mn-lt"/>
              <a:cs typeface="Times New Roman" panose="02020603050405020304" pitchFamily="18" charset="0"/>
            </a:defRPr>
          </a:pPr>
          <a:endParaRPr lang="nb-NO"/>
        </a:p>
      </c:txPr>
    </c:legend>
    <c:plotVisOnly val="1"/>
    <c:dispBlanksAs val="gap"/>
    <c:showDLblsOverMax val="0"/>
  </c:chart>
  <c:externalData r:id="rId2">
    <c:autoUpdate val="0"/>
  </c:externalData>
  <c:userShapes r:id="rId3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170351870570645E-2"/>
          <c:y val="0.14689624588395098"/>
          <c:w val="0.62894313525540002"/>
          <c:h val="0.7490173278534157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ddag før 17.00</c:v>
                </c:pt>
              </c:strCache>
            </c:strRef>
          </c:tx>
          <c:spPr>
            <a:solidFill>
              <a:srgbClr val="01A796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>
                    <a:solidFill>
                      <a:schemeClr val="tx1">
                        <a:lumMod val="85000"/>
                        <a:lumOff val="15000"/>
                      </a:schemeClr>
                    </a:solidFill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05</c:v>
                </c:pt>
                <c:pt idx="1">
                  <c:v>2007</c:v>
                </c:pt>
                <c:pt idx="2">
                  <c:v>2009</c:v>
                </c:pt>
                <c:pt idx="3">
                  <c:v>2011</c:v>
                </c:pt>
                <c:pt idx="4">
                  <c:v>2013</c:v>
                </c:pt>
                <c:pt idx="5">
                  <c:v>2015</c:v>
                </c:pt>
                <c:pt idx="6">
                  <c:v>2017</c:v>
                </c:pt>
                <c:pt idx="7">
                  <c:v>2019</c:v>
                </c:pt>
              </c:numCache>
            </c:numRef>
          </c:cat>
          <c:val>
            <c:numRef>
              <c:f>Sheet1!$B$2:$B$9</c:f>
              <c:numCache>
                <c:formatCode>0%</c:formatCode>
                <c:ptCount val="8"/>
                <c:pt idx="0">
                  <c:v>0.64</c:v>
                </c:pt>
                <c:pt idx="1">
                  <c:v>0.63</c:v>
                </c:pt>
                <c:pt idx="2">
                  <c:v>0.6</c:v>
                </c:pt>
                <c:pt idx="3">
                  <c:v>0.56999999999999995</c:v>
                </c:pt>
                <c:pt idx="4">
                  <c:v>0.56000000000000005</c:v>
                </c:pt>
                <c:pt idx="5">
                  <c:v>0.54</c:v>
                </c:pt>
                <c:pt idx="6">
                  <c:v>0.51</c:v>
                </c:pt>
                <c:pt idx="7">
                  <c:v>0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62-4D22-BF03-B33AAEFCEEB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iddag 17.00-19.00</c:v>
                </c:pt>
              </c:strCache>
            </c:strRef>
          </c:tx>
          <c:spPr>
            <a:solidFill>
              <a:srgbClr val="52D2C9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>
                    <a:solidFill>
                      <a:schemeClr val="tx1">
                        <a:lumMod val="85000"/>
                        <a:lumOff val="15000"/>
                      </a:schemeClr>
                    </a:solidFill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05</c:v>
                </c:pt>
                <c:pt idx="1">
                  <c:v>2007</c:v>
                </c:pt>
                <c:pt idx="2">
                  <c:v>2009</c:v>
                </c:pt>
                <c:pt idx="3">
                  <c:v>2011</c:v>
                </c:pt>
                <c:pt idx="4">
                  <c:v>2013</c:v>
                </c:pt>
                <c:pt idx="5">
                  <c:v>2015</c:v>
                </c:pt>
                <c:pt idx="6">
                  <c:v>2017</c:v>
                </c:pt>
                <c:pt idx="7">
                  <c:v>2019</c:v>
                </c:pt>
              </c:numCache>
            </c:numRef>
          </c:cat>
          <c:val>
            <c:numRef>
              <c:f>Sheet1!$C$2:$C$9</c:f>
              <c:numCache>
                <c:formatCode>0%</c:formatCode>
                <c:ptCount val="8"/>
                <c:pt idx="0">
                  <c:v>0.31</c:v>
                </c:pt>
                <c:pt idx="1">
                  <c:v>0.32</c:v>
                </c:pt>
                <c:pt idx="2">
                  <c:v>0.35</c:v>
                </c:pt>
                <c:pt idx="3">
                  <c:v>0.37</c:v>
                </c:pt>
                <c:pt idx="4">
                  <c:v>0.38</c:v>
                </c:pt>
                <c:pt idx="5">
                  <c:v>0.39</c:v>
                </c:pt>
                <c:pt idx="6">
                  <c:v>0.41</c:v>
                </c:pt>
                <c:pt idx="7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462-4D22-BF03-B33AAEFCEEB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iddag 19.00 og senere</c:v>
                </c:pt>
              </c:strCache>
            </c:strRef>
          </c:tx>
          <c:spPr>
            <a:solidFill>
              <a:srgbClr val="D0EAE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>
                    <a:solidFill>
                      <a:schemeClr val="tx1">
                        <a:lumMod val="85000"/>
                        <a:lumOff val="15000"/>
                      </a:schemeClr>
                    </a:solidFill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05</c:v>
                </c:pt>
                <c:pt idx="1">
                  <c:v>2007</c:v>
                </c:pt>
                <c:pt idx="2">
                  <c:v>2009</c:v>
                </c:pt>
                <c:pt idx="3">
                  <c:v>2011</c:v>
                </c:pt>
                <c:pt idx="4">
                  <c:v>2013</c:v>
                </c:pt>
                <c:pt idx="5">
                  <c:v>2015</c:v>
                </c:pt>
                <c:pt idx="6">
                  <c:v>2017</c:v>
                </c:pt>
                <c:pt idx="7">
                  <c:v>2019</c:v>
                </c:pt>
              </c:numCache>
            </c:numRef>
          </c:cat>
          <c:val>
            <c:numRef>
              <c:f>Sheet1!$D$2:$D$9</c:f>
              <c:numCache>
                <c:formatCode>0%</c:formatCode>
                <c:ptCount val="8"/>
                <c:pt idx="0">
                  <c:v>0.03</c:v>
                </c:pt>
                <c:pt idx="1">
                  <c:v>0.04</c:v>
                </c:pt>
                <c:pt idx="2">
                  <c:v>0.04</c:v>
                </c:pt>
                <c:pt idx="3">
                  <c:v>0.04</c:v>
                </c:pt>
                <c:pt idx="4">
                  <c:v>0.05</c:v>
                </c:pt>
                <c:pt idx="5">
                  <c:v>0.05</c:v>
                </c:pt>
                <c:pt idx="6">
                  <c:v>0.05</c:v>
                </c:pt>
                <c:pt idx="7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462-4D22-BF03-B33AAEFCEEB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"/>
        <c:overlap val="100"/>
        <c:axId val="238414080"/>
        <c:axId val="238559232"/>
      </c:barChart>
      <c:catAx>
        <c:axId val="2384140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 b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alibri" panose="020F0502020204030204" pitchFamily="34" charset="0"/>
              </a:defRPr>
            </a:pPr>
            <a:endParaRPr lang="nb-NO"/>
          </a:p>
        </c:txPr>
        <c:crossAx val="238559232"/>
        <c:crosses val="autoZero"/>
        <c:auto val="1"/>
        <c:lblAlgn val="ctr"/>
        <c:lblOffset val="100"/>
        <c:noMultiLvlLbl val="0"/>
      </c:catAx>
      <c:valAx>
        <c:axId val="238559232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238414080"/>
        <c:crosses val="autoZero"/>
        <c:crossBetween val="between"/>
        <c:majorUnit val="10"/>
      </c:valAx>
      <c:spPr>
        <a:ln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a:ln>
      </c:spPr>
    </c:plotArea>
    <c:legend>
      <c:legendPos val="r"/>
      <c:layout>
        <c:manualLayout>
          <c:xMode val="edge"/>
          <c:yMode val="edge"/>
          <c:x val="0.75918227496060076"/>
          <c:y val="0.19937332462692214"/>
          <c:w val="0.23184485028274776"/>
          <c:h val="0.28525980140536378"/>
        </c:manualLayout>
      </c:layout>
      <c:overlay val="0"/>
      <c:txPr>
        <a:bodyPr/>
        <a:lstStyle/>
        <a:p>
          <a:pPr>
            <a:defRPr sz="1000" b="0">
              <a:solidFill>
                <a:srgbClr val="595959"/>
              </a:solidFill>
            </a:defRPr>
          </a:pPr>
          <a:endParaRPr lang="nb-NO"/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sz="1000"/>
      </a:pPr>
      <a:endParaRPr lang="nb-NO"/>
    </a:p>
  </c:txPr>
  <c:externalData r:id="rId1">
    <c:autoUpdate val="0"/>
  </c:externalData>
  <c:userShapes r:id="rId2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208503161879175E-2"/>
          <c:y val="2.846741323326487E-2"/>
          <c:w val="0.73687340631143694"/>
          <c:h val="0.8244629077010061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 ganger eller flere</c:v>
                </c:pt>
              </c:strCache>
            </c:strRef>
          </c:tx>
          <c:spPr>
            <a:solidFill>
              <a:srgbClr val="008E9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9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24</c:v>
                </c:pt>
                <c:pt idx="1">
                  <c:v>26</c:v>
                </c:pt>
                <c:pt idx="2">
                  <c:v>24</c:v>
                </c:pt>
                <c:pt idx="3">
                  <c:v>29</c:v>
                </c:pt>
                <c:pt idx="4">
                  <c:v>25</c:v>
                </c:pt>
                <c:pt idx="5">
                  <c:v>24</c:v>
                </c:pt>
                <c:pt idx="6">
                  <c:v>27</c:v>
                </c:pt>
                <c:pt idx="7">
                  <c:v>29</c:v>
                </c:pt>
                <c:pt idx="8">
                  <c:v>30</c:v>
                </c:pt>
                <c:pt idx="9">
                  <c:v>31</c:v>
                </c:pt>
                <c:pt idx="10">
                  <c:v>36</c:v>
                </c:pt>
                <c:pt idx="11">
                  <c:v>37</c:v>
                </c:pt>
                <c:pt idx="12">
                  <c:v>38</c:v>
                </c:pt>
                <c:pt idx="13">
                  <c:v>40</c:v>
                </c:pt>
                <c:pt idx="14">
                  <c:v>41</c:v>
                </c:pt>
                <c:pt idx="15">
                  <c:v>40</c:v>
                </c:pt>
                <c:pt idx="16">
                  <c:v>42</c:v>
                </c:pt>
                <c:pt idx="17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87-48CD-9EDB-2BB4FD6788D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-2 ganger i uka</c:v>
                </c:pt>
              </c:strCache>
            </c:strRef>
          </c:tx>
          <c:spPr>
            <a:solidFill>
              <a:srgbClr val="A8CCD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9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C$2:$C$19</c:f>
              <c:numCache>
                <c:formatCode>General</c:formatCode>
                <c:ptCount val="18"/>
                <c:pt idx="0">
                  <c:v>33</c:v>
                </c:pt>
                <c:pt idx="1">
                  <c:v>35</c:v>
                </c:pt>
                <c:pt idx="2">
                  <c:v>35</c:v>
                </c:pt>
                <c:pt idx="3">
                  <c:v>37</c:v>
                </c:pt>
                <c:pt idx="4">
                  <c:v>36</c:v>
                </c:pt>
                <c:pt idx="5">
                  <c:v>34</c:v>
                </c:pt>
                <c:pt idx="6">
                  <c:v>37</c:v>
                </c:pt>
                <c:pt idx="7">
                  <c:v>37</c:v>
                </c:pt>
                <c:pt idx="8">
                  <c:v>36</c:v>
                </c:pt>
                <c:pt idx="9">
                  <c:v>37</c:v>
                </c:pt>
                <c:pt idx="10">
                  <c:v>39</c:v>
                </c:pt>
                <c:pt idx="11">
                  <c:v>38</c:v>
                </c:pt>
                <c:pt idx="12">
                  <c:v>37</c:v>
                </c:pt>
                <c:pt idx="13">
                  <c:v>39</c:v>
                </c:pt>
                <c:pt idx="14">
                  <c:v>37</c:v>
                </c:pt>
                <c:pt idx="15">
                  <c:v>37</c:v>
                </c:pt>
                <c:pt idx="16">
                  <c:v>36</c:v>
                </c:pt>
                <c:pt idx="17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587-48CD-9EDB-2BB4FD6788D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ver 14. dag eller sjeldnere</c:v>
                </c:pt>
              </c:strCache>
            </c:strRef>
          </c:tx>
          <c:spPr>
            <a:solidFill>
              <a:srgbClr val="BCBE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9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D$2:$D$19</c:f>
              <c:numCache>
                <c:formatCode>General</c:formatCode>
                <c:ptCount val="18"/>
                <c:pt idx="0">
                  <c:v>25</c:v>
                </c:pt>
                <c:pt idx="1">
                  <c:v>25</c:v>
                </c:pt>
                <c:pt idx="2">
                  <c:v>26</c:v>
                </c:pt>
                <c:pt idx="3">
                  <c:v>22</c:v>
                </c:pt>
                <c:pt idx="4">
                  <c:v>25</c:v>
                </c:pt>
                <c:pt idx="5">
                  <c:v>22</c:v>
                </c:pt>
                <c:pt idx="6">
                  <c:v>22</c:v>
                </c:pt>
                <c:pt idx="7">
                  <c:v>20</c:v>
                </c:pt>
                <c:pt idx="8">
                  <c:v>19</c:v>
                </c:pt>
                <c:pt idx="9">
                  <c:v>19</c:v>
                </c:pt>
                <c:pt idx="10">
                  <c:v>16</c:v>
                </c:pt>
                <c:pt idx="11">
                  <c:v>17</c:v>
                </c:pt>
                <c:pt idx="12">
                  <c:v>17</c:v>
                </c:pt>
                <c:pt idx="13">
                  <c:v>15</c:v>
                </c:pt>
                <c:pt idx="14">
                  <c:v>15</c:v>
                </c:pt>
                <c:pt idx="15">
                  <c:v>14</c:v>
                </c:pt>
                <c:pt idx="16">
                  <c:v>14</c:v>
                </c:pt>
                <c:pt idx="17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587-48CD-9EDB-2BB4FD6788D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ldri</c:v>
                </c:pt>
              </c:strCache>
            </c:strRef>
          </c:tx>
          <c:spPr>
            <a:solidFill>
              <a:srgbClr val="ED673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9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E$2:$E$19</c:f>
              <c:numCache>
                <c:formatCode>General</c:formatCode>
                <c:ptCount val="18"/>
                <c:pt idx="0">
                  <c:v>16</c:v>
                </c:pt>
                <c:pt idx="1">
                  <c:v>12</c:v>
                </c:pt>
                <c:pt idx="2">
                  <c:v>13</c:v>
                </c:pt>
                <c:pt idx="3">
                  <c:v>11</c:v>
                </c:pt>
                <c:pt idx="4">
                  <c:v>11</c:v>
                </c:pt>
                <c:pt idx="5">
                  <c:v>18</c:v>
                </c:pt>
                <c:pt idx="6">
                  <c:v>14</c:v>
                </c:pt>
                <c:pt idx="7">
                  <c:v>13</c:v>
                </c:pt>
                <c:pt idx="8">
                  <c:v>16</c:v>
                </c:pt>
                <c:pt idx="9">
                  <c:v>12</c:v>
                </c:pt>
                <c:pt idx="10">
                  <c:v>10</c:v>
                </c:pt>
                <c:pt idx="11">
                  <c:v>9</c:v>
                </c:pt>
                <c:pt idx="12">
                  <c:v>8</c:v>
                </c:pt>
                <c:pt idx="13">
                  <c:v>6</c:v>
                </c:pt>
                <c:pt idx="14">
                  <c:v>6</c:v>
                </c:pt>
                <c:pt idx="15">
                  <c:v>9</c:v>
                </c:pt>
                <c:pt idx="16">
                  <c:v>8</c:v>
                </c:pt>
                <c:pt idx="17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587-48CD-9EDB-2BB4FD6788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543152376"/>
        <c:axId val="543156640"/>
      </c:barChart>
      <c:catAx>
        <c:axId val="543152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543156640"/>
        <c:crosses val="autoZero"/>
        <c:auto val="1"/>
        <c:lblAlgn val="ctr"/>
        <c:lblOffset val="100"/>
        <c:noMultiLvlLbl val="0"/>
      </c:catAx>
      <c:valAx>
        <c:axId val="543156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543152376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920789875087608"/>
          <c:y val="0.23611827873742502"/>
          <c:w val="0.16094785010512427"/>
          <c:h val="0.5664678959664455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nb-NO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3598651075806612E-2"/>
          <c:y val="4.9716876187546666E-2"/>
          <c:w val="0.74878555160537763"/>
          <c:h val="0.82232120220260463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15-24 år</c:v>
                </c:pt>
              </c:strCache>
            </c:strRef>
          </c:tx>
          <c:spPr>
            <a:ln w="28575">
              <a:solidFill>
                <a:srgbClr val="007681"/>
              </a:solidFill>
            </a:ln>
          </c:spPr>
          <c:marker>
            <c:symbol val="none"/>
          </c:marker>
          <c:dLbls>
            <c:dLbl>
              <c:idx val="14"/>
              <c:layout>
                <c:manualLayout>
                  <c:x val="-2.7295912726113512E-2"/>
                  <c:y val="-1.58669884006434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1DD-44D2-8EB1-B72A834E5ED1}"/>
                </c:ext>
              </c:extLst>
            </c:dLbl>
            <c:dLbl>
              <c:idx val="15"/>
              <c:layout>
                <c:manualLayout>
                  <c:x val="-2.6389955309640348E-2"/>
                  <c:y val="-1.821153571273205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1DD-44D2-8EB1-B72A834E5ED1}"/>
                </c:ext>
              </c:extLst>
            </c:dLbl>
            <c:dLbl>
              <c:idx val="16"/>
              <c:layout>
                <c:manualLayout>
                  <c:x val="-2.3913428389019099E-2"/>
                  <c:y val="-4.43962115232833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7016216216216209E-2"/>
                      <c:h val="7.695343330702446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F1DD-44D2-8EB1-B72A834E5ED1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S$1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B$2:$S$2</c:f>
              <c:numCache>
                <c:formatCode>General</c:formatCode>
                <c:ptCount val="18"/>
                <c:pt idx="0">
                  <c:v>34.9</c:v>
                </c:pt>
                <c:pt idx="1">
                  <c:v>39.5</c:v>
                </c:pt>
                <c:pt idx="2">
                  <c:v>36.4</c:v>
                </c:pt>
                <c:pt idx="3">
                  <c:v>40</c:v>
                </c:pt>
                <c:pt idx="4">
                  <c:v>38</c:v>
                </c:pt>
                <c:pt idx="5">
                  <c:v>34.299999999999997</c:v>
                </c:pt>
                <c:pt idx="6">
                  <c:v>39.299999999999997</c:v>
                </c:pt>
                <c:pt idx="7">
                  <c:v>40.299999999999997</c:v>
                </c:pt>
                <c:pt idx="8">
                  <c:v>38.9</c:v>
                </c:pt>
                <c:pt idx="9">
                  <c:v>46.5</c:v>
                </c:pt>
                <c:pt idx="10">
                  <c:v>46.8</c:v>
                </c:pt>
                <c:pt idx="11">
                  <c:v>47.2</c:v>
                </c:pt>
                <c:pt idx="12">
                  <c:v>44.4</c:v>
                </c:pt>
                <c:pt idx="13">
                  <c:v>44.9</c:v>
                </c:pt>
                <c:pt idx="14">
                  <c:v>51.3</c:v>
                </c:pt>
                <c:pt idx="15">
                  <c:v>51.1</c:v>
                </c:pt>
                <c:pt idx="16">
                  <c:v>46.8</c:v>
                </c:pt>
                <c:pt idx="17">
                  <c:v>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1DD-44D2-8EB1-B72A834E5ED1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25-39 år</c:v>
                </c:pt>
              </c:strCache>
            </c:strRef>
          </c:tx>
          <c:spPr>
            <a:ln w="28575">
              <a:solidFill>
                <a:srgbClr val="F1BE48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2790407317792218E-2"/>
                  <c:y val="2.6619676572686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1DD-44D2-8EB1-B72A834E5ED1}"/>
                </c:ext>
              </c:extLst>
            </c:dLbl>
            <c:dLbl>
              <c:idx val="2"/>
              <c:layout>
                <c:manualLayout>
                  <c:x val="-2.1896756284440953E-2"/>
                  <c:y val="2.506731013462017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1DD-44D2-8EB1-B72A834E5ED1}"/>
                </c:ext>
              </c:extLst>
            </c:dLbl>
            <c:dLbl>
              <c:idx val="4"/>
              <c:layout>
                <c:manualLayout>
                  <c:x val="-1.8893086012226831E-2"/>
                  <c:y val="1.70027940055879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1DD-44D2-8EB1-B72A834E5ED1}"/>
                </c:ext>
              </c:extLst>
            </c:dLbl>
            <c:dLbl>
              <c:idx val="5"/>
              <c:layout>
                <c:manualLayout>
                  <c:x val="-2.2790407317792218E-2"/>
                  <c:y val="-1.90792481584963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1DD-44D2-8EB1-B72A834E5ED1}"/>
                </c:ext>
              </c:extLst>
            </c:dLbl>
            <c:dLbl>
              <c:idx val="6"/>
              <c:layout>
                <c:manualLayout>
                  <c:x val="-2.5794077590006393E-2"/>
                  <c:y val="2.93078486156972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1DD-44D2-8EB1-B72A834E5ED1}"/>
                </c:ext>
              </c:extLst>
            </c:dLbl>
            <c:dLbl>
              <c:idx val="11"/>
              <c:layout>
                <c:manualLayout>
                  <c:x val="-1.8284901909471032E-2"/>
                  <c:y val="2.124333248666497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1DD-44D2-8EB1-B72A834E5ED1}"/>
                </c:ext>
              </c:extLst>
            </c:dLbl>
            <c:dLbl>
              <c:idx val="12"/>
              <c:layout>
                <c:manualLayout>
                  <c:x val="-2.2790407317792218E-2"/>
                  <c:y val="2.6619676572686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1DD-44D2-8EB1-B72A834E5ED1}"/>
                </c:ext>
              </c:extLst>
            </c:dLbl>
            <c:dLbl>
              <c:idx val="15"/>
              <c:layout>
                <c:manualLayout>
                  <c:x val="-2.2065630985316026E-2"/>
                  <c:y val="3.6843806126444141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1DD-44D2-8EB1-B72A834E5ED1}"/>
                </c:ext>
              </c:extLst>
            </c:dLbl>
            <c:dLbl>
              <c:idx val="16"/>
              <c:layout>
                <c:manualLayout>
                  <c:x val="-2.3913513513513673E-2"/>
                  <c:y val="1.47987371744277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1DD-44D2-8EB1-B72A834E5ED1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S$1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B$3:$S$3</c:f>
              <c:numCache>
                <c:formatCode>General</c:formatCode>
                <c:ptCount val="18"/>
                <c:pt idx="0">
                  <c:v>20.100000000000001</c:v>
                </c:pt>
                <c:pt idx="1">
                  <c:v>17.5</c:v>
                </c:pt>
                <c:pt idx="2">
                  <c:v>17.100000000000001</c:v>
                </c:pt>
                <c:pt idx="3">
                  <c:v>21.5</c:v>
                </c:pt>
                <c:pt idx="4">
                  <c:v>22</c:v>
                </c:pt>
                <c:pt idx="5">
                  <c:v>20.9</c:v>
                </c:pt>
                <c:pt idx="6">
                  <c:v>20.9</c:v>
                </c:pt>
                <c:pt idx="7">
                  <c:v>23.6</c:v>
                </c:pt>
                <c:pt idx="8">
                  <c:v>23.1</c:v>
                </c:pt>
                <c:pt idx="9">
                  <c:v>27.5</c:v>
                </c:pt>
                <c:pt idx="10">
                  <c:v>30.4</c:v>
                </c:pt>
                <c:pt idx="11">
                  <c:v>32.700000000000003</c:v>
                </c:pt>
                <c:pt idx="12">
                  <c:v>33.200000000000003</c:v>
                </c:pt>
                <c:pt idx="13">
                  <c:v>35</c:v>
                </c:pt>
                <c:pt idx="14">
                  <c:v>33.200000000000003</c:v>
                </c:pt>
                <c:pt idx="15">
                  <c:v>32.9</c:v>
                </c:pt>
                <c:pt idx="16">
                  <c:v>38.5</c:v>
                </c:pt>
                <c:pt idx="17">
                  <c:v>36.7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F1DD-44D2-8EB1-B72A834E5ED1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40-59 år</c:v>
                </c:pt>
              </c:strCache>
            </c:strRef>
          </c:tx>
          <c:spPr>
            <a:ln w="28575">
              <a:solidFill>
                <a:srgbClr val="1B365D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2790407317792218E-2"/>
                  <c:y val="-2.124333248666497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1DD-44D2-8EB1-B72A834E5ED1}"/>
                </c:ext>
              </c:extLst>
            </c:dLbl>
            <c:dLbl>
              <c:idx val="4"/>
              <c:layout>
                <c:manualLayout>
                  <c:x val="-2.1896756284440953E-2"/>
                  <c:y val="1.79436542206416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1DD-44D2-8EB1-B72A834E5ED1}"/>
                </c:ext>
              </c:extLst>
            </c:dLbl>
            <c:dLbl>
              <c:idx val="5"/>
              <c:layout>
                <c:manualLayout>
                  <c:x val="-2.2790407317792218E-2"/>
                  <c:y val="2.71437642875285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1DD-44D2-8EB1-B72A834E5ED1}"/>
                </c:ext>
              </c:extLst>
            </c:dLbl>
            <c:dLbl>
              <c:idx val="10"/>
              <c:layout>
                <c:manualLayout>
                  <c:x val="-3.4805088406648706E-2"/>
                  <c:y val="-9.146452459571585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9060509883671634E-2"/>
                      <c:h val="4.248666497332993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1-F1DD-44D2-8EB1-B72A834E5ED1}"/>
                </c:ext>
              </c:extLst>
            </c:dLbl>
            <c:dLbl>
              <c:idx val="11"/>
              <c:layout>
                <c:manualLayout>
                  <c:x val="-2.3398591420548013E-2"/>
                  <c:y val="-3.04434425535517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1DD-44D2-8EB1-B72A834E5ED1}"/>
                </c:ext>
              </c:extLst>
            </c:dLbl>
            <c:dLbl>
              <c:idx val="13"/>
              <c:layout>
                <c:manualLayout>
                  <c:x val="-2.1896756284440953E-2"/>
                  <c:y val="-3.04434425535517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F1DD-44D2-8EB1-B72A834E5ED1}"/>
                </c:ext>
              </c:extLst>
            </c:dLbl>
            <c:dLbl>
              <c:idx val="14"/>
              <c:layout>
                <c:manualLayout>
                  <c:x val="-1.8893086012226831E-2"/>
                  <c:y val="-2.23789264245195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F1DD-44D2-8EB1-B72A834E5ED1}"/>
                </c:ext>
              </c:extLst>
            </c:dLbl>
            <c:dLbl>
              <c:idx val="15"/>
              <c:layout>
                <c:manualLayout>
                  <c:x val="-3.0481038518833953E-2"/>
                  <c:y val="2.96108359383253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F1DD-44D2-8EB1-B72A834E5ED1}"/>
                </c:ext>
              </c:extLst>
            </c:dLbl>
            <c:dLbl>
              <c:idx val="16"/>
              <c:layout>
                <c:manualLayout>
                  <c:x val="-7.7967482443073E-2"/>
                  <c:y val="-3.65035516969218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5664864864864853E-2"/>
                      <c:h val="6.906077348066298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6-F1DD-44D2-8EB1-B72A834E5ED1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S$1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B$4:$S$4</c:f>
              <c:numCache>
                <c:formatCode>General</c:formatCode>
                <c:ptCount val="18"/>
                <c:pt idx="0">
                  <c:v>21.7</c:v>
                </c:pt>
                <c:pt idx="1">
                  <c:v>20</c:v>
                </c:pt>
                <c:pt idx="2">
                  <c:v>19.8</c:v>
                </c:pt>
                <c:pt idx="3">
                  <c:v>25.4</c:v>
                </c:pt>
                <c:pt idx="4">
                  <c:v>19.7</c:v>
                </c:pt>
                <c:pt idx="5">
                  <c:v>20</c:v>
                </c:pt>
                <c:pt idx="6">
                  <c:v>21.6</c:v>
                </c:pt>
                <c:pt idx="7">
                  <c:v>24.8</c:v>
                </c:pt>
                <c:pt idx="8">
                  <c:v>28.1</c:v>
                </c:pt>
                <c:pt idx="9">
                  <c:v>29.6</c:v>
                </c:pt>
                <c:pt idx="10">
                  <c:v>32.4</c:v>
                </c:pt>
                <c:pt idx="11">
                  <c:v>36</c:v>
                </c:pt>
                <c:pt idx="12">
                  <c:v>36.6</c:v>
                </c:pt>
                <c:pt idx="13">
                  <c:v>41</c:v>
                </c:pt>
                <c:pt idx="14">
                  <c:v>40.6</c:v>
                </c:pt>
                <c:pt idx="15">
                  <c:v>39.799999999999997</c:v>
                </c:pt>
                <c:pt idx="16">
                  <c:v>40.700000000000003</c:v>
                </c:pt>
                <c:pt idx="17">
                  <c:v>39.7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F1DD-44D2-8EB1-B72A834E5ED1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60 år +</c:v>
                </c:pt>
              </c:strCache>
            </c:strRef>
          </c:tx>
          <c:spPr>
            <a:ln w="28575">
              <a:solidFill>
                <a:srgbClr val="E87722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2790407317792218E-2"/>
                  <c:y val="-2.6619676572686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F1DD-44D2-8EB1-B72A834E5ED1}"/>
                </c:ext>
              </c:extLst>
            </c:dLbl>
            <c:dLbl>
              <c:idx val="5"/>
              <c:layout>
                <c:manualLayout>
                  <c:x val="-2.5794077590006341E-2"/>
                  <c:y val="-3.737236474472958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F1DD-44D2-8EB1-B72A834E5ED1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F1DD-44D2-8EB1-B72A834E5ED1}"/>
                </c:ext>
              </c:extLst>
            </c:dLbl>
            <c:dLbl>
              <c:idx val="12"/>
              <c:layout>
                <c:manualLayout>
                  <c:x val="-2.1896756284440953E-2"/>
                  <c:y val="-2.775527051054102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F1DD-44D2-8EB1-B72A834E5ED1}"/>
                </c:ext>
              </c:extLst>
            </c:dLbl>
            <c:dLbl>
              <c:idx val="13"/>
              <c:layout>
                <c:manualLayout>
                  <c:x val="-2.0394921148334001E-2"/>
                  <c:y val="1.25673101346202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F1DD-44D2-8EB1-B72A834E5ED1}"/>
                </c:ext>
              </c:extLst>
            </c:dLbl>
            <c:dLbl>
              <c:idx val="14"/>
              <c:layout>
                <c:manualLayout>
                  <c:x val="-2.1896756284440953E-2"/>
                  <c:y val="-3.31316145965625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F1DD-44D2-8EB1-B72A834E5ED1}"/>
                </c:ext>
              </c:extLst>
            </c:dLbl>
            <c:dLbl>
              <c:idx val="15"/>
              <c:layout>
                <c:manualLayout>
                  <c:x val="2.4841540753351776E-2"/>
                  <c:y val="-2.753419634700358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F1DD-44D2-8EB1-B72A834E5ED1}"/>
                </c:ext>
              </c:extLst>
            </c:dLbl>
            <c:dLbl>
              <c:idx val="16"/>
              <c:layout>
                <c:manualLayout>
                  <c:x val="-1.9786737045578096E-2"/>
                  <c:y val="2.9502159004318007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F1DD-44D2-8EB1-B72A834E5ED1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S$1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B$5:$S$5</c:f>
              <c:numCache>
                <c:formatCode>General</c:formatCode>
                <c:ptCount val="18"/>
                <c:pt idx="0">
                  <c:v>23.8</c:v>
                </c:pt>
                <c:pt idx="1">
                  <c:v>29.5</c:v>
                </c:pt>
                <c:pt idx="2">
                  <c:v>26.7</c:v>
                </c:pt>
                <c:pt idx="3">
                  <c:v>32.799999999999997</c:v>
                </c:pt>
                <c:pt idx="4">
                  <c:v>26.2</c:v>
                </c:pt>
                <c:pt idx="5">
                  <c:v>24.2</c:v>
                </c:pt>
                <c:pt idx="6">
                  <c:v>33.299999999999997</c:v>
                </c:pt>
                <c:pt idx="7">
                  <c:v>33</c:v>
                </c:pt>
                <c:pt idx="8">
                  <c:v>33</c:v>
                </c:pt>
                <c:pt idx="9">
                  <c:v>33.6</c:v>
                </c:pt>
                <c:pt idx="10">
                  <c:v>38.700000000000003</c:v>
                </c:pt>
                <c:pt idx="11">
                  <c:v>35.6</c:v>
                </c:pt>
                <c:pt idx="12">
                  <c:v>41.2</c:v>
                </c:pt>
                <c:pt idx="13">
                  <c:v>39.4</c:v>
                </c:pt>
                <c:pt idx="14">
                  <c:v>43</c:v>
                </c:pt>
                <c:pt idx="15">
                  <c:v>40.5</c:v>
                </c:pt>
                <c:pt idx="16">
                  <c:v>45.3</c:v>
                </c:pt>
                <c:pt idx="17">
                  <c:v>41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0-F1DD-44D2-8EB1-B72A834E5E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6861312"/>
        <c:axId val="106862848"/>
      </c:lineChart>
      <c:catAx>
        <c:axId val="1068613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06862848"/>
        <c:crosses val="autoZero"/>
        <c:auto val="1"/>
        <c:lblAlgn val="ctr"/>
        <c:lblOffset val="100"/>
        <c:noMultiLvlLbl val="0"/>
      </c:catAx>
      <c:valAx>
        <c:axId val="106862848"/>
        <c:scaling>
          <c:orientation val="minMax"/>
          <c:max val="55"/>
          <c:min val="15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106861312"/>
        <c:crosses val="autoZero"/>
        <c:crossBetween val="between"/>
        <c:majorUnit val="10"/>
        <c:minorUnit val="2"/>
      </c:valAx>
    </c:plotArea>
    <c:legend>
      <c:legendPos val="r"/>
      <c:layout>
        <c:manualLayout>
          <c:xMode val="edge"/>
          <c:yMode val="edge"/>
          <c:x val="0.84096945018212743"/>
          <c:y val="0.13164552635340471"/>
          <c:w val="0.15381439757144647"/>
          <c:h val="0.54807488781644231"/>
        </c:manualLayout>
      </c:layout>
      <c:overlay val="1"/>
      <c:spPr>
        <a:ln>
          <a:solidFill>
            <a:schemeClr val="bg1"/>
          </a:solidFill>
        </a:ln>
      </c:spPr>
      <c:txPr>
        <a:bodyPr/>
        <a:lstStyle/>
        <a:p>
          <a:pPr>
            <a:defRPr sz="1400"/>
          </a:pPr>
          <a:endParaRPr lang="nb-NO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nb-NO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6941322446114849E-2"/>
          <c:y val="5.1141632009091303E-2"/>
          <c:w val="0.79508069847814988"/>
          <c:h val="0.786138894800312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 </c:v>
                </c:pt>
              </c:strCache>
            </c:strRef>
          </c:tx>
          <c:spPr>
            <a:solidFill>
              <a:srgbClr val="1B365D"/>
            </a:solidFill>
            <a:ln w="12700">
              <a:noFill/>
              <a:prstDash val="solid"/>
            </a:ln>
          </c:spPr>
          <c:invertIfNegative val="0"/>
          <c:dLbls>
            <c:numFmt formatCode="#,##0" sourceLinked="0"/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G$1</c:f>
              <c:strCache>
                <c:ptCount val="6"/>
                <c:pt idx="0">
                  <c:v>Under 15 min.</c:v>
                </c:pt>
                <c:pt idx="1">
                  <c:v>15-30 min</c:v>
                </c:pt>
                <c:pt idx="2">
                  <c:v>31-45 min.</c:v>
                </c:pt>
                <c:pt idx="3">
                  <c:v>46-60 min.</c:v>
                </c:pt>
                <c:pt idx="4">
                  <c:v>1-1,5 timer</c:v>
                </c:pt>
                <c:pt idx="5">
                  <c:v>Over 1,5 timer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6"/>
                <c:pt idx="0">
                  <c:v>2</c:v>
                </c:pt>
                <c:pt idx="1">
                  <c:v>10</c:v>
                </c:pt>
                <c:pt idx="2">
                  <c:v>19</c:v>
                </c:pt>
                <c:pt idx="3">
                  <c:v>33</c:v>
                </c:pt>
                <c:pt idx="4">
                  <c:v>28</c:v>
                </c:pt>
                <c:pt idx="5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65-4B53-9022-F698315E25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6159104"/>
        <c:axId val="106177280"/>
      </c:barChart>
      <c:catAx>
        <c:axId val="1061591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7728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06177280"/>
        <c:scaling>
          <c:orientation val="minMax"/>
          <c:max val="1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59104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Arial"/>
          <a:cs typeface="Arial" panose="020B0604020202020204" pitchFamily="34" charset="0"/>
        </a:defRPr>
      </a:pPr>
      <a:endParaRPr lang="nb-NO"/>
    </a:p>
  </c:txPr>
  <c:externalData r:id="rId2">
    <c:autoUpdate val="0"/>
  </c:externalData>
  <c:userShapes r:id="rId3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0703493938499822"/>
          <c:y val="4.0540190843167512E-2"/>
          <c:w val="0.45099222803256772"/>
          <c:h val="0.7749036476572002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4</c:f>
              <c:strCache>
                <c:ptCount val="1"/>
                <c:pt idx="0">
                  <c:v>Alle</c:v>
                </c:pt>
              </c:strCache>
            </c:strRef>
          </c:tx>
          <c:spPr>
            <a:solidFill>
              <a:srgbClr val="E87722"/>
            </a:solidFill>
            <a:ln w="12700">
              <a:noFill/>
              <a:prstDash val="solid"/>
            </a:ln>
          </c:spPr>
          <c:invertIfNegative val="0"/>
          <c:dLbls>
            <c:numFmt formatCode="#,##0" sourceLinked="0"/>
            <c:spPr>
              <a:noFill/>
              <a:ln w="25399">
                <a:noFill/>
              </a:ln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G$1</c:f>
              <c:strCache>
                <c:ptCount val="6"/>
                <c:pt idx="0">
                  <c:v>Tar meg helt ut - blir svært sliten</c:v>
                </c:pt>
                <c:pt idx="1">
                  <c:v>Kjenner at jeg blir andpusten, svett og sliten</c:v>
                </c:pt>
                <c:pt idx="2">
                  <c:v>Kjenner at jeg blir andpusten og svett</c:v>
                </c:pt>
                <c:pt idx="3">
                  <c:v>Kjenner at jeg blir varm og svett</c:v>
                </c:pt>
                <c:pt idx="4">
                  <c:v>Føler at jeg blir varm i kroppen</c:v>
                </c:pt>
                <c:pt idx="5">
                  <c:v>Føler ingen forandringer i pust eller varme i kroppen</c:v>
                </c:pt>
              </c:strCache>
            </c:strRef>
          </c:cat>
          <c:val>
            <c:numRef>
              <c:f>Sheet1!$B$4:$G$4</c:f>
              <c:numCache>
                <c:formatCode>General</c:formatCode>
                <c:ptCount val="6"/>
                <c:pt idx="0">
                  <c:v>5.8</c:v>
                </c:pt>
                <c:pt idx="1">
                  <c:v>27.8</c:v>
                </c:pt>
                <c:pt idx="2">
                  <c:v>19.8</c:v>
                </c:pt>
                <c:pt idx="3">
                  <c:v>19.5</c:v>
                </c:pt>
                <c:pt idx="4">
                  <c:v>14.7</c:v>
                </c:pt>
                <c:pt idx="5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9D-40A4-BF17-540CA46E52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6159104"/>
        <c:axId val="106177280"/>
      </c:barChart>
      <c:catAx>
        <c:axId val="1061591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77280"/>
        <c:crosses val="autoZero"/>
        <c:auto val="1"/>
        <c:lblAlgn val="ctr"/>
        <c:lblOffset val="100"/>
        <c:noMultiLvlLbl val="0"/>
      </c:catAx>
      <c:valAx>
        <c:axId val="106177280"/>
        <c:scaling>
          <c:orientation val="minMax"/>
          <c:max val="100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59104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Arial"/>
          <a:cs typeface="Arial" panose="020B0604020202020204" pitchFamily="34" charset="0"/>
        </a:defRPr>
      </a:pPr>
      <a:endParaRPr lang="nb-NO"/>
    </a:p>
  </c:txPr>
  <c:externalData r:id="rId2">
    <c:autoUpdate val="0"/>
  </c:externalData>
  <c:userShapes r:id="rId3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2</c:f>
              <c:strCache>
                <c:ptCount val="1"/>
                <c:pt idx="0">
                  <c:v>1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3:$A$10</c:f>
              <c:strCache>
                <c:ptCount val="8"/>
                <c:pt idx="0">
                  <c:v>70 år eller mer</c:v>
                </c:pt>
                <c:pt idx="1">
                  <c:v>60-69 år</c:v>
                </c:pt>
                <c:pt idx="2">
                  <c:v>40-59 år</c:v>
                </c:pt>
                <c:pt idx="3">
                  <c:v>40-49 år</c:v>
                </c:pt>
                <c:pt idx="4">
                  <c:v>30-39 år</c:v>
                </c:pt>
                <c:pt idx="5">
                  <c:v>25-29 år</c:v>
                </c:pt>
                <c:pt idx="6">
                  <c:v>20-25 år</c:v>
                </c:pt>
                <c:pt idx="7">
                  <c:v>15-19 år</c:v>
                </c:pt>
              </c:strCache>
            </c:strRef>
          </c:cat>
          <c:val>
            <c:numRef>
              <c:f>'Ark1'!$B$3:$B$10</c:f>
              <c:numCache>
                <c:formatCode>General</c:formatCode>
                <c:ptCount val="8"/>
                <c:pt idx="0" formatCode="0">
                  <c:v>11.3</c:v>
                </c:pt>
                <c:pt idx="1">
                  <c:v>16</c:v>
                </c:pt>
                <c:pt idx="2" formatCode="0">
                  <c:v>25.9</c:v>
                </c:pt>
                <c:pt idx="3" formatCode="0">
                  <c:v>35.5</c:v>
                </c:pt>
                <c:pt idx="4" formatCode="0">
                  <c:v>46</c:v>
                </c:pt>
                <c:pt idx="5" formatCode="0">
                  <c:v>54.3</c:v>
                </c:pt>
                <c:pt idx="6" formatCode="0">
                  <c:v>53.9</c:v>
                </c:pt>
                <c:pt idx="7" formatCode="0">
                  <c:v>5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1D-4973-9F98-F8E7591749E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3598651075806612E-2"/>
          <c:y val="4.9716876187546666E-2"/>
          <c:w val="0.74878555160537763"/>
          <c:h val="0.82232120220260463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15-24 år</c:v>
                </c:pt>
              </c:strCache>
            </c:strRef>
          </c:tx>
          <c:spPr>
            <a:ln w="28575">
              <a:solidFill>
                <a:srgbClr val="007681"/>
              </a:solidFill>
            </a:ln>
          </c:spPr>
          <c:marker>
            <c:symbol val="none"/>
          </c:marker>
          <c:dLbls>
            <c:numFmt formatCode="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L$1</c:f>
              <c:numCache>
                <c:formatCode>General</c:formatCode>
                <c:ptCount val="11"/>
                <c:pt idx="0">
                  <c:v>1999</c:v>
                </c:pt>
                <c:pt idx="1">
                  <c:v>2001</c:v>
                </c:pt>
                <c:pt idx="2">
                  <c:v>2003</c:v>
                </c:pt>
                <c:pt idx="3">
                  <c:v>2005</c:v>
                </c:pt>
                <c:pt idx="4">
                  <c:v>2007</c:v>
                </c:pt>
                <c:pt idx="5">
                  <c:v>2009</c:v>
                </c:pt>
                <c:pt idx="6">
                  <c:v>2011</c:v>
                </c:pt>
                <c:pt idx="7">
                  <c:v>2013</c:v>
                </c:pt>
                <c:pt idx="8">
                  <c:v>2015</c:v>
                </c:pt>
                <c:pt idx="9">
                  <c:v>2017</c:v>
                </c:pt>
                <c:pt idx="10">
                  <c:v>2019</c:v>
                </c:pt>
              </c:numCache>
            </c:numRef>
          </c:cat>
          <c:val>
            <c:numRef>
              <c:f>Sheet1!$B$2:$L$2</c:f>
              <c:numCache>
                <c:formatCode>General</c:formatCode>
                <c:ptCount val="11"/>
                <c:pt idx="0">
                  <c:v>56.2</c:v>
                </c:pt>
                <c:pt idx="1">
                  <c:v>48</c:v>
                </c:pt>
                <c:pt idx="2">
                  <c:v>49.5</c:v>
                </c:pt>
                <c:pt idx="3">
                  <c:v>47.8</c:v>
                </c:pt>
                <c:pt idx="4">
                  <c:v>48.5</c:v>
                </c:pt>
                <c:pt idx="5">
                  <c:v>54.8</c:v>
                </c:pt>
                <c:pt idx="6">
                  <c:v>64</c:v>
                </c:pt>
                <c:pt idx="7">
                  <c:v>64.5</c:v>
                </c:pt>
                <c:pt idx="8">
                  <c:v>60.7</c:v>
                </c:pt>
                <c:pt idx="9">
                  <c:v>54.6</c:v>
                </c:pt>
                <c:pt idx="10">
                  <c:v>54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605-4544-BB27-04F38FE13A8E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25-39 år</c:v>
                </c:pt>
              </c:strCache>
            </c:strRef>
          </c:tx>
          <c:spPr>
            <a:ln w="28575">
              <a:solidFill>
                <a:srgbClr val="F1BE48"/>
              </a:solidFill>
            </a:ln>
          </c:spPr>
          <c:marker>
            <c:symbol val="none"/>
          </c:marker>
          <c:dLbls>
            <c:dLbl>
              <c:idx val="10"/>
              <c:layout>
                <c:manualLayout>
                  <c:x val="-2.5036623885339501E-2"/>
                  <c:y val="-4.211469534050179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605-4544-BB27-04F38FE13A8E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L$1</c:f>
              <c:numCache>
                <c:formatCode>General</c:formatCode>
                <c:ptCount val="11"/>
                <c:pt idx="0">
                  <c:v>1999</c:v>
                </c:pt>
                <c:pt idx="1">
                  <c:v>2001</c:v>
                </c:pt>
                <c:pt idx="2">
                  <c:v>2003</c:v>
                </c:pt>
                <c:pt idx="3">
                  <c:v>2005</c:v>
                </c:pt>
                <c:pt idx="4">
                  <c:v>2007</c:v>
                </c:pt>
                <c:pt idx="5">
                  <c:v>2009</c:v>
                </c:pt>
                <c:pt idx="6">
                  <c:v>2011</c:v>
                </c:pt>
                <c:pt idx="7">
                  <c:v>2013</c:v>
                </c:pt>
                <c:pt idx="8">
                  <c:v>2015</c:v>
                </c:pt>
                <c:pt idx="9">
                  <c:v>2017</c:v>
                </c:pt>
                <c:pt idx="10">
                  <c:v>2019</c:v>
                </c:pt>
              </c:numCache>
            </c:numRef>
          </c:cat>
          <c:val>
            <c:numRef>
              <c:f>Sheet1!$B$3:$L$3</c:f>
              <c:numCache>
                <c:formatCode>General</c:formatCode>
                <c:ptCount val="11"/>
                <c:pt idx="0">
                  <c:v>40.5</c:v>
                </c:pt>
                <c:pt idx="1">
                  <c:v>35.799999999999997</c:v>
                </c:pt>
                <c:pt idx="2">
                  <c:v>38.200000000000003</c:v>
                </c:pt>
                <c:pt idx="3">
                  <c:v>39.200000000000003</c:v>
                </c:pt>
                <c:pt idx="4">
                  <c:v>38.6</c:v>
                </c:pt>
                <c:pt idx="5">
                  <c:v>43</c:v>
                </c:pt>
                <c:pt idx="6">
                  <c:v>52.8</c:v>
                </c:pt>
                <c:pt idx="7">
                  <c:v>51.2</c:v>
                </c:pt>
                <c:pt idx="8">
                  <c:v>46</c:v>
                </c:pt>
                <c:pt idx="9">
                  <c:v>46.1</c:v>
                </c:pt>
                <c:pt idx="10">
                  <c:v>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605-4544-BB27-04F38FE13A8E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40-59 år</c:v>
                </c:pt>
              </c:strCache>
            </c:strRef>
          </c:tx>
          <c:spPr>
            <a:ln w="28575">
              <a:solidFill>
                <a:srgbClr val="1B365D"/>
              </a:solidFill>
              <a:prstDash val="solid"/>
            </a:ln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L$1</c:f>
              <c:numCache>
                <c:formatCode>General</c:formatCode>
                <c:ptCount val="11"/>
                <c:pt idx="0">
                  <c:v>1999</c:v>
                </c:pt>
                <c:pt idx="1">
                  <c:v>2001</c:v>
                </c:pt>
                <c:pt idx="2">
                  <c:v>2003</c:v>
                </c:pt>
                <c:pt idx="3">
                  <c:v>2005</c:v>
                </c:pt>
                <c:pt idx="4">
                  <c:v>2007</c:v>
                </c:pt>
                <c:pt idx="5">
                  <c:v>2009</c:v>
                </c:pt>
                <c:pt idx="6">
                  <c:v>2011</c:v>
                </c:pt>
                <c:pt idx="7">
                  <c:v>2013</c:v>
                </c:pt>
                <c:pt idx="8">
                  <c:v>2015</c:v>
                </c:pt>
                <c:pt idx="9">
                  <c:v>2017</c:v>
                </c:pt>
                <c:pt idx="10">
                  <c:v>2019</c:v>
                </c:pt>
              </c:numCache>
            </c:numRef>
          </c:cat>
          <c:val>
            <c:numRef>
              <c:f>Sheet1!$B$4:$L$4</c:f>
              <c:numCache>
                <c:formatCode>General</c:formatCode>
                <c:ptCount val="11"/>
                <c:pt idx="0">
                  <c:v>20</c:v>
                </c:pt>
                <c:pt idx="1">
                  <c:v>19.2</c:v>
                </c:pt>
                <c:pt idx="2">
                  <c:v>22.4</c:v>
                </c:pt>
                <c:pt idx="3">
                  <c:v>22.4</c:v>
                </c:pt>
                <c:pt idx="4">
                  <c:v>24.8</c:v>
                </c:pt>
                <c:pt idx="5">
                  <c:v>29.1</c:v>
                </c:pt>
                <c:pt idx="6">
                  <c:v>32.200000000000003</c:v>
                </c:pt>
                <c:pt idx="7">
                  <c:v>31.4</c:v>
                </c:pt>
                <c:pt idx="8">
                  <c:v>32.1</c:v>
                </c:pt>
                <c:pt idx="9">
                  <c:v>30.3</c:v>
                </c:pt>
                <c:pt idx="10">
                  <c:v>29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605-4544-BB27-04F38FE13A8E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60 år +</c:v>
                </c:pt>
              </c:strCache>
            </c:strRef>
          </c:tx>
          <c:spPr>
            <a:ln w="28575">
              <a:solidFill>
                <a:srgbClr val="E87722"/>
              </a:solidFill>
              <a:prstDash val="solid"/>
            </a:ln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L$1</c:f>
              <c:numCache>
                <c:formatCode>General</c:formatCode>
                <c:ptCount val="11"/>
                <c:pt idx="0">
                  <c:v>1999</c:v>
                </c:pt>
                <c:pt idx="1">
                  <c:v>2001</c:v>
                </c:pt>
                <c:pt idx="2">
                  <c:v>2003</c:v>
                </c:pt>
                <c:pt idx="3">
                  <c:v>2005</c:v>
                </c:pt>
                <c:pt idx="4">
                  <c:v>2007</c:v>
                </c:pt>
                <c:pt idx="5">
                  <c:v>2009</c:v>
                </c:pt>
                <c:pt idx="6">
                  <c:v>2011</c:v>
                </c:pt>
                <c:pt idx="7">
                  <c:v>2013</c:v>
                </c:pt>
                <c:pt idx="8">
                  <c:v>2015</c:v>
                </c:pt>
                <c:pt idx="9">
                  <c:v>2017</c:v>
                </c:pt>
                <c:pt idx="10">
                  <c:v>2019</c:v>
                </c:pt>
              </c:numCache>
            </c:numRef>
          </c:cat>
          <c:val>
            <c:numRef>
              <c:f>Sheet1!$B$5:$L$5</c:f>
              <c:numCache>
                <c:formatCode>General</c:formatCode>
                <c:ptCount val="11"/>
                <c:pt idx="0">
                  <c:v>6.4</c:v>
                </c:pt>
                <c:pt idx="1">
                  <c:v>7</c:v>
                </c:pt>
                <c:pt idx="2">
                  <c:v>8.4</c:v>
                </c:pt>
                <c:pt idx="3">
                  <c:v>9</c:v>
                </c:pt>
                <c:pt idx="4">
                  <c:v>10.4</c:v>
                </c:pt>
                <c:pt idx="5">
                  <c:v>11.8</c:v>
                </c:pt>
                <c:pt idx="6">
                  <c:v>12.5</c:v>
                </c:pt>
                <c:pt idx="7">
                  <c:v>13.6</c:v>
                </c:pt>
                <c:pt idx="8">
                  <c:v>11.7</c:v>
                </c:pt>
                <c:pt idx="9">
                  <c:v>14.8</c:v>
                </c:pt>
                <c:pt idx="10">
                  <c:v>13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605-4544-BB27-04F38FE13A8E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06861312"/>
        <c:axId val="106862848"/>
      </c:lineChart>
      <c:catAx>
        <c:axId val="1068613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06862848"/>
        <c:crosses val="autoZero"/>
        <c:auto val="1"/>
        <c:lblAlgn val="ctr"/>
        <c:lblOffset val="100"/>
        <c:noMultiLvlLbl val="0"/>
      </c:catAx>
      <c:valAx>
        <c:axId val="106862848"/>
        <c:scaling>
          <c:orientation val="minMax"/>
          <c:max val="70"/>
          <c:min val="0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106861312"/>
        <c:crosses val="autoZero"/>
        <c:crossBetween val="between"/>
        <c:majorUnit val="10"/>
        <c:minorUnit val="2"/>
      </c:valAx>
    </c:plotArea>
    <c:legend>
      <c:legendPos val="r"/>
      <c:layout>
        <c:manualLayout>
          <c:xMode val="edge"/>
          <c:yMode val="edge"/>
          <c:x val="0.85348670125911685"/>
          <c:y val="0.28366840233680474"/>
          <c:w val="0.13593258156501159"/>
          <c:h val="0.35452650071966813"/>
        </c:manualLayout>
      </c:layout>
      <c:overlay val="1"/>
      <c:spPr>
        <a:ln>
          <a:solidFill>
            <a:schemeClr val="bg1"/>
          </a:solidFill>
        </a:ln>
      </c:spPr>
    </c:legend>
    <c:plotVisOnly val="1"/>
    <c:dispBlanksAs val="gap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nb-NO"/>
    </a:p>
  </c:txPr>
  <c:externalData r:id="rId2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626514880803431E-2"/>
          <c:y val="0.21533226847873913"/>
          <c:w val="0.55766334127437278"/>
          <c:h val="0.69544994837675189"/>
        </c:manualLayout>
      </c:layout>
      <c:doughnut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Alle</c:v>
                </c:pt>
              </c:strCache>
            </c:strRef>
          </c:tx>
          <c:dPt>
            <c:idx val="0"/>
            <c:bubble3D val="0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CB-4043-AF8A-937CB2C930F2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CBCB-4043-AF8A-937CB2C930F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54B-4CD3-98BB-728A2DFD6A4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54B-4CD3-98BB-728A2DFD6A4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54B-4CD3-98BB-728A2DFD6A4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154B-4CD3-98BB-728A2DFD6A45}"/>
              </c:ext>
            </c:extLst>
          </c:dPt>
          <c:dPt>
            <c:idx val="6"/>
            <c:bubble3D val="0"/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6D2-4E9C-8845-21DE61D8B73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rk1'!$A$2:$A$8</c:f>
              <c:strCache>
                <c:ptCount val="7"/>
                <c:pt idx="0">
                  <c:v>På egenhånd</c:v>
                </c:pt>
                <c:pt idx="1">
                  <c:v>I privat treningsstudio/  e.l.</c:v>
                </c:pt>
                <c:pt idx="2">
                  <c:v>Sammen med familie</c:v>
                </c:pt>
                <c:pt idx="3">
                  <c:v>Sammen med venner/ naboer/ arbeidskamerater</c:v>
                </c:pt>
                <c:pt idx="4">
                  <c:v>På privat kurs/ partier/ klasser</c:v>
                </c:pt>
                <c:pt idx="5">
                  <c:v>I bedriftsidrettslag</c:v>
                </c:pt>
                <c:pt idx="6">
                  <c:v>Ubesvart</c:v>
                </c:pt>
              </c:strCache>
            </c:strRef>
          </c:cat>
          <c:val>
            <c:numRef>
              <c:f>'Ark1'!$B$2:$B$8</c:f>
              <c:numCache>
                <c:formatCode>0</c:formatCode>
                <c:ptCount val="7"/>
                <c:pt idx="0">
                  <c:v>33.1</c:v>
                </c:pt>
                <c:pt idx="1">
                  <c:v>11.3</c:v>
                </c:pt>
                <c:pt idx="2">
                  <c:v>8.1999999999999993</c:v>
                </c:pt>
                <c:pt idx="3">
                  <c:v>7.7</c:v>
                </c:pt>
                <c:pt idx="4">
                  <c:v>3.3</c:v>
                </c:pt>
                <c:pt idx="5">
                  <c:v>0.6</c:v>
                </c:pt>
                <c:pt idx="6" formatCode="General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CB-4043-AF8A-937CB2C930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61343923266418388"/>
          <c:y val="0.15862002705443967"/>
          <c:w val="0.38656076733581607"/>
          <c:h val="0.8404852548936546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nb-NO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5478602178970854E-2"/>
          <c:y val="4.7067831867793321E-2"/>
          <c:w val="0.64638890288815043"/>
          <c:h val="0.85146021766486568"/>
        </c:manualLayout>
      </c:layout>
      <c:lineChart>
        <c:grouping val="standar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På egenhånd</c:v>
                </c:pt>
              </c:strCache>
            </c:strRef>
          </c:tx>
          <c:spPr>
            <a:ln w="28575">
              <a:solidFill>
                <a:srgbClr val="007681"/>
              </a:solidFill>
            </a:ln>
          </c:spPr>
          <c:marker>
            <c:symbol val="none"/>
          </c:marker>
          <c:dLbls>
            <c:dLbl>
              <c:idx val="13"/>
              <c:layout>
                <c:manualLayout>
                  <c:x val="-8.3518280407035711E-3"/>
                  <c:y val="-2.42773503090530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94F-4003-B011-7132927BF51D}"/>
                </c:ext>
              </c:extLst>
            </c:dLbl>
            <c:dLbl>
              <c:idx val="14"/>
              <c:layout>
                <c:manualLayout>
                  <c:x val="-1.4932269324277977E-2"/>
                  <c:y val="-2.328495710223352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7740738212604053E-2"/>
                      <c:h val="5.121412091371665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C8B-4D92-A8AF-55FD066BCB8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Ark1'!$A$2:$A$17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'Ark1'!$B$2:$B$17</c:f>
              <c:numCache>
                <c:formatCode>General</c:formatCode>
                <c:ptCount val="16"/>
                <c:pt idx="0">
                  <c:v>48.6</c:v>
                </c:pt>
                <c:pt idx="1">
                  <c:v>55.1</c:v>
                </c:pt>
                <c:pt idx="2">
                  <c:v>51.4</c:v>
                </c:pt>
                <c:pt idx="3">
                  <c:v>49.8</c:v>
                </c:pt>
                <c:pt idx="4">
                  <c:v>54.2</c:v>
                </c:pt>
                <c:pt idx="5">
                  <c:v>57.3</c:v>
                </c:pt>
                <c:pt idx="6">
                  <c:v>58.2</c:v>
                </c:pt>
                <c:pt idx="7">
                  <c:v>61.3</c:v>
                </c:pt>
                <c:pt idx="8">
                  <c:v>67.099999999999994</c:v>
                </c:pt>
                <c:pt idx="9">
                  <c:v>65.599999999999994</c:v>
                </c:pt>
                <c:pt idx="10">
                  <c:v>70.7</c:v>
                </c:pt>
                <c:pt idx="11">
                  <c:v>75.3</c:v>
                </c:pt>
                <c:pt idx="12">
                  <c:v>75.3</c:v>
                </c:pt>
                <c:pt idx="13">
                  <c:v>75.099999999999994</c:v>
                </c:pt>
                <c:pt idx="14">
                  <c:v>73.900000000000006</c:v>
                </c:pt>
                <c:pt idx="15">
                  <c:v>75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EC-42CE-8C9C-B9974F45766F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Sammen med venner etc.</c:v>
                </c:pt>
              </c:strCache>
            </c:strRef>
          </c:tx>
          <c:spPr>
            <a:ln w="28575">
              <a:solidFill>
                <a:srgbClr val="B7BF12"/>
              </a:solidFill>
            </a:ln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73E-4DCA-9CF5-43D753623F26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73E-4DCA-9CF5-43D753623F26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094F-4003-B011-7132927BF51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73E-4DCA-9CF5-43D753623F26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094F-4003-B011-7132927BF51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094F-4003-B011-7132927BF51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Ark1'!$A$2:$A$17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'Ark1'!$C$2:$C$17</c:f>
              <c:numCache>
                <c:formatCode>General</c:formatCode>
                <c:ptCount val="16"/>
                <c:pt idx="0">
                  <c:v>24.7</c:v>
                </c:pt>
                <c:pt idx="1">
                  <c:v>28.4</c:v>
                </c:pt>
                <c:pt idx="2">
                  <c:v>29.6</c:v>
                </c:pt>
                <c:pt idx="3">
                  <c:v>28</c:v>
                </c:pt>
                <c:pt idx="4">
                  <c:v>32.1</c:v>
                </c:pt>
                <c:pt idx="5">
                  <c:v>32.6</c:v>
                </c:pt>
                <c:pt idx="6">
                  <c:v>32.6</c:v>
                </c:pt>
                <c:pt idx="7">
                  <c:v>35</c:v>
                </c:pt>
                <c:pt idx="8">
                  <c:v>35.700000000000003</c:v>
                </c:pt>
                <c:pt idx="9">
                  <c:v>34.9</c:v>
                </c:pt>
                <c:pt idx="10">
                  <c:v>38</c:v>
                </c:pt>
                <c:pt idx="11">
                  <c:v>40.6</c:v>
                </c:pt>
                <c:pt idx="12">
                  <c:v>41.1</c:v>
                </c:pt>
                <c:pt idx="13">
                  <c:v>40</c:v>
                </c:pt>
                <c:pt idx="14">
                  <c:v>39.700000000000003</c:v>
                </c:pt>
                <c:pt idx="15">
                  <c:v>40.2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DEC-42CE-8C9C-B9974F45766F}"/>
            </c:ext>
          </c:extLst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Sammen med familie</c:v>
                </c:pt>
              </c:strCache>
            </c:strRef>
          </c:tx>
          <c:spPr>
            <a:ln w="28575">
              <a:solidFill>
                <a:srgbClr val="1B365D"/>
              </a:solidFill>
              <a:prstDash val="solid"/>
            </a:ln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Ark1'!$A$2:$A$17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'Ark1'!$D$2:$D$17</c:f>
              <c:numCache>
                <c:formatCode>General</c:formatCode>
                <c:ptCount val="16"/>
                <c:pt idx="0">
                  <c:v>24.7</c:v>
                </c:pt>
                <c:pt idx="1">
                  <c:v>23.7</c:v>
                </c:pt>
                <c:pt idx="2">
                  <c:v>29.5</c:v>
                </c:pt>
                <c:pt idx="3">
                  <c:v>28</c:v>
                </c:pt>
                <c:pt idx="4">
                  <c:v>31.7</c:v>
                </c:pt>
                <c:pt idx="5">
                  <c:v>28</c:v>
                </c:pt>
                <c:pt idx="6">
                  <c:v>31.5</c:v>
                </c:pt>
                <c:pt idx="7">
                  <c:v>34.9</c:v>
                </c:pt>
                <c:pt idx="8">
                  <c:v>35.700000000000003</c:v>
                </c:pt>
                <c:pt idx="9">
                  <c:v>35.9</c:v>
                </c:pt>
                <c:pt idx="10">
                  <c:v>35.799999999999997</c:v>
                </c:pt>
                <c:pt idx="11">
                  <c:v>38.9</c:v>
                </c:pt>
                <c:pt idx="12">
                  <c:v>39.1</c:v>
                </c:pt>
                <c:pt idx="13">
                  <c:v>37.6</c:v>
                </c:pt>
                <c:pt idx="14">
                  <c:v>38</c:v>
                </c:pt>
                <c:pt idx="15">
                  <c:v>36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73E-4DCA-9CF5-43D753623F26}"/>
            </c:ext>
          </c:extLst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I privat treningsstudio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Ark1'!$A$2:$A$17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'Ark1'!$E$2:$E$17</c:f>
              <c:numCache>
                <c:formatCode>General</c:formatCode>
                <c:ptCount val="16"/>
                <c:pt idx="0">
                  <c:v>8.5</c:v>
                </c:pt>
                <c:pt idx="1">
                  <c:v>8.9</c:v>
                </c:pt>
                <c:pt idx="2">
                  <c:v>9.6</c:v>
                </c:pt>
                <c:pt idx="3">
                  <c:v>10.1</c:v>
                </c:pt>
                <c:pt idx="4">
                  <c:v>13.2</c:v>
                </c:pt>
                <c:pt idx="5">
                  <c:v>16.899999999999999</c:v>
                </c:pt>
                <c:pt idx="6">
                  <c:v>18.2</c:v>
                </c:pt>
                <c:pt idx="7">
                  <c:v>18.5</c:v>
                </c:pt>
                <c:pt idx="8">
                  <c:v>23.7</c:v>
                </c:pt>
                <c:pt idx="9">
                  <c:v>23.2</c:v>
                </c:pt>
                <c:pt idx="10">
                  <c:v>27.6</c:v>
                </c:pt>
                <c:pt idx="11">
                  <c:v>32.200000000000003</c:v>
                </c:pt>
                <c:pt idx="12">
                  <c:v>31.9</c:v>
                </c:pt>
                <c:pt idx="13">
                  <c:v>29.1</c:v>
                </c:pt>
                <c:pt idx="14">
                  <c:v>30.7</c:v>
                </c:pt>
                <c:pt idx="15">
                  <c:v>33.7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E44C-4F6B-A6D7-B7D09FA32EBB}"/>
            </c:ext>
          </c:extLst>
        </c:ser>
        <c:ser>
          <c:idx val="4"/>
          <c:order val="4"/>
          <c:tx>
            <c:strRef>
              <c:f>'Ark1'!$F$1</c:f>
              <c:strCache>
                <c:ptCount val="1"/>
                <c:pt idx="0">
                  <c:v>I idrettslag</c:v>
                </c:pt>
              </c:strCache>
            </c:strRef>
          </c:tx>
          <c:marker>
            <c:symbol val="none"/>
          </c:marker>
          <c:cat>
            <c:numRef>
              <c:f>'Ark1'!$A$2:$A$17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'Ark1'!$F$2:$F$17</c:f>
              <c:numCache>
                <c:formatCode>General</c:formatCode>
                <c:ptCount val="16"/>
                <c:pt idx="0">
                  <c:v>15.4</c:v>
                </c:pt>
                <c:pt idx="1">
                  <c:v>14</c:v>
                </c:pt>
                <c:pt idx="2">
                  <c:v>14.2</c:v>
                </c:pt>
                <c:pt idx="3">
                  <c:v>12.5</c:v>
                </c:pt>
                <c:pt idx="4">
                  <c:v>15.3</c:v>
                </c:pt>
                <c:pt idx="5">
                  <c:v>13.2</c:v>
                </c:pt>
                <c:pt idx="6">
                  <c:v>13.3</c:v>
                </c:pt>
                <c:pt idx="7">
                  <c:v>13.5</c:v>
                </c:pt>
                <c:pt idx="8">
                  <c:v>12.3</c:v>
                </c:pt>
                <c:pt idx="9">
                  <c:v>13.9</c:v>
                </c:pt>
                <c:pt idx="10">
                  <c:v>13.4</c:v>
                </c:pt>
                <c:pt idx="11">
                  <c:v>13.4</c:v>
                </c:pt>
                <c:pt idx="12">
                  <c:v>12.8</c:v>
                </c:pt>
                <c:pt idx="13">
                  <c:v>13.3</c:v>
                </c:pt>
                <c:pt idx="14">
                  <c:v>13.4</c:v>
                </c:pt>
                <c:pt idx="15">
                  <c:v>13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E44C-4F6B-A6D7-B7D09FA32EBB}"/>
            </c:ext>
          </c:extLst>
        </c:ser>
        <c:ser>
          <c:idx val="5"/>
          <c:order val="5"/>
          <c:tx>
            <c:strRef>
              <c:f>'Ark1'!$G$1</c:f>
              <c:strCache>
                <c:ptCount val="1"/>
                <c:pt idx="0">
                  <c:v>På privat kurs/ partier/ klasser</c:v>
                </c:pt>
              </c:strCache>
            </c:strRef>
          </c:tx>
          <c:marker>
            <c:symbol val="none"/>
          </c:marker>
          <c:cat>
            <c:numRef>
              <c:f>'Ark1'!$A$2:$A$17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'Ark1'!$G$2:$G$17</c:f>
              <c:numCache>
                <c:formatCode>General</c:formatCode>
                <c:ptCount val="16"/>
                <c:pt idx="0">
                  <c:v>6.5</c:v>
                </c:pt>
                <c:pt idx="1">
                  <c:v>7.7</c:v>
                </c:pt>
                <c:pt idx="2">
                  <c:v>7.2</c:v>
                </c:pt>
                <c:pt idx="3">
                  <c:v>7.1</c:v>
                </c:pt>
                <c:pt idx="4">
                  <c:v>7</c:v>
                </c:pt>
                <c:pt idx="5">
                  <c:v>6.2</c:v>
                </c:pt>
                <c:pt idx="6">
                  <c:v>7.5</c:v>
                </c:pt>
                <c:pt idx="7">
                  <c:v>7.7</c:v>
                </c:pt>
                <c:pt idx="8">
                  <c:v>9</c:v>
                </c:pt>
                <c:pt idx="9">
                  <c:v>8.9</c:v>
                </c:pt>
                <c:pt idx="10">
                  <c:v>9.3000000000000007</c:v>
                </c:pt>
                <c:pt idx="11">
                  <c:v>10.4</c:v>
                </c:pt>
                <c:pt idx="12">
                  <c:v>10.1</c:v>
                </c:pt>
                <c:pt idx="13">
                  <c:v>9.9</c:v>
                </c:pt>
                <c:pt idx="14">
                  <c:v>11.6</c:v>
                </c:pt>
                <c:pt idx="15">
                  <c:v>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E44C-4F6B-A6D7-B7D09FA32EBB}"/>
            </c:ext>
          </c:extLst>
        </c:ser>
        <c:ser>
          <c:idx val="6"/>
          <c:order val="6"/>
          <c:tx>
            <c:strRef>
              <c:f>'Ark1'!$H$1</c:f>
              <c:strCache>
                <c:ptCount val="1"/>
                <c:pt idx="0">
                  <c:v>I bedriftsidrettslag</c:v>
                </c:pt>
              </c:strCache>
            </c:strRef>
          </c:tx>
          <c:marker>
            <c:symbol val="none"/>
          </c:marker>
          <c:cat>
            <c:numRef>
              <c:f>'Ark1'!$A$2:$A$17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'Ark1'!$H$2:$H$17</c:f>
              <c:numCache>
                <c:formatCode>General</c:formatCode>
                <c:ptCount val="16"/>
                <c:pt idx="0">
                  <c:v>5.9</c:v>
                </c:pt>
                <c:pt idx="1">
                  <c:v>6.5</c:v>
                </c:pt>
                <c:pt idx="2">
                  <c:v>5.3</c:v>
                </c:pt>
                <c:pt idx="3">
                  <c:v>5.8</c:v>
                </c:pt>
                <c:pt idx="4">
                  <c:v>6.1</c:v>
                </c:pt>
                <c:pt idx="5">
                  <c:v>6</c:v>
                </c:pt>
                <c:pt idx="6">
                  <c:v>5.9</c:v>
                </c:pt>
                <c:pt idx="7">
                  <c:v>4.7</c:v>
                </c:pt>
                <c:pt idx="8">
                  <c:v>4.5</c:v>
                </c:pt>
                <c:pt idx="9">
                  <c:v>5.3</c:v>
                </c:pt>
                <c:pt idx="10">
                  <c:v>5.0999999999999996</c:v>
                </c:pt>
                <c:pt idx="11">
                  <c:v>5.4</c:v>
                </c:pt>
                <c:pt idx="12">
                  <c:v>5.2</c:v>
                </c:pt>
                <c:pt idx="13">
                  <c:v>4.5</c:v>
                </c:pt>
                <c:pt idx="14">
                  <c:v>3.8</c:v>
                </c:pt>
                <c:pt idx="15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E44C-4F6B-A6D7-B7D09FA32E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6861312"/>
        <c:axId val="106862848"/>
      </c:lineChart>
      <c:catAx>
        <c:axId val="1068613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nb-NO"/>
          </a:p>
        </c:txPr>
        <c:crossAx val="106862848"/>
        <c:crosses val="autoZero"/>
        <c:auto val="1"/>
        <c:lblAlgn val="ctr"/>
        <c:lblOffset val="100"/>
        <c:noMultiLvlLbl val="0"/>
      </c:catAx>
      <c:valAx>
        <c:axId val="106862848"/>
        <c:scaling>
          <c:orientation val="minMax"/>
          <c:max val="100"/>
          <c:min val="0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106861312"/>
        <c:crosses val="autoZero"/>
        <c:crossBetween val="between"/>
        <c:majorUnit val="20"/>
        <c:minorUnit val="2"/>
      </c:valAx>
    </c:plotArea>
    <c:legend>
      <c:legendPos val="r"/>
      <c:layout>
        <c:manualLayout>
          <c:xMode val="edge"/>
          <c:yMode val="edge"/>
          <c:x val="0.72614875636585408"/>
          <c:y val="0.23756009976393946"/>
          <c:w val="0.27385124363414592"/>
          <c:h val="0.68087871186108651"/>
        </c:manualLayout>
      </c:layout>
      <c:overlay val="1"/>
      <c:spPr>
        <a:ln>
          <a:solidFill>
            <a:schemeClr val="bg1"/>
          </a:solidFill>
        </a:ln>
      </c:spPr>
    </c:legend>
    <c:plotVisOnly val="1"/>
    <c:dispBlanksAs val="gap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nb-NO"/>
    </a:p>
  </c:txPr>
  <c:externalData r:id="rId2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I idrettsla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0</c:formatCode>
                <c:ptCount val="6"/>
                <c:pt idx="0">
                  <c:v>5.3</c:v>
                </c:pt>
                <c:pt idx="1">
                  <c:v>9.6999999999999993</c:v>
                </c:pt>
                <c:pt idx="2">
                  <c:v>14.4</c:v>
                </c:pt>
                <c:pt idx="3">
                  <c:v>19.100000000000001</c:v>
                </c:pt>
                <c:pt idx="4">
                  <c:v>18.600000000000001</c:v>
                </c:pt>
                <c:pt idx="5">
                  <c:v>38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FE-483C-81B5-3D97FB9114A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6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928600967376709E-2"/>
          <c:y val="8.7424220131697081E-2"/>
          <c:w val="0.77915216412653665"/>
          <c:h val="0.7868348712004973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148:$B$1149</c:f>
              <c:strCache>
                <c:ptCount val="1"/>
                <c:pt idx="0">
                  <c:v>Liker /  er riktig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150:$A$1163</c:f>
              <c:numCache>
                <c:formatCode>General</c:formatCode>
                <c:ptCount val="14"/>
                <c:pt idx="0">
                  <c:v>1993</c:v>
                </c:pt>
                <c:pt idx="1">
                  <c:v>1995</c:v>
                </c:pt>
                <c:pt idx="2">
                  <c:v>1997</c:v>
                </c:pt>
                <c:pt idx="3">
                  <c:v>1999</c:v>
                </c:pt>
                <c:pt idx="4">
                  <c:v>2001</c:v>
                </c:pt>
                <c:pt idx="5">
                  <c:v>2003</c:v>
                </c:pt>
                <c:pt idx="6">
                  <c:v>2005</c:v>
                </c:pt>
                <c:pt idx="7">
                  <c:v>2007</c:v>
                </c:pt>
                <c:pt idx="8">
                  <c:v>2009</c:v>
                </c:pt>
                <c:pt idx="9">
                  <c:v>2011</c:v>
                </c:pt>
                <c:pt idx="10">
                  <c:v>2013</c:v>
                </c:pt>
                <c:pt idx="11">
                  <c:v>2015</c:v>
                </c:pt>
                <c:pt idx="12">
                  <c:v>2017</c:v>
                </c:pt>
                <c:pt idx="13">
                  <c:v>2019</c:v>
                </c:pt>
              </c:numCache>
            </c:numRef>
          </c:cat>
          <c:val>
            <c:numRef>
              <c:f>Sheet1!$B$1150:$B$1163</c:f>
              <c:numCache>
                <c:formatCode>General</c:formatCode>
                <c:ptCount val="14"/>
                <c:pt idx="0">
                  <c:v>14</c:v>
                </c:pt>
                <c:pt idx="1">
                  <c:v>13</c:v>
                </c:pt>
                <c:pt idx="2">
                  <c:v>16</c:v>
                </c:pt>
                <c:pt idx="3">
                  <c:v>17</c:v>
                </c:pt>
                <c:pt idx="4">
                  <c:v>20</c:v>
                </c:pt>
                <c:pt idx="5">
                  <c:v>19</c:v>
                </c:pt>
                <c:pt idx="6">
                  <c:v>23</c:v>
                </c:pt>
                <c:pt idx="7">
                  <c:v>26</c:v>
                </c:pt>
                <c:pt idx="8">
                  <c:v>27</c:v>
                </c:pt>
                <c:pt idx="9">
                  <c:v>30</c:v>
                </c:pt>
                <c:pt idx="10">
                  <c:v>28</c:v>
                </c:pt>
                <c:pt idx="11">
                  <c:v>31</c:v>
                </c:pt>
                <c:pt idx="12">
                  <c:v>44</c:v>
                </c:pt>
                <c:pt idx="13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AF-45AF-8337-1944918BAD26}"/>
            </c:ext>
          </c:extLst>
        </c:ser>
        <c:ser>
          <c:idx val="1"/>
          <c:order val="1"/>
          <c:tx>
            <c:strRef>
              <c:f>Sheet1!$C$1148:$C$1149</c:f>
              <c:strCache>
                <c:ptCount val="1"/>
                <c:pt idx="0">
                  <c:v>Ikke opptatt av det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150:$A$1163</c:f>
              <c:numCache>
                <c:formatCode>General</c:formatCode>
                <c:ptCount val="14"/>
                <c:pt idx="0">
                  <c:v>1993</c:v>
                </c:pt>
                <c:pt idx="1">
                  <c:v>1995</c:v>
                </c:pt>
                <c:pt idx="2">
                  <c:v>1997</c:v>
                </c:pt>
                <c:pt idx="3">
                  <c:v>1999</c:v>
                </c:pt>
                <c:pt idx="4">
                  <c:v>2001</c:v>
                </c:pt>
                <c:pt idx="5">
                  <c:v>2003</c:v>
                </c:pt>
                <c:pt idx="6">
                  <c:v>2005</c:v>
                </c:pt>
                <c:pt idx="7">
                  <c:v>2007</c:v>
                </c:pt>
                <c:pt idx="8">
                  <c:v>2009</c:v>
                </c:pt>
                <c:pt idx="9">
                  <c:v>2011</c:v>
                </c:pt>
                <c:pt idx="10">
                  <c:v>2013</c:v>
                </c:pt>
                <c:pt idx="11">
                  <c:v>2015</c:v>
                </c:pt>
                <c:pt idx="12">
                  <c:v>2017</c:v>
                </c:pt>
                <c:pt idx="13">
                  <c:v>2019</c:v>
                </c:pt>
              </c:numCache>
            </c:numRef>
          </c:cat>
          <c:val>
            <c:numRef>
              <c:f>Sheet1!$C$1150:$C$1163</c:f>
              <c:numCache>
                <c:formatCode>General</c:formatCode>
                <c:ptCount val="14"/>
                <c:pt idx="0">
                  <c:v>37</c:v>
                </c:pt>
                <c:pt idx="1">
                  <c:v>32</c:v>
                </c:pt>
                <c:pt idx="2">
                  <c:v>37</c:v>
                </c:pt>
                <c:pt idx="3">
                  <c:v>40</c:v>
                </c:pt>
                <c:pt idx="4">
                  <c:v>34</c:v>
                </c:pt>
                <c:pt idx="5">
                  <c:v>40</c:v>
                </c:pt>
                <c:pt idx="6">
                  <c:v>31</c:v>
                </c:pt>
                <c:pt idx="7">
                  <c:v>32</c:v>
                </c:pt>
                <c:pt idx="8">
                  <c:v>34</c:v>
                </c:pt>
                <c:pt idx="9">
                  <c:v>34</c:v>
                </c:pt>
                <c:pt idx="10">
                  <c:v>35</c:v>
                </c:pt>
                <c:pt idx="11">
                  <c:v>32</c:v>
                </c:pt>
                <c:pt idx="12">
                  <c:v>31</c:v>
                </c:pt>
                <c:pt idx="13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AF-45AF-8337-1944918BAD26}"/>
            </c:ext>
          </c:extLst>
        </c:ser>
        <c:ser>
          <c:idx val="2"/>
          <c:order val="2"/>
          <c:tx>
            <c:strRef>
              <c:f>Sheet1!$D$1148:$D$1149</c:f>
              <c:strCache>
                <c:ptCount val="1"/>
                <c:pt idx="0">
                  <c:v>Misliker /  er galt</c:v>
                </c:pt>
              </c:strCache>
            </c:strRef>
          </c:tx>
          <c:spPr>
            <a:solidFill>
              <a:srgbClr val="FF6D6D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150:$A$1163</c:f>
              <c:numCache>
                <c:formatCode>General</c:formatCode>
                <c:ptCount val="14"/>
                <c:pt idx="0">
                  <c:v>1993</c:v>
                </c:pt>
                <c:pt idx="1">
                  <c:v>1995</c:v>
                </c:pt>
                <c:pt idx="2">
                  <c:v>1997</c:v>
                </c:pt>
                <c:pt idx="3">
                  <c:v>1999</c:v>
                </c:pt>
                <c:pt idx="4">
                  <c:v>2001</c:v>
                </c:pt>
                <c:pt idx="5">
                  <c:v>2003</c:v>
                </c:pt>
                <c:pt idx="6">
                  <c:v>2005</c:v>
                </c:pt>
                <c:pt idx="7">
                  <c:v>2007</c:v>
                </c:pt>
                <c:pt idx="8">
                  <c:v>2009</c:v>
                </c:pt>
                <c:pt idx="9">
                  <c:v>2011</c:v>
                </c:pt>
                <c:pt idx="10">
                  <c:v>2013</c:v>
                </c:pt>
                <c:pt idx="11">
                  <c:v>2015</c:v>
                </c:pt>
                <c:pt idx="12">
                  <c:v>2017</c:v>
                </c:pt>
                <c:pt idx="13">
                  <c:v>2019</c:v>
                </c:pt>
              </c:numCache>
            </c:numRef>
          </c:cat>
          <c:val>
            <c:numRef>
              <c:f>Sheet1!$D$1150:$D$1163</c:f>
              <c:numCache>
                <c:formatCode>General</c:formatCode>
                <c:ptCount val="14"/>
                <c:pt idx="0">
                  <c:v>49</c:v>
                </c:pt>
                <c:pt idx="1">
                  <c:v>55</c:v>
                </c:pt>
                <c:pt idx="2">
                  <c:v>48</c:v>
                </c:pt>
                <c:pt idx="3">
                  <c:v>43</c:v>
                </c:pt>
                <c:pt idx="4">
                  <c:v>46</c:v>
                </c:pt>
                <c:pt idx="5">
                  <c:v>41</c:v>
                </c:pt>
                <c:pt idx="6">
                  <c:v>46</c:v>
                </c:pt>
                <c:pt idx="7">
                  <c:v>41</c:v>
                </c:pt>
                <c:pt idx="8">
                  <c:v>39</c:v>
                </c:pt>
                <c:pt idx="9">
                  <c:v>36</c:v>
                </c:pt>
                <c:pt idx="10">
                  <c:v>37</c:v>
                </c:pt>
                <c:pt idx="11">
                  <c:v>37</c:v>
                </c:pt>
                <c:pt idx="12">
                  <c:v>25</c:v>
                </c:pt>
                <c:pt idx="1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AF-45AF-8337-1944918BAD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97993472"/>
        <c:axId val="97995008"/>
      </c:barChart>
      <c:catAx>
        <c:axId val="979934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5400000" vert="horz"/>
          <a:lstStyle/>
          <a:p>
            <a:pPr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nb-NO"/>
          </a:p>
        </c:txPr>
        <c:crossAx val="97995008"/>
        <c:crosses val="autoZero"/>
        <c:auto val="1"/>
        <c:lblAlgn val="ctr"/>
        <c:lblOffset val="100"/>
        <c:tickLblSkip val="1"/>
        <c:noMultiLvlLbl val="0"/>
      </c:catAx>
      <c:valAx>
        <c:axId val="9799500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9799347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2391438414525042"/>
          <c:y val="0.18994390320202836"/>
          <c:w val="0.16124320544700327"/>
          <c:h val="0.66083039891919049"/>
        </c:manualLayout>
      </c:layout>
      <c:overlay val="0"/>
      <c:txPr>
        <a:bodyPr/>
        <a:lstStyle/>
        <a:p>
          <a:pPr>
            <a:defRPr sz="1400"/>
          </a:pPr>
          <a:endParaRPr lang="nb-NO"/>
        </a:p>
      </c:txPr>
    </c:legend>
    <c:plotVisOnly val="1"/>
    <c:dispBlanksAs val="gap"/>
    <c:showDLblsOverMax val="0"/>
  </c:chart>
  <c:spPr>
    <a:solidFill>
      <a:schemeClr val="bg1"/>
    </a:solidFill>
  </c:spPr>
  <c:externalData r:id="rId1">
    <c:autoUpdate val="0"/>
  </c:externalData>
  <c:userShapes r:id="rId2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I idrettsla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0</c:formatCode>
                <c:ptCount val="6"/>
                <c:pt idx="0">
                  <c:v>5.3</c:v>
                </c:pt>
                <c:pt idx="1">
                  <c:v>9.6999999999999993</c:v>
                </c:pt>
                <c:pt idx="2">
                  <c:v>14.4</c:v>
                </c:pt>
                <c:pt idx="3">
                  <c:v>19.100000000000001</c:v>
                </c:pt>
                <c:pt idx="4">
                  <c:v>18.600000000000001</c:v>
                </c:pt>
                <c:pt idx="5">
                  <c:v>38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FE-483C-81B5-3D97FB9114AE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i bedriftsiddretsla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C$2:$C$7</c:f>
              <c:numCache>
                <c:formatCode>0</c:formatCode>
                <c:ptCount val="6"/>
                <c:pt idx="0">
                  <c:v>1.5</c:v>
                </c:pt>
                <c:pt idx="1">
                  <c:v>3.6</c:v>
                </c:pt>
                <c:pt idx="2">
                  <c:v>4.7</c:v>
                </c:pt>
                <c:pt idx="3">
                  <c:v>7.5</c:v>
                </c:pt>
                <c:pt idx="4">
                  <c:v>5.9</c:v>
                </c:pt>
                <c:pt idx="5">
                  <c:v>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9C3-4FA5-917C-DD426677ED63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6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I idrettsla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0</c:formatCode>
                <c:ptCount val="6"/>
                <c:pt idx="0">
                  <c:v>5.3</c:v>
                </c:pt>
                <c:pt idx="1">
                  <c:v>9.6999999999999993</c:v>
                </c:pt>
                <c:pt idx="2">
                  <c:v>14.4</c:v>
                </c:pt>
                <c:pt idx="3">
                  <c:v>19.100000000000001</c:v>
                </c:pt>
                <c:pt idx="4">
                  <c:v>18.600000000000001</c:v>
                </c:pt>
                <c:pt idx="5">
                  <c:v>38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45-4914-A7D8-0FEDB8E6938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i bedriftsiddretsla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C$2:$C$7</c:f>
              <c:numCache>
                <c:formatCode>0</c:formatCode>
                <c:ptCount val="6"/>
                <c:pt idx="0">
                  <c:v>1.5</c:v>
                </c:pt>
                <c:pt idx="1">
                  <c:v>3.6</c:v>
                </c:pt>
                <c:pt idx="2">
                  <c:v>4.7</c:v>
                </c:pt>
                <c:pt idx="3">
                  <c:v>7.5</c:v>
                </c:pt>
                <c:pt idx="4">
                  <c:v>5.9</c:v>
                </c:pt>
                <c:pt idx="5">
                  <c:v>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45-4914-A7D8-0FEDB8E69387}"/>
            </c:ext>
          </c:extLst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Privat treningssente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D$2:$D$7</c:f>
              <c:numCache>
                <c:formatCode>0</c:formatCode>
                <c:ptCount val="6"/>
                <c:pt idx="0">
                  <c:v>22.4</c:v>
                </c:pt>
                <c:pt idx="1">
                  <c:v>28.3</c:v>
                </c:pt>
                <c:pt idx="2">
                  <c:v>31.4</c:v>
                </c:pt>
                <c:pt idx="3">
                  <c:v>44.5</c:v>
                </c:pt>
                <c:pt idx="4">
                  <c:v>54.6</c:v>
                </c:pt>
                <c:pt idx="5">
                  <c:v>48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C45-4914-A7D8-0FEDB8E69387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6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3849856671704529"/>
          <c:y val="5.1141632009091303E-2"/>
          <c:w val="0.3719501753135665"/>
          <c:h val="0.863320149591993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60 år +</c:v>
                </c:pt>
              </c:strCache>
            </c:strRef>
          </c:tx>
          <c:spPr>
            <a:solidFill>
              <a:srgbClr val="009999"/>
            </a:solidFill>
          </c:spPr>
          <c:invertIfNegative val="0"/>
          <c:cat>
            <c:strRef>
              <c:f>Sheet1!$A$2:$A$21</c:f>
              <c:strCache>
                <c:ptCount val="20"/>
                <c:pt idx="0">
                  <c:v>Annlegg for skateboards/in-lines</c:v>
                </c:pt>
                <c:pt idx="1">
                  <c:v>Tennisanlegg</c:v>
                </c:pt>
                <c:pt idx="2">
                  <c:v>Skolegård</c:v>
                </c:pt>
                <c:pt idx="3">
                  <c:v>Balløkker/ballbinger</c:v>
                </c:pt>
                <c:pt idx="4">
                  <c:v>Isflate/ishall</c:v>
                </c:pt>
                <c:pt idx="5">
                  <c:v>Friidrettsanegg</c:v>
                </c:pt>
                <c:pt idx="6">
                  <c:v>Fotballanlegg (bane/ hall)</c:v>
                </c:pt>
                <c:pt idx="7">
                  <c:v>Golfanlegg</c:v>
                </c:pt>
                <c:pt idx="8">
                  <c:v>Skyteanlegg</c:v>
                </c:pt>
                <c:pt idx="9">
                  <c:v>Gymsaler i skoler</c:v>
                </c:pt>
                <c:pt idx="10">
                  <c:v>Alpinanlegg</c:v>
                </c:pt>
                <c:pt idx="11">
                  <c:v>Idrettshall/ flerbrukshall</c:v>
                </c:pt>
                <c:pt idx="12">
                  <c:v>Park og grøntområde i tettsted/ by</c:v>
                </c:pt>
                <c:pt idx="13">
                  <c:v>Vekt-/ styrketreningsrom</c:v>
                </c:pt>
                <c:pt idx="14">
                  <c:v>Svømmehall/ -basseng</c:v>
                </c:pt>
                <c:pt idx="15">
                  <c:v>Insjø/hav/elv</c:v>
                </c:pt>
                <c:pt idx="16">
                  <c:v>Lysløype</c:v>
                </c:pt>
                <c:pt idx="17">
                  <c:v>Privat treningssenter/ helsestudio</c:v>
                </c:pt>
                <c:pt idx="18">
                  <c:v>Større utmarksarealer for tur- og friluftsaktiviteter</c:v>
                </c:pt>
                <c:pt idx="19">
                  <c:v>Turstier/ turløyper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6</c:v>
                </c:pt>
                <c:pt idx="11">
                  <c:v>8</c:v>
                </c:pt>
                <c:pt idx="12">
                  <c:v>17</c:v>
                </c:pt>
                <c:pt idx="13">
                  <c:v>19</c:v>
                </c:pt>
                <c:pt idx="14">
                  <c:v>20</c:v>
                </c:pt>
                <c:pt idx="15">
                  <c:v>21</c:v>
                </c:pt>
                <c:pt idx="16">
                  <c:v>22</c:v>
                </c:pt>
                <c:pt idx="17">
                  <c:v>26</c:v>
                </c:pt>
                <c:pt idx="18">
                  <c:v>49</c:v>
                </c:pt>
                <c:pt idx="19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A1-4946-995E-8C236AE46D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06159104"/>
        <c:axId val="106177280"/>
      </c:barChart>
      <c:catAx>
        <c:axId val="1061591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77280"/>
        <c:crosses val="autoZero"/>
        <c:auto val="1"/>
        <c:lblAlgn val="ctr"/>
        <c:lblOffset val="100"/>
        <c:noMultiLvlLbl val="0"/>
      </c:catAx>
      <c:valAx>
        <c:axId val="106177280"/>
        <c:scaling>
          <c:orientation val="minMax"/>
          <c:max val="100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59104"/>
        <c:crosses val="autoZero"/>
        <c:crossBetween val="between"/>
        <c:majorUnit val="2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84421402676903201"/>
          <c:y val="0.26784349901848054"/>
          <c:w val="0.12586936374544722"/>
          <c:h val="0.46210990887267639"/>
        </c:manualLayout>
      </c:layout>
      <c:overlay val="0"/>
      <c:spPr>
        <a:noFill/>
        <a:ln w="3175">
          <a:noFill/>
          <a:prstDash val="solid"/>
        </a:ln>
      </c:spPr>
      <c:txPr>
        <a:bodyPr/>
        <a:lstStyle/>
        <a:p>
          <a:pPr>
            <a:defRPr sz="1400"/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Arial"/>
          <a:cs typeface="Arial" panose="020B0604020202020204" pitchFamily="34" charset="0"/>
        </a:defRPr>
      </a:pPr>
      <a:endParaRPr lang="nb-NO"/>
    </a:p>
  </c:txPr>
  <c:externalData r:id="rId2">
    <c:autoUpdate val="0"/>
  </c:externalData>
  <c:userShapes r:id="rId3"/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3849856671704529"/>
          <c:y val="5.1141632009091303E-2"/>
          <c:w val="0.3719501753135665"/>
          <c:h val="0.863320149591993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60 år +</c:v>
                </c:pt>
              </c:strCache>
            </c:strRef>
          </c:tx>
          <c:spPr>
            <a:solidFill>
              <a:srgbClr val="00A5AA"/>
            </a:solidFill>
            <a:ln w="12700">
              <a:noFill/>
              <a:prstDash val="solid"/>
            </a:ln>
          </c:spPr>
          <c:invertIfNegative val="0"/>
          <c:cat>
            <c:strRef>
              <c:f>Sheet1!$A$2:$A$21</c:f>
              <c:strCache>
                <c:ptCount val="20"/>
                <c:pt idx="0">
                  <c:v>Golfanlegg</c:v>
                </c:pt>
                <c:pt idx="1">
                  <c:v>Annlegg for skateboards/in-lines</c:v>
                </c:pt>
                <c:pt idx="2">
                  <c:v>Tennisanlegg</c:v>
                </c:pt>
                <c:pt idx="3">
                  <c:v>Skyteanlegg</c:v>
                </c:pt>
                <c:pt idx="4">
                  <c:v>Skolegård</c:v>
                </c:pt>
                <c:pt idx="5">
                  <c:v>Balløkker/ballbinger</c:v>
                </c:pt>
                <c:pt idx="6">
                  <c:v>Isflate/ishall</c:v>
                </c:pt>
                <c:pt idx="7">
                  <c:v>Friidrettsanegg</c:v>
                </c:pt>
                <c:pt idx="8">
                  <c:v>Fotballanlegg (bane/ hall)</c:v>
                </c:pt>
                <c:pt idx="9">
                  <c:v>Park og grøntområde i tettsted/ by</c:v>
                </c:pt>
                <c:pt idx="10">
                  <c:v>Insjø/hav/elv</c:v>
                </c:pt>
                <c:pt idx="11">
                  <c:v>Gymsaler i skoler</c:v>
                </c:pt>
                <c:pt idx="12">
                  <c:v>Alpinanlegg</c:v>
                </c:pt>
                <c:pt idx="13">
                  <c:v>Lysløype</c:v>
                </c:pt>
                <c:pt idx="14">
                  <c:v>Svømmehall/ -basseng</c:v>
                </c:pt>
                <c:pt idx="15">
                  <c:v>Idrettshall/ flerbrukshall</c:v>
                </c:pt>
                <c:pt idx="16">
                  <c:v>Større utmarksarealer for tur- og friluftsaktiviteter</c:v>
                </c:pt>
                <c:pt idx="17">
                  <c:v>Privat treningssenter/ helsestudio</c:v>
                </c:pt>
                <c:pt idx="18">
                  <c:v>Turstier/ turløyper</c:v>
                </c:pt>
                <c:pt idx="19">
                  <c:v>Vekt-/ styrketreningsrom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3</c:v>
                </c:pt>
                <c:pt idx="1">
                  <c:v>0</c:v>
                </c:pt>
                <c:pt idx="2">
                  <c:v>1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17</c:v>
                </c:pt>
                <c:pt idx="10">
                  <c:v>21</c:v>
                </c:pt>
                <c:pt idx="11">
                  <c:v>4</c:v>
                </c:pt>
                <c:pt idx="12">
                  <c:v>6</c:v>
                </c:pt>
                <c:pt idx="13">
                  <c:v>22</c:v>
                </c:pt>
                <c:pt idx="14">
                  <c:v>20</c:v>
                </c:pt>
                <c:pt idx="15">
                  <c:v>8</c:v>
                </c:pt>
                <c:pt idx="16">
                  <c:v>49</c:v>
                </c:pt>
                <c:pt idx="17">
                  <c:v>26</c:v>
                </c:pt>
                <c:pt idx="18">
                  <c:v>62</c:v>
                </c:pt>
                <c:pt idx="19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A1-4946-995E-8C236AE46DE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5-24 år</c:v>
                </c:pt>
              </c:strCache>
            </c:strRef>
          </c:tx>
          <c:spPr>
            <a:solidFill>
              <a:srgbClr val="FF9933"/>
            </a:solidFill>
            <a:ln w="12700">
              <a:noFill/>
              <a:prstDash val="solid"/>
            </a:ln>
          </c:spPr>
          <c:invertIfNegative val="0"/>
          <c:cat>
            <c:strRef>
              <c:f>Sheet1!$A$2:$A$21</c:f>
              <c:strCache>
                <c:ptCount val="20"/>
                <c:pt idx="0">
                  <c:v>Golfanlegg</c:v>
                </c:pt>
                <c:pt idx="1">
                  <c:v>Annlegg for skateboards/in-lines</c:v>
                </c:pt>
                <c:pt idx="2">
                  <c:v>Tennisanlegg</c:v>
                </c:pt>
                <c:pt idx="3">
                  <c:v>Skyteanlegg</c:v>
                </c:pt>
                <c:pt idx="4">
                  <c:v>Skolegård</c:v>
                </c:pt>
                <c:pt idx="5">
                  <c:v>Balløkker/ballbinger</c:v>
                </c:pt>
                <c:pt idx="6">
                  <c:v>Isflate/ishall</c:v>
                </c:pt>
                <c:pt idx="7">
                  <c:v>Friidrettsanegg</c:v>
                </c:pt>
                <c:pt idx="8">
                  <c:v>Fotballanlegg (bane/ hall)</c:v>
                </c:pt>
                <c:pt idx="9">
                  <c:v>Park og grøntområde i tettsted/ by</c:v>
                </c:pt>
                <c:pt idx="10">
                  <c:v>Insjø/hav/elv</c:v>
                </c:pt>
                <c:pt idx="11">
                  <c:v>Gymsaler i skoler</c:v>
                </c:pt>
                <c:pt idx="12">
                  <c:v>Alpinanlegg</c:v>
                </c:pt>
                <c:pt idx="13">
                  <c:v>Lysløype</c:v>
                </c:pt>
                <c:pt idx="14">
                  <c:v>Svømmehall/ -basseng</c:v>
                </c:pt>
                <c:pt idx="15">
                  <c:v>Idrettshall/ flerbrukshall</c:v>
                </c:pt>
                <c:pt idx="16">
                  <c:v>Større utmarksarealer for tur- og friluftsaktiviteter</c:v>
                </c:pt>
                <c:pt idx="17">
                  <c:v>Privat treningssenter/ helsestudio</c:v>
                </c:pt>
                <c:pt idx="18">
                  <c:v>Turstier/ turløyper</c:v>
                </c:pt>
                <c:pt idx="19">
                  <c:v>Vekt-/ styrketreningsrom</c:v>
                </c:pt>
              </c:strCache>
            </c:str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5</c:v>
                </c:pt>
                <c:pt idx="1">
                  <c:v>6</c:v>
                </c:pt>
                <c:pt idx="2">
                  <c:v>8</c:v>
                </c:pt>
                <c:pt idx="3">
                  <c:v>11</c:v>
                </c:pt>
                <c:pt idx="4">
                  <c:v>13</c:v>
                </c:pt>
                <c:pt idx="5">
                  <c:v>15</c:v>
                </c:pt>
                <c:pt idx="6">
                  <c:v>16</c:v>
                </c:pt>
                <c:pt idx="7">
                  <c:v>21</c:v>
                </c:pt>
                <c:pt idx="8">
                  <c:v>29</c:v>
                </c:pt>
                <c:pt idx="9">
                  <c:v>33</c:v>
                </c:pt>
                <c:pt idx="10">
                  <c:v>33</c:v>
                </c:pt>
                <c:pt idx="11">
                  <c:v>36</c:v>
                </c:pt>
                <c:pt idx="12">
                  <c:v>37</c:v>
                </c:pt>
                <c:pt idx="13">
                  <c:v>38</c:v>
                </c:pt>
                <c:pt idx="14">
                  <c:v>40</c:v>
                </c:pt>
                <c:pt idx="15">
                  <c:v>41</c:v>
                </c:pt>
                <c:pt idx="16">
                  <c:v>50</c:v>
                </c:pt>
                <c:pt idx="17">
                  <c:v>56</c:v>
                </c:pt>
                <c:pt idx="18">
                  <c:v>60</c:v>
                </c:pt>
                <c:pt idx="19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97-43AF-9CAB-B584AD7A40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06159104"/>
        <c:axId val="106177280"/>
      </c:barChart>
      <c:catAx>
        <c:axId val="1061591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77280"/>
        <c:crosses val="autoZero"/>
        <c:auto val="1"/>
        <c:lblAlgn val="ctr"/>
        <c:lblOffset val="100"/>
        <c:noMultiLvlLbl val="0"/>
      </c:catAx>
      <c:valAx>
        <c:axId val="106177280"/>
        <c:scaling>
          <c:orientation val="minMax"/>
          <c:max val="100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59104"/>
        <c:crosses val="autoZero"/>
        <c:crossBetween val="between"/>
        <c:majorUnit val="2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86667099153931138"/>
          <c:y val="0.26784349901848054"/>
          <c:w val="0.10135265365196815"/>
          <c:h val="0.10175931100753996"/>
        </c:manualLayout>
      </c:layout>
      <c:overlay val="0"/>
      <c:spPr>
        <a:noFill/>
        <a:ln w="3175">
          <a:noFill/>
          <a:prstDash val="solid"/>
        </a:ln>
      </c:spPr>
      <c:txPr>
        <a:bodyPr/>
        <a:lstStyle/>
        <a:p>
          <a:pPr>
            <a:defRPr sz="1400"/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Arial"/>
          <a:cs typeface="Arial" panose="020B0604020202020204" pitchFamily="34" charset="0"/>
        </a:defRPr>
      </a:pPr>
      <a:endParaRPr lang="nb-NO"/>
    </a:p>
  </c:txPr>
  <c:externalData r:id="rId2">
    <c:autoUpdate val="0"/>
  </c:externalData>
  <c:userShapes r:id="rId3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36411445187689612"/>
          <c:y val="3.0451332245785754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6.631471362579687E-2"/>
          <c:y val="8.2343279683840503E-2"/>
          <c:w val="0.65293155031978511"/>
          <c:h val="0.84624731859577906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Fotturer i skog og mark</c:v>
                </c:pt>
              </c:strCache>
            </c:strRef>
          </c:tx>
          <c:spPr>
            <a:ln w="28575">
              <a:solidFill>
                <a:srgbClr val="FF66CC"/>
              </a:solidFill>
            </a:ln>
          </c:spPr>
          <c:marker>
            <c:symbol val="none"/>
          </c:marker>
          <c:dLbls>
            <c:dLbl>
              <c:idx val="11"/>
              <c:layout>
                <c:manualLayout>
                  <c:x val="-3.7678820882663696E-3"/>
                  <c:y val="-2.43158966095475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A4C9-4375-8211-2A24595FFE2E}"/>
                </c:ext>
              </c:extLst>
            </c:dLbl>
            <c:dLbl>
              <c:idx val="12"/>
              <c:layout>
                <c:manualLayout>
                  <c:x val="-1.2770344986518281E-2"/>
                  <c:y val="-1.88865054184703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750-4957-9906-2B599089DE3F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C$1:$O$1</c:f>
              <c:numCache>
                <c:formatCode>General</c:formatCode>
                <c:ptCount val="13"/>
                <c:pt idx="0">
                  <c:v>1995</c:v>
                </c:pt>
                <c:pt idx="1">
                  <c:v>1997</c:v>
                </c:pt>
                <c:pt idx="2">
                  <c:v>1999</c:v>
                </c:pt>
                <c:pt idx="3">
                  <c:v>2001</c:v>
                </c:pt>
                <c:pt idx="4">
                  <c:v>2003</c:v>
                </c:pt>
                <c:pt idx="5">
                  <c:v>2005</c:v>
                </c:pt>
                <c:pt idx="6">
                  <c:v>2007</c:v>
                </c:pt>
                <c:pt idx="7">
                  <c:v>2009</c:v>
                </c:pt>
                <c:pt idx="8">
                  <c:v>2011</c:v>
                </c:pt>
                <c:pt idx="9">
                  <c:v>2013</c:v>
                </c:pt>
                <c:pt idx="10">
                  <c:v>2015</c:v>
                </c:pt>
                <c:pt idx="11">
                  <c:v>2017</c:v>
                </c:pt>
                <c:pt idx="12">
                  <c:v>2019</c:v>
                </c:pt>
              </c:numCache>
            </c:numRef>
          </c:cat>
          <c:val>
            <c:numRef>
              <c:f>Sheet1!$C$2:$O$2</c:f>
              <c:numCache>
                <c:formatCode>General</c:formatCode>
                <c:ptCount val="13"/>
                <c:pt idx="0">
                  <c:v>43.5</c:v>
                </c:pt>
                <c:pt idx="1">
                  <c:v>50.9</c:v>
                </c:pt>
                <c:pt idx="2">
                  <c:v>54.4</c:v>
                </c:pt>
                <c:pt idx="3">
                  <c:v>55.5</c:v>
                </c:pt>
                <c:pt idx="4">
                  <c:v>57.5</c:v>
                </c:pt>
                <c:pt idx="5">
                  <c:v>61.2</c:v>
                </c:pt>
                <c:pt idx="6">
                  <c:v>60.5</c:v>
                </c:pt>
                <c:pt idx="7">
                  <c:v>61.9</c:v>
                </c:pt>
                <c:pt idx="8">
                  <c:v>61.3</c:v>
                </c:pt>
                <c:pt idx="9">
                  <c:v>63.3</c:v>
                </c:pt>
                <c:pt idx="10">
                  <c:v>61.9</c:v>
                </c:pt>
                <c:pt idx="11">
                  <c:v>58.8</c:v>
                </c:pt>
                <c:pt idx="12">
                  <c:v>59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EC-42CE-8C9C-B9974F4576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6861312"/>
        <c:axId val="106862848"/>
      </c:lineChart>
      <c:catAx>
        <c:axId val="1068613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06862848"/>
        <c:crosses val="autoZero"/>
        <c:auto val="1"/>
        <c:lblAlgn val="ctr"/>
        <c:lblOffset val="100"/>
        <c:noMultiLvlLbl val="0"/>
      </c:catAx>
      <c:valAx>
        <c:axId val="106862848"/>
        <c:scaling>
          <c:orientation val="minMax"/>
          <c:max val="70"/>
          <c:min val="0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106861312"/>
        <c:crosses val="autoZero"/>
        <c:crossBetween val="between"/>
        <c:majorUnit val="10"/>
        <c:minorUnit val="2"/>
      </c:valAx>
    </c:plotArea>
    <c:legend>
      <c:legendPos val="r"/>
      <c:layout>
        <c:manualLayout>
          <c:xMode val="edge"/>
          <c:yMode val="edge"/>
          <c:x val="0.75624609680295929"/>
          <c:y val="7.4400077749321392E-2"/>
          <c:w val="0.23269127232793355"/>
          <c:h val="0.71042509649711216"/>
        </c:manualLayout>
      </c:layout>
      <c:overlay val="1"/>
      <c:spPr>
        <a:ln>
          <a:solidFill>
            <a:schemeClr val="bg1"/>
          </a:solidFill>
        </a:ln>
      </c:spPr>
      <c:txPr>
        <a:bodyPr/>
        <a:lstStyle/>
        <a:p>
          <a:pPr>
            <a:defRPr sz="1200"/>
          </a:pPr>
          <a:endParaRPr lang="nb-NO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nb-NO"/>
    </a:p>
  </c:txPr>
  <c:externalData r:id="rId2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4497196204867257"/>
          <c:y val="4.6937049532138633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6.4111279819561648E-2"/>
          <c:y val="3.4071246991747829E-2"/>
          <c:w val="0.71566131047679471"/>
          <c:h val="0.82232120220260463"/>
        </c:manualLayout>
      </c:layout>
      <c:lineChart>
        <c:grouping val="standar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Styrketrening</c:v>
                </c:pt>
              </c:strCache>
            </c:strRef>
          </c:tx>
          <c:spPr>
            <a:ln w="28575">
              <a:solidFill>
                <a:srgbClr val="FF66CC"/>
              </a:solidFill>
            </a:ln>
          </c:spPr>
          <c:marker>
            <c:symbol val="none"/>
          </c:marker>
          <c:dLbls>
            <c:dLbl>
              <c:idx val="11"/>
              <c:layout>
                <c:manualLayout>
                  <c:x val="-2.6688368156562288E-2"/>
                  <c:y val="-3.99615797869271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A4C9-4375-8211-2A24595FFE2E}"/>
                </c:ext>
              </c:extLst>
            </c:dLbl>
            <c:dLbl>
              <c:idx val="12"/>
              <c:layout>
                <c:manualLayout>
                  <c:x val="-2.0533496961637764E-2"/>
                  <c:y val="-3.84623044777247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750-4957-9906-2B599089DE3F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C$1:$O$1</c:f>
              <c:numCache>
                <c:formatCode>General</c:formatCode>
                <c:ptCount val="13"/>
                <c:pt idx="0">
                  <c:v>1995</c:v>
                </c:pt>
                <c:pt idx="1">
                  <c:v>1997</c:v>
                </c:pt>
                <c:pt idx="2">
                  <c:v>1999</c:v>
                </c:pt>
                <c:pt idx="3">
                  <c:v>2001</c:v>
                </c:pt>
                <c:pt idx="4">
                  <c:v>2003</c:v>
                </c:pt>
                <c:pt idx="5">
                  <c:v>2005</c:v>
                </c:pt>
                <c:pt idx="6">
                  <c:v>2007</c:v>
                </c:pt>
                <c:pt idx="7">
                  <c:v>2009</c:v>
                </c:pt>
                <c:pt idx="8">
                  <c:v>2011</c:v>
                </c:pt>
                <c:pt idx="9">
                  <c:v>2013</c:v>
                </c:pt>
                <c:pt idx="10">
                  <c:v>2015</c:v>
                </c:pt>
                <c:pt idx="11">
                  <c:v>2017</c:v>
                </c:pt>
                <c:pt idx="12">
                  <c:v>2019</c:v>
                </c:pt>
              </c:numCache>
            </c:numRef>
          </c:cat>
          <c:val>
            <c:numRef>
              <c:f>Sheet1!$C$3:$O$3</c:f>
              <c:numCache>
                <c:formatCode>General</c:formatCode>
                <c:ptCount val="13"/>
                <c:pt idx="0">
                  <c:v>9</c:v>
                </c:pt>
                <c:pt idx="1">
                  <c:v>13.8</c:v>
                </c:pt>
                <c:pt idx="2">
                  <c:v>13.9</c:v>
                </c:pt>
                <c:pt idx="3">
                  <c:v>14.3</c:v>
                </c:pt>
                <c:pt idx="4">
                  <c:v>17.600000000000001</c:v>
                </c:pt>
                <c:pt idx="5">
                  <c:v>23.4</c:v>
                </c:pt>
                <c:pt idx="6">
                  <c:v>27.8</c:v>
                </c:pt>
                <c:pt idx="7">
                  <c:v>32.200000000000003</c:v>
                </c:pt>
                <c:pt idx="8">
                  <c:v>35.5</c:v>
                </c:pt>
                <c:pt idx="9">
                  <c:v>36.1</c:v>
                </c:pt>
                <c:pt idx="10">
                  <c:v>37.6</c:v>
                </c:pt>
                <c:pt idx="11">
                  <c:v>41.2</c:v>
                </c:pt>
                <c:pt idx="12">
                  <c:v>43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EC-42CE-8C9C-B9974F4576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6861312"/>
        <c:axId val="106862848"/>
      </c:lineChart>
      <c:catAx>
        <c:axId val="1068613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06862848"/>
        <c:crosses val="autoZero"/>
        <c:auto val="1"/>
        <c:lblAlgn val="ctr"/>
        <c:lblOffset val="100"/>
        <c:noMultiLvlLbl val="0"/>
      </c:catAx>
      <c:valAx>
        <c:axId val="106862848"/>
        <c:scaling>
          <c:orientation val="minMax"/>
          <c:max val="50"/>
          <c:min val="0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106861312"/>
        <c:crosses val="autoZero"/>
        <c:crossBetween val="between"/>
        <c:majorUnit val="10"/>
        <c:minorUnit val="2"/>
      </c:valAx>
    </c:plotArea>
    <c:legend>
      <c:legendPos val="r"/>
      <c:layout>
        <c:manualLayout>
          <c:xMode val="edge"/>
          <c:yMode val="edge"/>
          <c:x val="0.75624609680295929"/>
          <c:y val="7.4400077749321392E-2"/>
          <c:w val="0.23269127232793355"/>
          <c:h val="0.13675004665986229"/>
        </c:manualLayout>
      </c:layout>
      <c:overlay val="1"/>
      <c:spPr>
        <a:ln>
          <a:solidFill>
            <a:schemeClr val="bg1"/>
          </a:solidFill>
        </a:ln>
      </c:spPr>
      <c:txPr>
        <a:bodyPr/>
        <a:lstStyle/>
        <a:p>
          <a:pPr>
            <a:defRPr sz="1200"/>
          </a:pPr>
          <a:endParaRPr lang="nb-NO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nb-NO"/>
    </a:p>
  </c:txPr>
  <c:externalData r:id="rId2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4111279819561648E-2"/>
          <c:y val="5.493215789492055E-2"/>
          <c:w val="0.65293155031978511"/>
          <c:h val="0.82232120220260463"/>
        </c:manualLayout>
      </c:layout>
      <c:lineChart>
        <c:grouping val="standard"/>
        <c:varyColors val="0"/>
        <c:ser>
          <c:idx val="1"/>
          <c:order val="0"/>
          <c:tx>
            <c:strRef>
              <c:f>Sheet1!$A$3</c:f>
              <c:strCache>
                <c:ptCount val="1"/>
                <c:pt idx="0">
                  <c:v>Fotturer på fjell og vidde</c:v>
                </c:pt>
              </c:strCache>
            </c:strRef>
          </c:tx>
          <c:spPr>
            <a:ln w="28575">
              <a:solidFill>
                <a:srgbClr val="009999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1.9373851541101828E-2"/>
                  <c:y val="5.8671311915173292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8E1-419D-AA47-E6FEFD92E52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FF7-4CB6-99E0-C2BBAF7E7CE4}"/>
                </c:ext>
              </c:extLst>
            </c:dLbl>
            <c:dLbl>
              <c:idx val="6"/>
              <c:layout>
                <c:manualLayout>
                  <c:x val="-1.9832495642890427E-2"/>
                  <c:y val="-2.17082827466510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BFF7-4CB6-99E0-C2BBAF7E7CE4}"/>
                </c:ext>
              </c:extLst>
            </c:dLbl>
            <c:dLbl>
              <c:idx val="7"/>
              <c:layout>
                <c:manualLayout>
                  <c:x val="-2.1292915056947265E-2"/>
                  <c:y val="-2.17082827466510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E8B-4B89-995E-ECCE14987B7E}"/>
                </c:ext>
              </c:extLst>
            </c:dLbl>
            <c:dLbl>
              <c:idx val="8"/>
              <c:layout>
                <c:manualLayout>
                  <c:x val="-2.1292915056947265E-2"/>
                  <c:y val="-2.69235104724441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E8B-4B89-995E-ECCE14987B7E}"/>
                </c:ext>
              </c:extLst>
            </c:dLbl>
            <c:dLbl>
              <c:idx val="11"/>
              <c:layout>
                <c:manualLayout>
                  <c:x val="-5.2283049613424401E-3"/>
                  <c:y val="-4.7784421375616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A4C9-4375-8211-2A24595FFE2E}"/>
                </c:ext>
              </c:extLst>
            </c:dLbl>
            <c:dLbl>
              <c:idx val="12"/>
              <c:layout>
                <c:manualLayout>
                  <c:x val="-1.5898161943331376E-2"/>
                  <c:y val="-5.41079876551043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B49-4D84-8671-FE828F9E67E4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C$1:$O$1</c:f>
              <c:numCache>
                <c:formatCode>General</c:formatCode>
                <c:ptCount val="13"/>
                <c:pt idx="0">
                  <c:v>1995</c:v>
                </c:pt>
                <c:pt idx="1">
                  <c:v>1997</c:v>
                </c:pt>
                <c:pt idx="2">
                  <c:v>1999</c:v>
                </c:pt>
                <c:pt idx="3">
                  <c:v>2001</c:v>
                </c:pt>
                <c:pt idx="4">
                  <c:v>2003</c:v>
                </c:pt>
                <c:pt idx="5">
                  <c:v>2005</c:v>
                </c:pt>
                <c:pt idx="6">
                  <c:v>2007</c:v>
                </c:pt>
                <c:pt idx="7">
                  <c:v>2009</c:v>
                </c:pt>
                <c:pt idx="8">
                  <c:v>2011</c:v>
                </c:pt>
                <c:pt idx="9">
                  <c:v>2013</c:v>
                </c:pt>
                <c:pt idx="10">
                  <c:v>2015</c:v>
                </c:pt>
                <c:pt idx="11">
                  <c:v>2017</c:v>
                </c:pt>
                <c:pt idx="12">
                  <c:v>2019</c:v>
                </c:pt>
              </c:numCache>
            </c:numRef>
          </c:cat>
          <c:val>
            <c:numRef>
              <c:f>Sheet1!$C$3:$O$3</c:f>
              <c:numCache>
                <c:formatCode>0</c:formatCode>
                <c:ptCount val="13"/>
                <c:pt idx="0">
                  <c:v>18.2</c:v>
                </c:pt>
                <c:pt idx="1">
                  <c:v>21.1</c:v>
                </c:pt>
                <c:pt idx="2">
                  <c:v>23.1</c:v>
                </c:pt>
                <c:pt idx="3">
                  <c:v>24.1</c:v>
                </c:pt>
                <c:pt idx="4">
                  <c:v>23.4</c:v>
                </c:pt>
                <c:pt idx="5">
                  <c:v>27</c:v>
                </c:pt>
                <c:pt idx="6">
                  <c:v>26.3</c:v>
                </c:pt>
                <c:pt idx="7">
                  <c:v>27.1</c:v>
                </c:pt>
                <c:pt idx="8">
                  <c:v>30.2</c:v>
                </c:pt>
                <c:pt idx="9">
                  <c:v>31</c:v>
                </c:pt>
                <c:pt idx="10">
                  <c:v>31.6</c:v>
                </c:pt>
                <c:pt idx="11">
                  <c:v>34.200000000000003</c:v>
                </c:pt>
                <c:pt idx="12">
                  <c:v>36.2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DEC-42CE-8C9C-B9974F45766F}"/>
            </c:ext>
          </c:extLst>
        </c:ser>
        <c:ser>
          <c:idx val="2"/>
          <c:order val="1"/>
          <c:tx>
            <c:strRef>
              <c:f>Sheet1!$A$4</c:f>
              <c:strCache>
                <c:ptCount val="1"/>
                <c:pt idx="0">
                  <c:v>Skiturer i skog og fjell</c:v>
                </c:pt>
              </c:strCache>
            </c:strRef>
          </c:tx>
          <c:spPr>
            <a:ln w="28575">
              <a:solidFill>
                <a:srgbClr val="1B365D"/>
              </a:solidFill>
              <a:prstDash val="solid"/>
            </a:ln>
          </c:spPr>
          <c:marker>
            <c:symbol val="none"/>
          </c:marker>
          <c:dLbls>
            <c:dLbl>
              <c:idx val="2"/>
              <c:layout>
                <c:manualLayout>
                  <c:x val="-2.1292915056947186E-2"/>
                  <c:y val="-2.43158966095476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FF7-4CB6-99E0-C2BBAF7E7CE4}"/>
                </c:ext>
              </c:extLst>
            </c:dLbl>
            <c:dLbl>
              <c:idx val="3"/>
              <c:layout>
                <c:manualLayout>
                  <c:x val="-2.1292915056947158E-2"/>
                  <c:y val="-2.17082827466510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E8B-4B89-995E-ECCE14987B7E}"/>
                </c:ext>
              </c:extLst>
            </c:dLbl>
            <c:dLbl>
              <c:idx val="4"/>
              <c:layout>
                <c:manualLayout>
                  <c:x val="-2.129291505694721E-2"/>
                  <c:y val="-1.91006688837544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E8B-4B89-995E-ECCE14987B7E}"/>
                </c:ext>
              </c:extLst>
            </c:dLbl>
            <c:dLbl>
              <c:idx val="5"/>
              <c:layout>
                <c:manualLayout>
                  <c:x val="-1.8372076228833693E-2"/>
                  <c:y val="9.583083608108077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E8B-4B89-995E-ECCE14987B7E}"/>
                </c:ext>
              </c:extLst>
            </c:dLbl>
            <c:dLbl>
              <c:idx val="6"/>
              <c:layout>
                <c:manualLayout>
                  <c:x val="-1.1069979158550085E-2"/>
                  <c:y val="4.3678558823148006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B73E-4DCA-9CF5-43D753623F26}"/>
                </c:ext>
              </c:extLst>
            </c:dLbl>
            <c:dLbl>
              <c:idx val="7"/>
              <c:layout>
                <c:manualLayout>
                  <c:x val="-2.1292915056947265E-2"/>
                  <c:y val="-2.43158966095476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FF7-4CB6-99E0-C2BBAF7E7CE4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E8B-4B89-995E-ECCE14987B7E}"/>
                </c:ext>
              </c:extLst>
            </c:dLbl>
            <c:dLbl>
              <c:idx val="9"/>
              <c:layout>
                <c:manualLayout>
                  <c:x val="-2.1292915056947158E-2"/>
                  <c:y val="-1.38854411579612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A4C9-4375-8211-2A24595FFE2E}"/>
                </c:ext>
              </c:extLst>
            </c:dLbl>
            <c:dLbl>
              <c:idx val="10"/>
              <c:layout>
                <c:manualLayout>
                  <c:x val="-2.1292915056947158E-2"/>
                  <c:y val="-2.17082827466511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A4C9-4375-8211-2A24595FFE2E}"/>
                </c:ext>
              </c:extLst>
            </c:dLbl>
            <c:dLbl>
              <c:idx val="11"/>
              <c:layout>
                <c:manualLayout>
                  <c:x val="-1.5451237400720335E-2"/>
                  <c:y val="-2.69235104724441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A4C9-4375-8211-2A24595FFE2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C$1:$O$1</c:f>
              <c:numCache>
                <c:formatCode>General</c:formatCode>
                <c:ptCount val="13"/>
                <c:pt idx="0">
                  <c:v>1995</c:v>
                </c:pt>
                <c:pt idx="1">
                  <c:v>1997</c:v>
                </c:pt>
                <c:pt idx="2">
                  <c:v>1999</c:v>
                </c:pt>
                <c:pt idx="3">
                  <c:v>2001</c:v>
                </c:pt>
                <c:pt idx="4">
                  <c:v>2003</c:v>
                </c:pt>
                <c:pt idx="5">
                  <c:v>2005</c:v>
                </c:pt>
                <c:pt idx="6">
                  <c:v>2007</c:v>
                </c:pt>
                <c:pt idx="7">
                  <c:v>2009</c:v>
                </c:pt>
                <c:pt idx="8">
                  <c:v>2011</c:v>
                </c:pt>
                <c:pt idx="9">
                  <c:v>2013</c:v>
                </c:pt>
                <c:pt idx="10">
                  <c:v>2015</c:v>
                </c:pt>
                <c:pt idx="11">
                  <c:v>2017</c:v>
                </c:pt>
                <c:pt idx="12">
                  <c:v>2019</c:v>
                </c:pt>
              </c:numCache>
            </c:numRef>
          </c:cat>
          <c:val>
            <c:numRef>
              <c:f>Sheet1!$C$4:$O$4</c:f>
              <c:numCache>
                <c:formatCode>0</c:formatCode>
                <c:ptCount val="13"/>
                <c:pt idx="0">
                  <c:v>26.8</c:v>
                </c:pt>
                <c:pt idx="1">
                  <c:v>34.6</c:v>
                </c:pt>
                <c:pt idx="2">
                  <c:v>30.4</c:v>
                </c:pt>
                <c:pt idx="3">
                  <c:v>28.4</c:v>
                </c:pt>
                <c:pt idx="4">
                  <c:v>30.1</c:v>
                </c:pt>
                <c:pt idx="5">
                  <c:v>31.8</c:v>
                </c:pt>
                <c:pt idx="6">
                  <c:v>32.4</c:v>
                </c:pt>
                <c:pt idx="7">
                  <c:v>32.4</c:v>
                </c:pt>
                <c:pt idx="8">
                  <c:v>37.700000000000003</c:v>
                </c:pt>
                <c:pt idx="9">
                  <c:v>37</c:v>
                </c:pt>
                <c:pt idx="10">
                  <c:v>33.799999999999997</c:v>
                </c:pt>
                <c:pt idx="11">
                  <c:v>29.6</c:v>
                </c:pt>
                <c:pt idx="12">
                  <c:v>32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73E-4DCA-9CF5-43D753623F26}"/>
            </c:ext>
          </c:extLst>
        </c:ser>
        <c:ser>
          <c:idx val="3"/>
          <c:order val="2"/>
          <c:tx>
            <c:strRef>
              <c:f>Sheet1!$A$5</c:f>
              <c:strCache>
                <c:ptCount val="1"/>
                <c:pt idx="0">
                  <c:v>Jogging i mosjonshensikt</c:v>
                </c:pt>
              </c:strCache>
            </c:strRef>
          </c:tx>
          <c:spPr>
            <a:ln w="28575">
              <a:solidFill>
                <a:srgbClr val="E87722"/>
              </a:solidFill>
              <a:prstDash val="solid"/>
            </a:ln>
          </c:spPr>
          <c:marker>
            <c:symbol val="none"/>
          </c:marker>
          <c:dLbls>
            <c:dLbl>
              <c:idx val="1"/>
              <c:layout>
                <c:manualLayout>
                  <c:x val="-2.1292915056947158E-2"/>
                  <c:y val="9.5830836081079816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FF7-4CB6-99E0-C2BBAF7E7CE4}"/>
                </c:ext>
              </c:extLst>
            </c:dLbl>
            <c:dLbl>
              <c:idx val="2"/>
              <c:layout>
                <c:manualLayout>
                  <c:x val="-2.4176035966335378E-2"/>
                  <c:y val="-1.88188617950279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5208297206160165E-2"/>
                      <c:h val="5.067558758061273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BFF7-4CB6-99E0-C2BBAF7E7CE4}"/>
                </c:ext>
              </c:extLst>
            </c:dLbl>
            <c:dLbl>
              <c:idx val="4"/>
              <c:layout>
                <c:manualLayout>
                  <c:x val="-2.129291505694721E-2"/>
                  <c:y val="-2.43158966095476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FF7-4CB6-99E0-C2BBAF7E7CE4}"/>
                </c:ext>
              </c:extLst>
            </c:dLbl>
            <c:dLbl>
              <c:idx val="6"/>
              <c:layout>
                <c:manualLayout>
                  <c:x val="-1.9832495642890427E-2"/>
                  <c:y val="-2.17082827466510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FF7-4CB6-99E0-C2BBAF7E7CE4}"/>
                </c:ext>
              </c:extLst>
            </c:dLbl>
            <c:dLbl>
              <c:idx val="7"/>
              <c:layout>
                <c:manualLayout>
                  <c:x val="-2.1292915056947265E-2"/>
                  <c:y val="9.5830836081079816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B73E-4DCA-9CF5-43D753623F26}"/>
                </c:ext>
              </c:extLst>
            </c:dLbl>
            <c:dLbl>
              <c:idx val="8"/>
              <c:layout>
                <c:manualLayout>
                  <c:x val="-1.9832495642890427E-2"/>
                  <c:y val="-2.17082827466510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B73E-4DCA-9CF5-43D753623F26}"/>
                </c:ext>
              </c:extLst>
            </c:dLbl>
            <c:dLbl>
              <c:idx val="9"/>
              <c:layout>
                <c:manualLayout>
                  <c:x val="-2.1292915056947158E-2"/>
                  <c:y val="-1.649305502085783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A4C9-4375-8211-2A24595FFE2E}"/>
                </c:ext>
              </c:extLst>
            </c:dLbl>
            <c:dLbl>
              <c:idx val="10"/>
              <c:layout>
                <c:manualLayout>
                  <c:x val="-2.4213753885060623E-2"/>
                  <c:y val="2.262115292259093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A4C9-4375-8211-2A24595FFE2E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A4C9-4375-8211-2A24595FFE2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C$1:$O$1</c:f>
              <c:numCache>
                <c:formatCode>General</c:formatCode>
                <c:ptCount val="13"/>
                <c:pt idx="0">
                  <c:v>1995</c:v>
                </c:pt>
                <c:pt idx="1">
                  <c:v>1997</c:v>
                </c:pt>
                <c:pt idx="2">
                  <c:v>1999</c:v>
                </c:pt>
                <c:pt idx="3">
                  <c:v>2001</c:v>
                </c:pt>
                <c:pt idx="4">
                  <c:v>2003</c:v>
                </c:pt>
                <c:pt idx="5">
                  <c:v>2005</c:v>
                </c:pt>
                <c:pt idx="6">
                  <c:v>2007</c:v>
                </c:pt>
                <c:pt idx="7">
                  <c:v>2009</c:v>
                </c:pt>
                <c:pt idx="8">
                  <c:v>2011</c:v>
                </c:pt>
                <c:pt idx="9">
                  <c:v>2013</c:v>
                </c:pt>
                <c:pt idx="10">
                  <c:v>2015</c:v>
                </c:pt>
                <c:pt idx="11">
                  <c:v>2017</c:v>
                </c:pt>
                <c:pt idx="12">
                  <c:v>2019</c:v>
                </c:pt>
              </c:numCache>
            </c:numRef>
          </c:cat>
          <c:val>
            <c:numRef>
              <c:f>Sheet1!$C$5:$O$5</c:f>
              <c:numCache>
                <c:formatCode>0</c:formatCode>
                <c:ptCount val="13"/>
                <c:pt idx="0">
                  <c:v>19.2</c:v>
                </c:pt>
                <c:pt idx="1">
                  <c:v>29.9</c:v>
                </c:pt>
                <c:pt idx="2">
                  <c:v>19.600000000000001</c:v>
                </c:pt>
                <c:pt idx="3">
                  <c:v>18.399999999999999</c:v>
                </c:pt>
                <c:pt idx="4">
                  <c:v>18.7</c:v>
                </c:pt>
                <c:pt idx="5">
                  <c:v>21.2</c:v>
                </c:pt>
                <c:pt idx="6">
                  <c:v>22.1</c:v>
                </c:pt>
                <c:pt idx="7">
                  <c:v>26.3</c:v>
                </c:pt>
                <c:pt idx="8">
                  <c:v>28.3</c:v>
                </c:pt>
                <c:pt idx="9">
                  <c:v>31.7</c:v>
                </c:pt>
                <c:pt idx="10">
                  <c:v>31.9</c:v>
                </c:pt>
                <c:pt idx="11">
                  <c:v>30.5</c:v>
                </c:pt>
                <c:pt idx="12">
                  <c:v>31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73E-4DCA-9CF5-43D753623F26}"/>
            </c:ext>
          </c:extLst>
        </c:ser>
        <c:ser>
          <c:idx val="4"/>
          <c:order val="3"/>
          <c:tx>
            <c:strRef>
              <c:f>Sheet1!$A$6</c:f>
              <c:strCache>
                <c:ptCount val="1"/>
                <c:pt idx="0">
                  <c:v>Sykling til jobb og på tur</c:v>
                </c:pt>
              </c:strCache>
            </c:strRef>
          </c:tx>
          <c:spPr>
            <a:ln w="28575">
              <a:solidFill>
                <a:srgbClr val="00B050"/>
              </a:solidFill>
            </a:ln>
          </c:spPr>
          <c:marker>
            <c:symbol val="none"/>
          </c:marker>
          <c:dLbls>
            <c:dLbl>
              <c:idx val="1"/>
              <c:layout>
                <c:manualLayout>
                  <c:x val="-2.2753334471003889E-2"/>
                  <c:y val="-2.69235104724441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4C9-4375-8211-2A24595FFE2E}"/>
                </c:ext>
              </c:extLst>
            </c:dLbl>
            <c:dLbl>
              <c:idx val="2"/>
              <c:layout>
                <c:manualLayout>
                  <c:x val="-2.1292915056947186E-2"/>
                  <c:y val="-2.17082827466511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4C9-4375-8211-2A24595FFE2E}"/>
                </c:ext>
              </c:extLst>
            </c:dLbl>
            <c:dLbl>
              <c:idx val="3"/>
              <c:layout>
                <c:manualLayout>
                  <c:x val="-1.6911656814777014E-2"/>
                  <c:y val="-2.69235104724441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4C9-4375-8211-2A24595FFE2E}"/>
                </c:ext>
              </c:extLst>
            </c:dLbl>
            <c:dLbl>
              <c:idx val="4"/>
              <c:layout>
                <c:manualLayout>
                  <c:x val="-2.129291505694721E-2"/>
                  <c:y val="-2.17082827466510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4C9-4375-8211-2A24595FFE2E}"/>
                </c:ext>
              </c:extLst>
            </c:dLbl>
            <c:dLbl>
              <c:idx val="5"/>
              <c:layout>
                <c:manualLayout>
                  <c:x val="-2.1292915056947158E-2"/>
                  <c:y val="-2.17082827466510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4C9-4375-8211-2A24595FFE2E}"/>
                </c:ext>
              </c:extLst>
            </c:dLbl>
            <c:dLbl>
              <c:idx val="6"/>
              <c:layout>
                <c:manualLayout>
                  <c:x val="-1.9832495642890427E-2"/>
                  <c:y val="1.74059251967978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4C9-4375-8211-2A24595FFE2E}"/>
                </c:ext>
              </c:extLst>
            </c:dLbl>
            <c:dLbl>
              <c:idx val="7"/>
              <c:layout>
                <c:manualLayout>
                  <c:x val="-1.9832495642890427E-2"/>
                  <c:y val="9.583083608108077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4C9-4375-8211-2A24595FFE2E}"/>
                </c:ext>
              </c:extLst>
            </c:dLbl>
            <c:dLbl>
              <c:idx val="8"/>
              <c:layout>
                <c:manualLayout>
                  <c:x val="-2.1292915056947265E-2"/>
                  <c:y val="9.5830836081079816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4C9-4375-8211-2A24595FFE2E}"/>
                </c:ext>
              </c:extLst>
            </c:dLbl>
            <c:dLbl>
              <c:idx val="9"/>
              <c:layout>
                <c:manualLayout>
                  <c:x val="-2.1292915056947158E-2"/>
                  <c:y val="1.21906974710046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A4C9-4375-8211-2A24595FFE2E}"/>
                </c:ext>
              </c:extLst>
            </c:dLbl>
            <c:dLbl>
              <c:idx val="10"/>
              <c:layout>
                <c:manualLayout>
                  <c:x val="-2.1292915056947158E-2"/>
                  <c:y val="-2.69235104724441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A4C9-4375-8211-2A24595FFE2E}"/>
                </c:ext>
              </c:extLst>
            </c:dLbl>
            <c:dLbl>
              <c:idx val="11"/>
              <c:layout>
                <c:manualLayout>
                  <c:x val="-5.2283015023231018E-3"/>
                  <c:y val="6.9754697452114869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A4C9-4375-8211-2A24595FFE2E}"/>
                </c:ext>
              </c:extLst>
            </c:dLbl>
            <c:dLbl>
              <c:idx val="12"/>
              <c:layout>
                <c:manualLayout>
                  <c:x val="-8.8501416491837976E-3"/>
                  <c:y val="-7.1709381229656246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B49-4D84-8671-FE828F9E67E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C$1:$O$1</c:f>
              <c:numCache>
                <c:formatCode>General</c:formatCode>
                <c:ptCount val="13"/>
                <c:pt idx="0">
                  <c:v>1995</c:v>
                </c:pt>
                <c:pt idx="1">
                  <c:v>1997</c:v>
                </c:pt>
                <c:pt idx="2">
                  <c:v>1999</c:v>
                </c:pt>
                <c:pt idx="3">
                  <c:v>2001</c:v>
                </c:pt>
                <c:pt idx="4">
                  <c:v>2003</c:v>
                </c:pt>
                <c:pt idx="5">
                  <c:v>2005</c:v>
                </c:pt>
                <c:pt idx="6">
                  <c:v>2007</c:v>
                </c:pt>
                <c:pt idx="7">
                  <c:v>2009</c:v>
                </c:pt>
                <c:pt idx="8">
                  <c:v>2011</c:v>
                </c:pt>
                <c:pt idx="9">
                  <c:v>2013</c:v>
                </c:pt>
                <c:pt idx="10">
                  <c:v>2015</c:v>
                </c:pt>
                <c:pt idx="11">
                  <c:v>2017</c:v>
                </c:pt>
                <c:pt idx="12">
                  <c:v>2019</c:v>
                </c:pt>
              </c:numCache>
            </c:numRef>
          </c:cat>
          <c:val>
            <c:numRef>
              <c:f>Sheet1!$C$6:$O$6</c:f>
              <c:numCache>
                <c:formatCode>General</c:formatCode>
                <c:ptCount val="13"/>
                <c:pt idx="6" formatCode="0">
                  <c:v>29.2</c:v>
                </c:pt>
                <c:pt idx="7" formatCode="0">
                  <c:v>28.7</c:v>
                </c:pt>
                <c:pt idx="8" formatCode="0">
                  <c:v>28.1</c:v>
                </c:pt>
                <c:pt idx="9" formatCode="0">
                  <c:v>29.4</c:v>
                </c:pt>
                <c:pt idx="10" formatCode="0">
                  <c:v>27.2</c:v>
                </c:pt>
                <c:pt idx="11" formatCode="0">
                  <c:v>24.6</c:v>
                </c:pt>
                <c:pt idx="12" formatCode="0">
                  <c:v>25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9CE-4F76-8DFF-5006FB1CDE7A}"/>
            </c:ext>
          </c:extLst>
        </c:ser>
        <c:ser>
          <c:idx val="5"/>
          <c:order val="4"/>
          <c:tx>
            <c:strRef>
              <c:f>Sheet1!$A$7</c:f>
              <c:strCache>
                <c:ptCount val="1"/>
                <c:pt idx="0">
                  <c:v>Langrenn</c:v>
                </c:pt>
              </c:strCache>
            </c:strRef>
          </c:tx>
          <c:spPr>
            <a:ln w="28575">
              <a:solidFill>
                <a:srgbClr val="FF0000"/>
              </a:solidFill>
            </a:ln>
          </c:spPr>
          <c:marker>
            <c:symbol val="none"/>
          </c:marker>
          <c:dLbls>
            <c:dLbl>
              <c:idx val="11"/>
              <c:layout>
                <c:manualLayout>
                  <c:x val="-3.7678820882663696E-3"/>
                  <c:y val="8.6704187560942714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A4C9-4375-8211-2A24595FFE2E}"/>
                </c:ext>
              </c:extLst>
            </c:dLbl>
            <c:dLbl>
              <c:idx val="12"/>
              <c:layout>
                <c:manualLayout>
                  <c:x val="-1.3231399891354103E-2"/>
                  <c:y val="-3.2595173286208341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B49-4D84-8671-FE828F9E67E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C$1:$O$1</c:f>
              <c:numCache>
                <c:formatCode>General</c:formatCode>
                <c:ptCount val="13"/>
                <c:pt idx="0">
                  <c:v>1995</c:v>
                </c:pt>
                <c:pt idx="1">
                  <c:v>1997</c:v>
                </c:pt>
                <c:pt idx="2">
                  <c:v>1999</c:v>
                </c:pt>
                <c:pt idx="3">
                  <c:v>2001</c:v>
                </c:pt>
                <c:pt idx="4">
                  <c:v>2003</c:v>
                </c:pt>
                <c:pt idx="5">
                  <c:v>2005</c:v>
                </c:pt>
                <c:pt idx="6">
                  <c:v>2007</c:v>
                </c:pt>
                <c:pt idx="7">
                  <c:v>2009</c:v>
                </c:pt>
                <c:pt idx="8">
                  <c:v>2011</c:v>
                </c:pt>
                <c:pt idx="9">
                  <c:v>2013</c:v>
                </c:pt>
                <c:pt idx="10">
                  <c:v>2015</c:v>
                </c:pt>
                <c:pt idx="11">
                  <c:v>2017</c:v>
                </c:pt>
                <c:pt idx="12">
                  <c:v>2019</c:v>
                </c:pt>
              </c:numCache>
            </c:numRef>
          </c:cat>
          <c:val>
            <c:numRef>
              <c:f>Sheet1!$C$7:$O$7</c:f>
              <c:numCache>
                <c:formatCode>0</c:formatCode>
                <c:ptCount val="13"/>
                <c:pt idx="0">
                  <c:v>7.7</c:v>
                </c:pt>
                <c:pt idx="1">
                  <c:v>8.5</c:v>
                </c:pt>
                <c:pt idx="2">
                  <c:v>8.6</c:v>
                </c:pt>
                <c:pt idx="3">
                  <c:v>8.5</c:v>
                </c:pt>
                <c:pt idx="4">
                  <c:v>11.7</c:v>
                </c:pt>
                <c:pt idx="5">
                  <c:v>12.8</c:v>
                </c:pt>
                <c:pt idx="6">
                  <c:v>15.2</c:v>
                </c:pt>
                <c:pt idx="7">
                  <c:v>17</c:v>
                </c:pt>
                <c:pt idx="8">
                  <c:v>22.3</c:v>
                </c:pt>
                <c:pt idx="9">
                  <c:v>24.7</c:v>
                </c:pt>
                <c:pt idx="10">
                  <c:v>23.7</c:v>
                </c:pt>
                <c:pt idx="11">
                  <c:v>20.8</c:v>
                </c:pt>
                <c:pt idx="12">
                  <c:v>23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9CE-4F76-8DFF-5006FB1CDE7A}"/>
            </c:ext>
          </c:extLst>
        </c:ser>
        <c:ser>
          <c:idx val="7"/>
          <c:order val="5"/>
          <c:tx>
            <c:strRef>
              <c:f>Sheet1!$A$9</c:f>
              <c:strCache>
                <c:ptCount val="1"/>
                <c:pt idx="0">
                  <c:v>Vektøfting/kroppsbygging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C$1:$O$1</c:f>
              <c:numCache>
                <c:formatCode>General</c:formatCode>
                <c:ptCount val="13"/>
                <c:pt idx="0">
                  <c:v>1995</c:v>
                </c:pt>
                <c:pt idx="1">
                  <c:v>1997</c:v>
                </c:pt>
                <c:pt idx="2">
                  <c:v>1999</c:v>
                </c:pt>
                <c:pt idx="3">
                  <c:v>2001</c:v>
                </c:pt>
                <c:pt idx="4">
                  <c:v>2003</c:v>
                </c:pt>
                <c:pt idx="5">
                  <c:v>2005</c:v>
                </c:pt>
                <c:pt idx="6">
                  <c:v>2007</c:v>
                </c:pt>
                <c:pt idx="7">
                  <c:v>2009</c:v>
                </c:pt>
                <c:pt idx="8">
                  <c:v>2011</c:v>
                </c:pt>
                <c:pt idx="9">
                  <c:v>2013</c:v>
                </c:pt>
                <c:pt idx="10">
                  <c:v>2015</c:v>
                </c:pt>
                <c:pt idx="11">
                  <c:v>2017</c:v>
                </c:pt>
                <c:pt idx="12">
                  <c:v>2019</c:v>
                </c:pt>
              </c:numCache>
            </c:numRef>
          </c:cat>
          <c:val>
            <c:numRef>
              <c:f>Sheet1!$C$9:$O$9</c:f>
              <c:numCache>
                <c:formatCode>General</c:formatCode>
                <c:ptCount val="13"/>
                <c:pt idx="6" formatCode="0">
                  <c:v>6.3</c:v>
                </c:pt>
                <c:pt idx="7" formatCode="0">
                  <c:v>7.6</c:v>
                </c:pt>
                <c:pt idx="8" formatCode="0">
                  <c:v>6.4</c:v>
                </c:pt>
                <c:pt idx="9" formatCode="0">
                  <c:v>8.3000000000000007</c:v>
                </c:pt>
                <c:pt idx="10" formatCode="0">
                  <c:v>8.9</c:v>
                </c:pt>
                <c:pt idx="11" formatCode="0">
                  <c:v>11.3</c:v>
                </c:pt>
                <c:pt idx="12" formatCode="0">
                  <c:v>12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E1-419D-AA47-E6FEFD92E52F}"/>
            </c:ext>
          </c:extLst>
        </c:ser>
        <c:ser>
          <c:idx val="8"/>
          <c:order val="6"/>
          <c:tx>
            <c:strRef>
              <c:f>Sheet1!$A$10</c:f>
              <c:strCache>
                <c:ptCount val="1"/>
                <c:pt idx="0">
                  <c:v>Yoga pilates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C$1:$O$1</c:f>
              <c:numCache>
                <c:formatCode>General</c:formatCode>
                <c:ptCount val="13"/>
                <c:pt idx="0">
                  <c:v>1995</c:v>
                </c:pt>
                <c:pt idx="1">
                  <c:v>1997</c:v>
                </c:pt>
                <c:pt idx="2">
                  <c:v>1999</c:v>
                </c:pt>
                <c:pt idx="3">
                  <c:v>2001</c:v>
                </c:pt>
                <c:pt idx="4">
                  <c:v>2003</c:v>
                </c:pt>
                <c:pt idx="5">
                  <c:v>2005</c:v>
                </c:pt>
                <c:pt idx="6">
                  <c:v>2007</c:v>
                </c:pt>
                <c:pt idx="7">
                  <c:v>2009</c:v>
                </c:pt>
                <c:pt idx="8">
                  <c:v>2011</c:v>
                </c:pt>
                <c:pt idx="9">
                  <c:v>2013</c:v>
                </c:pt>
                <c:pt idx="10">
                  <c:v>2015</c:v>
                </c:pt>
                <c:pt idx="11">
                  <c:v>2017</c:v>
                </c:pt>
                <c:pt idx="12">
                  <c:v>2019</c:v>
                </c:pt>
              </c:numCache>
            </c:numRef>
          </c:cat>
          <c:val>
            <c:numRef>
              <c:f>Sheet1!$C$10:$O$10</c:f>
              <c:numCache>
                <c:formatCode>General</c:formatCode>
                <c:ptCount val="13"/>
                <c:pt idx="9" formatCode="0">
                  <c:v>7.2</c:v>
                </c:pt>
                <c:pt idx="10" formatCode="0">
                  <c:v>8.4</c:v>
                </c:pt>
                <c:pt idx="11" formatCode="0">
                  <c:v>11.3</c:v>
                </c:pt>
                <c:pt idx="12" formatCode="0">
                  <c:v>12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8E1-419D-AA47-E6FEFD92E5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6861312"/>
        <c:axId val="106862848"/>
      </c:lineChart>
      <c:catAx>
        <c:axId val="1068613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06862848"/>
        <c:crosses val="autoZero"/>
        <c:auto val="1"/>
        <c:lblAlgn val="ctr"/>
        <c:lblOffset val="100"/>
        <c:noMultiLvlLbl val="0"/>
      </c:catAx>
      <c:valAx>
        <c:axId val="106862848"/>
        <c:scaling>
          <c:orientation val="minMax"/>
          <c:max val="50"/>
          <c:min val="0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0" sourceLinked="1"/>
        <c:majorTickMark val="out"/>
        <c:minorTickMark val="none"/>
        <c:tickLblPos val="nextTo"/>
        <c:crossAx val="106861312"/>
        <c:crosses val="autoZero"/>
        <c:crossBetween val="between"/>
        <c:majorUnit val="10"/>
        <c:minorUnit val="2"/>
      </c:valAx>
    </c:plotArea>
    <c:legend>
      <c:legendPos val="r"/>
      <c:layout>
        <c:manualLayout>
          <c:xMode val="edge"/>
          <c:yMode val="edge"/>
          <c:x val="0.75745241479735126"/>
          <c:y val="0.23607221078225746"/>
          <c:w val="0.22675058500459977"/>
          <c:h val="0.39214693472937179"/>
        </c:manualLayout>
      </c:layout>
      <c:overlay val="1"/>
      <c:spPr>
        <a:ln>
          <a:solidFill>
            <a:schemeClr val="bg1"/>
          </a:solidFill>
        </a:ln>
      </c:spPr>
      <c:txPr>
        <a:bodyPr/>
        <a:lstStyle/>
        <a:p>
          <a:pPr>
            <a:defRPr sz="1400"/>
          </a:pPr>
          <a:endParaRPr lang="nb-NO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nb-NO"/>
    </a:p>
  </c:txPr>
  <c:externalData r:id="rId2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60083968433623425"/>
          <c:y val="3.1218323569320323E-2"/>
          <c:w val="0.35554790507901124"/>
          <c:h val="0.942407891420123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Kolonne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3:$A$46</c:f>
              <c:strCache>
                <c:ptCount val="24"/>
                <c:pt idx="0">
                  <c:v>Orientering</c:v>
                </c:pt>
                <c:pt idx="1">
                  <c:v>Seiling/ Brettseiling/ Surfing/ SUP</c:v>
                </c:pt>
                <c:pt idx="2">
                  <c:v>Bordtennis</c:v>
                </c:pt>
                <c:pt idx="3">
                  <c:v>Snowboard</c:v>
                </c:pt>
                <c:pt idx="4">
                  <c:v>Volleyball</c:v>
                </c:pt>
                <c:pt idx="5">
                  <c:v>Skyting</c:v>
                </c:pt>
                <c:pt idx="6">
                  <c:v>Roing/ Padling/ Kano</c:v>
                </c:pt>
                <c:pt idx="7">
                  <c:v>Klatring/ Fallskjermhopping/ Paragliding/ Hanggliding/ Kiting / Rafting/ Dykking/ Topptur</c:v>
                </c:pt>
                <c:pt idx="8">
                  <c:v>Dans</c:v>
                </c:pt>
                <c:pt idx="9">
                  <c:v>Fotball</c:v>
                </c:pt>
                <c:pt idx="10">
                  <c:v>Gymnastikk/ Jazzballett/ Aerobics/ Freestyle og andre former for gruppetrening</c:v>
                </c:pt>
                <c:pt idx="11">
                  <c:v>Yoga/ Pilates</c:v>
                </c:pt>
                <c:pt idx="12">
                  <c:v>Slalåm/ Alpint/ Randonee</c:v>
                </c:pt>
                <c:pt idx="13">
                  <c:v>Vektløfting/ Kroppsbygging</c:v>
                </c:pt>
                <c:pt idx="14">
                  <c:v>Løpstrening</c:v>
                </c:pt>
                <c:pt idx="15">
                  <c:v>Svømming</c:v>
                </c:pt>
                <c:pt idx="16">
                  <c:v>Sykling som trening (på vei/ i terreng/ spinning)</c:v>
                </c:pt>
                <c:pt idx="17">
                  <c:v>Langrenn</c:v>
                </c:pt>
                <c:pt idx="18">
                  <c:v>Sykling til jobb og på tur</c:v>
                </c:pt>
                <c:pt idx="19">
                  <c:v>Jogging i mosjonshensikt</c:v>
                </c:pt>
                <c:pt idx="20">
                  <c:v>Skiturer i skog og fjell</c:v>
                </c:pt>
                <c:pt idx="21">
                  <c:v>Fotturer på fjell og vidde</c:v>
                </c:pt>
                <c:pt idx="22">
                  <c:v>Styrketrening</c:v>
                </c:pt>
                <c:pt idx="23">
                  <c:v>Fotturer i skog og mark</c:v>
                </c:pt>
              </c:strCache>
            </c:strRef>
          </c:cat>
          <c:val>
            <c:numRef>
              <c:f>'Ark1'!$B$23:$B$46</c:f>
              <c:numCache>
                <c:formatCode>General</c:formatCode>
                <c:ptCount val="24"/>
                <c:pt idx="0">
                  <c:v>2.2000000000000002</c:v>
                </c:pt>
                <c:pt idx="1">
                  <c:v>2.2000000000000002</c:v>
                </c:pt>
                <c:pt idx="2">
                  <c:v>2.2000000000000002</c:v>
                </c:pt>
                <c:pt idx="3">
                  <c:v>2.6</c:v>
                </c:pt>
                <c:pt idx="4">
                  <c:v>3.1</c:v>
                </c:pt>
                <c:pt idx="5">
                  <c:v>3.4</c:v>
                </c:pt>
                <c:pt idx="6">
                  <c:v>4.5999999999999996</c:v>
                </c:pt>
                <c:pt idx="7">
                  <c:v>5.5</c:v>
                </c:pt>
                <c:pt idx="8">
                  <c:v>5.6</c:v>
                </c:pt>
                <c:pt idx="9">
                  <c:v>7</c:v>
                </c:pt>
                <c:pt idx="10">
                  <c:v>9.1999999999999993</c:v>
                </c:pt>
                <c:pt idx="11">
                  <c:v>11.6</c:v>
                </c:pt>
                <c:pt idx="12">
                  <c:v>11.8</c:v>
                </c:pt>
                <c:pt idx="13">
                  <c:v>12.2</c:v>
                </c:pt>
                <c:pt idx="14">
                  <c:v>12.7</c:v>
                </c:pt>
                <c:pt idx="15">
                  <c:v>14.1</c:v>
                </c:pt>
                <c:pt idx="16">
                  <c:v>14.4</c:v>
                </c:pt>
                <c:pt idx="17">
                  <c:v>23.2</c:v>
                </c:pt>
                <c:pt idx="18">
                  <c:v>25.9</c:v>
                </c:pt>
                <c:pt idx="19">
                  <c:v>31.2</c:v>
                </c:pt>
                <c:pt idx="20">
                  <c:v>32.6</c:v>
                </c:pt>
                <c:pt idx="21">
                  <c:v>36.299999999999997</c:v>
                </c:pt>
                <c:pt idx="22">
                  <c:v>43.5</c:v>
                </c:pt>
                <c:pt idx="23">
                  <c:v>59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EB-4DEB-8538-71C1DC8F6D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751902952"/>
        <c:axId val="751915744"/>
      </c:barChart>
      <c:catAx>
        <c:axId val="7519029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1915744"/>
        <c:crosses val="autoZero"/>
        <c:auto val="1"/>
        <c:lblAlgn val="ctr"/>
        <c:lblOffset val="100"/>
        <c:noMultiLvlLbl val="0"/>
      </c:catAx>
      <c:valAx>
        <c:axId val="751915744"/>
        <c:scaling>
          <c:orientation val="minMax"/>
          <c:max val="6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1902952"/>
        <c:crosses val="autoZero"/>
        <c:crossBetween val="between"/>
        <c:majorUnit val="60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nb-NO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160600082708629"/>
          <c:y val="3.1218323569320323E-2"/>
          <c:w val="0.8838808939138374"/>
          <c:h val="0.942407891420123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Kolonne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22</c:f>
              <c:strCache>
                <c:ptCount val="21"/>
                <c:pt idx="0">
                  <c:v>Ingen/Driver ikke med noe av dette</c:v>
                </c:pt>
                <c:pt idx="1">
                  <c:v>Kunstløp/ Hurtigløp på skøyter</c:v>
                </c:pt>
                <c:pt idx="2">
                  <c:v>Friidrett</c:v>
                </c:pt>
                <c:pt idx="3">
                  <c:v>Turn/ Rytmisk gymnastikk</c:v>
                </c:pt>
                <c:pt idx="4">
                  <c:v>Motorsport</c:v>
                </c:pt>
                <c:pt idx="5">
                  <c:v>Rulleskøyter/ Inline-skøyter / rullebrett</c:v>
                </c:pt>
                <c:pt idx="6">
                  <c:v>Basketball</c:v>
                </c:pt>
                <c:pt idx="7">
                  <c:v>Bandy/ Ishockey</c:v>
                </c:pt>
                <c:pt idx="8">
                  <c:v>Badminton</c:v>
                </c:pt>
                <c:pt idx="9">
                  <c:v>Judo/ Karate/ Taekwondo o.l.</c:v>
                </c:pt>
                <c:pt idx="10">
                  <c:v>Håndball</c:v>
                </c:pt>
                <c:pt idx="11">
                  <c:v>Bryting/ Boksing</c:v>
                </c:pt>
                <c:pt idx="12">
                  <c:v>Tennis</c:v>
                </c:pt>
                <c:pt idx="13">
                  <c:v>Frisbee/ frisbeegolf</c:v>
                </c:pt>
                <c:pt idx="14">
                  <c:v>Squash</c:v>
                </c:pt>
                <c:pt idx="15">
                  <c:v>Biljard</c:v>
                </c:pt>
                <c:pt idx="16">
                  <c:v>Telemark</c:v>
                </c:pt>
                <c:pt idx="17">
                  <c:v>Innebandy</c:v>
                </c:pt>
                <c:pt idx="18">
                  <c:v>Ridning</c:v>
                </c:pt>
                <c:pt idx="19">
                  <c:v>Golf</c:v>
                </c:pt>
                <c:pt idx="20">
                  <c:v>Bowling</c:v>
                </c:pt>
              </c:strCache>
            </c:strRef>
          </c:cat>
          <c:val>
            <c:numRef>
              <c:f>'Ark1'!$B$2:$B$22</c:f>
              <c:numCache>
                <c:formatCode>General</c:formatCode>
                <c:ptCount val="21"/>
                <c:pt idx="0">
                  <c:v>3.2</c:v>
                </c:pt>
                <c:pt idx="1">
                  <c:v>0.4</c:v>
                </c:pt>
                <c:pt idx="2">
                  <c:v>0.5</c:v>
                </c:pt>
                <c:pt idx="3">
                  <c:v>0.8</c:v>
                </c:pt>
                <c:pt idx="4">
                  <c:v>0.8</c:v>
                </c:pt>
                <c:pt idx="5">
                  <c:v>1</c:v>
                </c:pt>
                <c:pt idx="6">
                  <c:v>1</c:v>
                </c:pt>
                <c:pt idx="7">
                  <c:v>1.1000000000000001</c:v>
                </c:pt>
                <c:pt idx="8">
                  <c:v>1.1000000000000001</c:v>
                </c:pt>
                <c:pt idx="9">
                  <c:v>1.2</c:v>
                </c:pt>
                <c:pt idx="10">
                  <c:v>1.2</c:v>
                </c:pt>
                <c:pt idx="11">
                  <c:v>1.3</c:v>
                </c:pt>
                <c:pt idx="12">
                  <c:v>1.4</c:v>
                </c:pt>
                <c:pt idx="13">
                  <c:v>1.4</c:v>
                </c:pt>
                <c:pt idx="14">
                  <c:v>1.6</c:v>
                </c:pt>
                <c:pt idx="15">
                  <c:v>1.6</c:v>
                </c:pt>
                <c:pt idx="16">
                  <c:v>1.7</c:v>
                </c:pt>
                <c:pt idx="17">
                  <c:v>2</c:v>
                </c:pt>
                <c:pt idx="18">
                  <c:v>2</c:v>
                </c:pt>
                <c:pt idx="19">
                  <c:v>2.1</c:v>
                </c:pt>
                <c:pt idx="20">
                  <c:v>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21-448D-91FC-C5A522847E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751902952"/>
        <c:axId val="751915744"/>
      </c:barChart>
      <c:catAx>
        <c:axId val="7519029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1915744"/>
        <c:crosses val="autoZero"/>
        <c:auto val="1"/>
        <c:lblAlgn val="ctr"/>
        <c:lblOffset val="100"/>
        <c:noMultiLvlLbl val="0"/>
      </c:catAx>
      <c:valAx>
        <c:axId val="751915744"/>
        <c:scaling>
          <c:orientation val="minMax"/>
          <c:max val="6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1902952"/>
        <c:crosses val="autoZero"/>
        <c:crossBetween val="between"/>
        <c:majorUnit val="100"/>
      </c:valAx>
      <c:spPr>
        <a:noFill/>
        <a:ln>
          <a:solidFill>
            <a:schemeClr val="bg1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nb-NO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60083968433623425"/>
          <c:y val="3.1218323569320323E-2"/>
          <c:w val="0.35554790507901124"/>
          <c:h val="0.942407891420123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3:$A$46</c:f>
              <c:strCache>
                <c:ptCount val="24"/>
                <c:pt idx="0">
                  <c:v>Orientering</c:v>
                </c:pt>
                <c:pt idx="1">
                  <c:v>Seiling/ Brettseiling/ Surfing/ SUP</c:v>
                </c:pt>
                <c:pt idx="2">
                  <c:v>Bordtennis</c:v>
                </c:pt>
                <c:pt idx="3">
                  <c:v>Snowboard</c:v>
                </c:pt>
                <c:pt idx="4">
                  <c:v>Volleyball</c:v>
                </c:pt>
                <c:pt idx="5">
                  <c:v>Skyting</c:v>
                </c:pt>
                <c:pt idx="6">
                  <c:v>Roing/ Padling/ Kano</c:v>
                </c:pt>
                <c:pt idx="7">
                  <c:v>Klatring/ Fallskjermhopping/ Paragliding/ Hanggliding/ Kiting / Rafting/ Dykking/ Topptur</c:v>
                </c:pt>
                <c:pt idx="8">
                  <c:v>Dans</c:v>
                </c:pt>
                <c:pt idx="9">
                  <c:v>Fotball</c:v>
                </c:pt>
                <c:pt idx="10">
                  <c:v>Gymnastikk/ Jazzballett/ Aerobics/ Freestyle og andre former for gruppetrening</c:v>
                </c:pt>
                <c:pt idx="11">
                  <c:v>Yoga/ Pilates</c:v>
                </c:pt>
                <c:pt idx="12">
                  <c:v>Slalåm/ Alpint/ Randonee</c:v>
                </c:pt>
                <c:pt idx="13">
                  <c:v>Vektløfting/ Kroppsbygging</c:v>
                </c:pt>
                <c:pt idx="14">
                  <c:v>Løpstrening</c:v>
                </c:pt>
                <c:pt idx="15">
                  <c:v>Svømming</c:v>
                </c:pt>
                <c:pt idx="16">
                  <c:v>Sykling som trening (på vei/ i terreng/ spinning)</c:v>
                </c:pt>
                <c:pt idx="17">
                  <c:v>Langrenn</c:v>
                </c:pt>
                <c:pt idx="18">
                  <c:v>Sykling til jobb og på tur</c:v>
                </c:pt>
                <c:pt idx="19">
                  <c:v>Jogging i mosjonshensikt</c:v>
                </c:pt>
                <c:pt idx="20">
                  <c:v>Skiturer i skog og fjell</c:v>
                </c:pt>
                <c:pt idx="21">
                  <c:v>Fotturer på fjell og vidde</c:v>
                </c:pt>
                <c:pt idx="22">
                  <c:v>Styrketrening</c:v>
                </c:pt>
                <c:pt idx="23">
                  <c:v>Fotturer i skog og mark</c:v>
                </c:pt>
              </c:strCache>
            </c:strRef>
          </c:cat>
          <c:val>
            <c:numRef>
              <c:f>'Ark1'!$B$23:$B$46</c:f>
              <c:numCache>
                <c:formatCode>General</c:formatCode>
                <c:ptCount val="24"/>
                <c:pt idx="0">
                  <c:v>2.2999999999999998</c:v>
                </c:pt>
                <c:pt idx="1">
                  <c:v>1.4</c:v>
                </c:pt>
                <c:pt idx="2">
                  <c:v>1.8</c:v>
                </c:pt>
                <c:pt idx="3">
                  <c:v>2.8</c:v>
                </c:pt>
                <c:pt idx="4">
                  <c:v>2.4</c:v>
                </c:pt>
                <c:pt idx="5">
                  <c:v>4.0999999999999996</c:v>
                </c:pt>
                <c:pt idx="6">
                  <c:v>4.5999999999999996</c:v>
                </c:pt>
                <c:pt idx="7">
                  <c:v>4.5</c:v>
                </c:pt>
                <c:pt idx="8">
                  <c:v>5.6</c:v>
                </c:pt>
                <c:pt idx="9">
                  <c:v>6.5</c:v>
                </c:pt>
                <c:pt idx="10">
                  <c:v>10.1</c:v>
                </c:pt>
                <c:pt idx="11">
                  <c:v>10.6</c:v>
                </c:pt>
                <c:pt idx="12">
                  <c:v>11.7</c:v>
                </c:pt>
                <c:pt idx="13">
                  <c:v>11.3</c:v>
                </c:pt>
                <c:pt idx="14">
                  <c:v>13.3</c:v>
                </c:pt>
                <c:pt idx="15">
                  <c:v>13.7</c:v>
                </c:pt>
                <c:pt idx="16">
                  <c:v>15.3</c:v>
                </c:pt>
                <c:pt idx="17">
                  <c:v>20.8</c:v>
                </c:pt>
                <c:pt idx="18">
                  <c:v>24.6</c:v>
                </c:pt>
                <c:pt idx="19">
                  <c:v>30.5</c:v>
                </c:pt>
                <c:pt idx="20">
                  <c:v>29.6</c:v>
                </c:pt>
                <c:pt idx="21">
                  <c:v>34.200000000000003</c:v>
                </c:pt>
                <c:pt idx="22">
                  <c:v>41.2</c:v>
                </c:pt>
                <c:pt idx="23">
                  <c:v>58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EB-4DEB-8538-71C1DC8F6D58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3:$A$46</c:f>
              <c:strCache>
                <c:ptCount val="24"/>
                <c:pt idx="0">
                  <c:v>Orientering</c:v>
                </c:pt>
                <c:pt idx="1">
                  <c:v>Seiling/ Brettseiling/ Surfing/ SUP</c:v>
                </c:pt>
                <c:pt idx="2">
                  <c:v>Bordtennis</c:v>
                </c:pt>
                <c:pt idx="3">
                  <c:v>Snowboard</c:v>
                </c:pt>
                <c:pt idx="4">
                  <c:v>Volleyball</c:v>
                </c:pt>
                <c:pt idx="5">
                  <c:v>Skyting</c:v>
                </c:pt>
                <c:pt idx="6">
                  <c:v>Roing/ Padling/ Kano</c:v>
                </c:pt>
                <c:pt idx="7">
                  <c:v>Klatring/ Fallskjermhopping/ Paragliding/ Hanggliding/ Kiting / Rafting/ Dykking/ Topptur</c:v>
                </c:pt>
                <c:pt idx="8">
                  <c:v>Dans</c:v>
                </c:pt>
                <c:pt idx="9">
                  <c:v>Fotball</c:v>
                </c:pt>
                <c:pt idx="10">
                  <c:v>Gymnastikk/ Jazzballett/ Aerobics/ Freestyle og andre former for gruppetrening</c:v>
                </c:pt>
                <c:pt idx="11">
                  <c:v>Yoga/ Pilates</c:v>
                </c:pt>
                <c:pt idx="12">
                  <c:v>Slalåm/ Alpint/ Randonee</c:v>
                </c:pt>
                <c:pt idx="13">
                  <c:v>Vektløfting/ Kroppsbygging</c:v>
                </c:pt>
                <c:pt idx="14">
                  <c:v>Løpstrening</c:v>
                </c:pt>
                <c:pt idx="15">
                  <c:v>Svømming</c:v>
                </c:pt>
                <c:pt idx="16">
                  <c:v>Sykling som trening (på vei/ i terreng/ spinning)</c:v>
                </c:pt>
                <c:pt idx="17">
                  <c:v>Langrenn</c:v>
                </c:pt>
                <c:pt idx="18">
                  <c:v>Sykling til jobb og på tur</c:v>
                </c:pt>
                <c:pt idx="19">
                  <c:v>Jogging i mosjonshensikt</c:v>
                </c:pt>
                <c:pt idx="20">
                  <c:v>Skiturer i skog og fjell</c:v>
                </c:pt>
                <c:pt idx="21">
                  <c:v>Fotturer på fjell og vidde</c:v>
                </c:pt>
                <c:pt idx="22">
                  <c:v>Styrketrening</c:v>
                </c:pt>
                <c:pt idx="23">
                  <c:v>Fotturer i skog og mark</c:v>
                </c:pt>
              </c:strCache>
            </c:strRef>
          </c:cat>
          <c:val>
            <c:numRef>
              <c:f>'Ark1'!$C$23:$C$46</c:f>
              <c:numCache>
                <c:formatCode>General</c:formatCode>
                <c:ptCount val="24"/>
                <c:pt idx="0">
                  <c:v>2.2000000000000002</c:v>
                </c:pt>
                <c:pt idx="1">
                  <c:v>2.2000000000000002</c:v>
                </c:pt>
                <c:pt idx="2">
                  <c:v>2.2000000000000002</c:v>
                </c:pt>
                <c:pt idx="3">
                  <c:v>2.6</c:v>
                </c:pt>
                <c:pt idx="4">
                  <c:v>3.1</c:v>
                </c:pt>
                <c:pt idx="5">
                  <c:v>3.4</c:v>
                </c:pt>
                <c:pt idx="6">
                  <c:v>4.5999999999999996</c:v>
                </c:pt>
                <c:pt idx="7">
                  <c:v>5.5</c:v>
                </c:pt>
                <c:pt idx="8">
                  <c:v>5.6</c:v>
                </c:pt>
                <c:pt idx="9">
                  <c:v>7</c:v>
                </c:pt>
                <c:pt idx="10">
                  <c:v>9.1999999999999993</c:v>
                </c:pt>
                <c:pt idx="11">
                  <c:v>11.6</c:v>
                </c:pt>
                <c:pt idx="12">
                  <c:v>11.8</c:v>
                </c:pt>
                <c:pt idx="13">
                  <c:v>12.2</c:v>
                </c:pt>
                <c:pt idx="14">
                  <c:v>12.7</c:v>
                </c:pt>
                <c:pt idx="15">
                  <c:v>14.1</c:v>
                </c:pt>
                <c:pt idx="16">
                  <c:v>14.4</c:v>
                </c:pt>
                <c:pt idx="17">
                  <c:v>23.2</c:v>
                </c:pt>
                <c:pt idx="18">
                  <c:v>25.9</c:v>
                </c:pt>
                <c:pt idx="19">
                  <c:v>31.2</c:v>
                </c:pt>
                <c:pt idx="20">
                  <c:v>32.6</c:v>
                </c:pt>
                <c:pt idx="21">
                  <c:v>36.299999999999997</c:v>
                </c:pt>
                <c:pt idx="22">
                  <c:v>43.5</c:v>
                </c:pt>
                <c:pt idx="23">
                  <c:v>59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AD-4468-A83F-266498DEE03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751902952"/>
        <c:axId val="751915744"/>
      </c:barChart>
      <c:catAx>
        <c:axId val="7519029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1915744"/>
        <c:crosses val="autoZero"/>
        <c:auto val="1"/>
        <c:lblAlgn val="ctr"/>
        <c:lblOffset val="100"/>
        <c:noMultiLvlLbl val="0"/>
      </c:catAx>
      <c:valAx>
        <c:axId val="751915744"/>
        <c:scaling>
          <c:orientation val="minMax"/>
          <c:max val="6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1902952"/>
        <c:crosses val="autoZero"/>
        <c:crossBetween val="between"/>
        <c:majorUnit val="60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000"/>
      </a:pPr>
      <a:endParaRPr lang="nb-NO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0137941544910502E-2"/>
          <c:y val="4.6442251487123054E-2"/>
          <c:w val="0.85443104155955563"/>
          <c:h val="0.78173157447851993"/>
        </c:manualLayout>
      </c:layout>
      <c:lineChart>
        <c:grouping val="standard"/>
        <c:varyColors val="0"/>
        <c:ser>
          <c:idx val="0"/>
          <c:order val="0"/>
          <c:tx>
            <c:strRef>
              <c:f>Sheet1!$R$882</c:f>
              <c:strCache>
                <c:ptCount val="1"/>
                <c:pt idx="0">
                  <c:v>Nei</c:v>
                </c:pt>
              </c:strCache>
            </c:strRef>
          </c:tx>
          <c:spPr>
            <a:ln w="22225" cap="rnd" cmpd="sng" algn="ctr">
              <a:solidFill>
                <a:srgbClr val="CB281B"/>
              </a:solidFill>
              <a:round/>
            </a:ln>
            <a:effectLst/>
          </c:spPr>
          <c:marker>
            <c:symbol val="none"/>
          </c:marker>
          <c:dLbls>
            <c:dLbl>
              <c:idx val="13"/>
              <c:layout>
                <c:manualLayout>
                  <c:x val="-2.5067196796513872E-2"/>
                  <c:y val="3.82367624708488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0FF-423F-8C9B-DFA67E72161C}"/>
                </c:ext>
              </c:extLst>
            </c:dLbl>
            <c:dLbl>
              <c:idx val="14"/>
              <c:layout>
                <c:manualLayout>
                  <c:x val="-3.2181822188145054E-2"/>
                  <c:y val="3.82367624708488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0FF-423F-8C9B-DFA67E7216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CB281B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Q$883:$Q$900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R$883:$R$900</c:f>
              <c:numCache>
                <c:formatCode>General</c:formatCode>
                <c:ptCount val="18"/>
                <c:pt idx="0">
                  <c:v>21</c:v>
                </c:pt>
                <c:pt idx="1">
                  <c:v>24</c:v>
                </c:pt>
                <c:pt idx="2">
                  <c:v>25</c:v>
                </c:pt>
                <c:pt idx="3">
                  <c:v>25</c:v>
                </c:pt>
                <c:pt idx="4">
                  <c:v>26</c:v>
                </c:pt>
                <c:pt idx="5">
                  <c:v>25</c:v>
                </c:pt>
                <c:pt idx="6">
                  <c:v>26</c:v>
                </c:pt>
                <c:pt idx="7">
                  <c:v>27</c:v>
                </c:pt>
                <c:pt idx="8">
                  <c:v>28</c:v>
                </c:pt>
                <c:pt idx="9">
                  <c:v>30</c:v>
                </c:pt>
                <c:pt idx="10">
                  <c:v>30</c:v>
                </c:pt>
                <c:pt idx="11">
                  <c:v>31</c:v>
                </c:pt>
                <c:pt idx="12">
                  <c:v>34</c:v>
                </c:pt>
                <c:pt idx="13">
                  <c:v>37</c:v>
                </c:pt>
                <c:pt idx="14">
                  <c:v>39</c:v>
                </c:pt>
                <c:pt idx="15">
                  <c:v>40</c:v>
                </c:pt>
                <c:pt idx="16">
                  <c:v>46</c:v>
                </c:pt>
                <c:pt idx="17">
                  <c:v>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0FF-423F-8C9B-DFA67E72161C}"/>
            </c:ext>
          </c:extLst>
        </c:ser>
        <c:ser>
          <c:idx val="1"/>
          <c:order val="1"/>
          <c:tx>
            <c:strRef>
              <c:f>Sheet1!$S$882</c:f>
              <c:strCache>
                <c:ptCount val="1"/>
                <c:pt idx="0">
                  <c:v>Ja</c:v>
                </c:pt>
              </c:strCache>
            </c:strRef>
          </c:tx>
          <c:spPr>
            <a:ln w="22225" cap="rnd" cmpd="sng" algn="ctr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dLbls>
            <c:dLbl>
              <c:idx val="14"/>
              <c:layout>
                <c:manualLayout>
                  <c:x val="-3.4553363985355447E-2"/>
                  <c:y val="-4.597374057915715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0FF-423F-8C9B-DFA67E72161C}"/>
                </c:ext>
              </c:extLst>
            </c:dLbl>
            <c:dLbl>
              <c:idx val="15"/>
              <c:layout>
                <c:manualLayout>
                  <c:x val="-3.4553363985355447E-2"/>
                  <c:y val="3.82367624708488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0FF-423F-8C9B-DFA67E72161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Q$883:$Q$900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S$883:$S$900</c:f>
              <c:numCache>
                <c:formatCode>General</c:formatCode>
                <c:ptCount val="18"/>
                <c:pt idx="0">
                  <c:v>53</c:v>
                </c:pt>
                <c:pt idx="1">
                  <c:v>51</c:v>
                </c:pt>
                <c:pt idx="2">
                  <c:v>51</c:v>
                </c:pt>
                <c:pt idx="3">
                  <c:v>51</c:v>
                </c:pt>
                <c:pt idx="4">
                  <c:v>49</c:v>
                </c:pt>
                <c:pt idx="5">
                  <c:v>49</c:v>
                </c:pt>
                <c:pt idx="6">
                  <c:v>49</c:v>
                </c:pt>
                <c:pt idx="7">
                  <c:v>47</c:v>
                </c:pt>
                <c:pt idx="8">
                  <c:v>47</c:v>
                </c:pt>
                <c:pt idx="9">
                  <c:v>46</c:v>
                </c:pt>
                <c:pt idx="10">
                  <c:v>46</c:v>
                </c:pt>
                <c:pt idx="11">
                  <c:v>45</c:v>
                </c:pt>
                <c:pt idx="12">
                  <c:v>43</c:v>
                </c:pt>
                <c:pt idx="13">
                  <c:v>40</c:v>
                </c:pt>
                <c:pt idx="14">
                  <c:v>39</c:v>
                </c:pt>
                <c:pt idx="15">
                  <c:v>37</c:v>
                </c:pt>
                <c:pt idx="16">
                  <c:v>34</c:v>
                </c:pt>
                <c:pt idx="17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0FF-423F-8C9B-DFA67E7216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8049024"/>
        <c:axId val="98063104"/>
      </c:lineChart>
      <c:catAx>
        <c:axId val="98049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1" i="0" u="none" strike="noStrike" kern="1200" spc="2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8063104"/>
        <c:crosses val="autoZero"/>
        <c:auto val="1"/>
        <c:lblAlgn val="ctr"/>
        <c:lblOffset val="100"/>
        <c:noMultiLvlLbl val="0"/>
      </c:catAx>
      <c:valAx>
        <c:axId val="980631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8049024"/>
        <c:crosses val="autoZero"/>
        <c:crossBetween val="between"/>
      </c:valAx>
      <c:spPr>
        <a:gradFill>
          <a:gsLst>
            <a:gs pos="100000">
              <a:schemeClr val="lt1">
                <a:lumMod val="95000"/>
              </a:schemeClr>
            </a:gs>
            <a:gs pos="0">
              <a:schemeClr val="lt1"/>
            </a:gs>
          </a:gsLst>
          <a:lin ang="5400000" scaled="0"/>
        </a:gra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9015577002465226"/>
          <c:y val="7.2710125208148096E-2"/>
          <c:w val="7.1872635485240061E-2"/>
          <c:h val="0.501273246855409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160600082708629"/>
          <c:y val="3.1218323569320323E-2"/>
          <c:w val="0.8838808939138374"/>
          <c:h val="0.942407891420123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22</c:f>
              <c:strCache>
                <c:ptCount val="21"/>
                <c:pt idx="0">
                  <c:v>Ingen/Driver ikke med noe av dette</c:v>
                </c:pt>
                <c:pt idx="1">
                  <c:v>Kunstløp/ Hurtigløp på skøyter</c:v>
                </c:pt>
                <c:pt idx="2">
                  <c:v>Friidrett</c:v>
                </c:pt>
                <c:pt idx="3">
                  <c:v>Turn/ Rytmisk gymnastikk</c:v>
                </c:pt>
                <c:pt idx="4">
                  <c:v>Motorsport</c:v>
                </c:pt>
                <c:pt idx="5">
                  <c:v>Rulleskøyter/ Inline-skøyter / rullebrett</c:v>
                </c:pt>
                <c:pt idx="6">
                  <c:v>Basketball</c:v>
                </c:pt>
                <c:pt idx="7">
                  <c:v>Bandy/ Ishockey</c:v>
                </c:pt>
                <c:pt idx="8">
                  <c:v>Badminton</c:v>
                </c:pt>
                <c:pt idx="9">
                  <c:v>Judo/ Karate/ Taekwondo o.l.</c:v>
                </c:pt>
                <c:pt idx="10">
                  <c:v>Håndball</c:v>
                </c:pt>
                <c:pt idx="11">
                  <c:v>Bryting/ Boksing</c:v>
                </c:pt>
                <c:pt idx="12">
                  <c:v>Tennis</c:v>
                </c:pt>
                <c:pt idx="13">
                  <c:v>Frisbee/ frisbeegolf</c:v>
                </c:pt>
                <c:pt idx="14">
                  <c:v>Squash</c:v>
                </c:pt>
                <c:pt idx="15">
                  <c:v>Biljard</c:v>
                </c:pt>
                <c:pt idx="16">
                  <c:v>Telemark</c:v>
                </c:pt>
                <c:pt idx="17">
                  <c:v>Innebandy</c:v>
                </c:pt>
                <c:pt idx="18">
                  <c:v>Ridning</c:v>
                </c:pt>
                <c:pt idx="19">
                  <c:v>Golf</c:v>
                </c:pt>
                <c:pt idx="20">
                  <c:v>Bowling</c:v>
                </c:pt>
              </c:strCache>
            </c:strRef>
          </c:cat>
          <c:val>
            <c:numRef>
              <c:f>'Ark1'!$B$2:$B$22</c:f>
              <c:numCache>
                <c:formatCode>General</c:formatCode>
                <c:ptCount val="21"/>
                <c:pt idx="0">
                  <c:v>3.2</c:v>
                </c:pt>
                <c:pt idx="1">
                  <c:v>0.5</c:v>
                </c:pt>
                <c:pt idx="2">
                  <c:v>0.8</c:v>
                </c:pt>
                <c:pt idx="3">
                  <c:v>0.7</c:v>
                </c:pt>
                <c:pt idx="4">
                  <c:v>0.8</c:v>
                </c:pt>
                <c:pt idx="5">
                  <c:v>0.4</c:v>
                </c:pt>
                <c:pt idx="6">
                  <c:v>0.9</c:v>
                </c:pt>
                <c:pt idx="7">
                  <c:v>0.9</c:v>
                </c:pt>
                <c:pt idx="8">
                  <c:v>1.1000000000000001</c:v>
                </c:pt>
                <c:pt idx="9">
                  <c:v>1.3</c:v>
                </c:pt>
                <c:pt idx="10">
                  <c:v>1</c:v>
                </c:pt>
                <c:pt idx="11">
                  <c:v>1.1000000000000001</c:v>
                </c:pt>
                <c:pt idx="12">
                  <c:v>1.7</c:v>
                </c:pt>
                <c:pt idx="13">
                  <c:v>1.5</c:v>
                </c:pt>
                <c:pt idx="14">
                  <c:v>1.3</c:v>
                </c:pt>
                <c:pt idx="15">
                  <c:v>1.6</c:v>
                </c:pt>
                <c:pt idx="16">
                  <c:v>1.6</c:v>
                </c:pt>
                <c:pt idx="17">
                  <c:v>2.2000000000000002</c:v>
                </c:pt>
                <c:pt idx="18">
                  <c:v>1.8</c:v>
                </c:pt>
                <c:pt idx="19">
                  <c:v>2</c:v>
                </c:pt>
                <c:pt idx="20">
                  <c:v>2.2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21-448D-91FC-C5A522847E4F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22</c:f>
              <c:strCache>
                <c:ptCount val="21"/>
                <c:pt idx="0">
                  <c:v>Ingen/Driver ikke med noe av dette</c:v>
                </c:pt>
                <c:pt idx="1">
                  <c:v>Kunstløp/ Hurtigløp på skøyter</c:v>
                </c:pt>
                <c:pt idx="2">
                  <c:v>Friidrett</c:v>
                </c:pt>
                <c:pt idx="3">
                  <c:v>Turn/ Rytmisk gymnastikk</c:v>
                </c:pt>
                <c:pt idx="4">
                  <c:v>Motorsport</c:v>
                </c:pt>
                <c:pt idx="5">
                  <c:v>Rulleskøyter/ Inline-skøyter / rullebrett</c:v>
                </c:pt>
                <c:pt idx="6">
                  <c:v>Basketball</c:v>
                </c:pt>
                <c:pt idx="7">
                  <c:v>Bandy/ Ishockey</c:v>
                </c:pt>
                <c:pt idx="8">
                  <c:v>Badminton</c:v>
                </c:pt>
                <c:pt idx="9">
                  <c:v>Judo/ Karate/ Taekwondo o.l.</c:v>
                </c:pt>
                <c:pt idx="10">
                  <c:v>Håndball</c:v>
                </c:pt>
                <c:pt idx="11">
                  <c:v>Bryting/ Boksing</c:v>
                </c:pt>
                <c:pt idx="12">
                  <c:v>Tennis</c:v>
                </c:pt>
                <c:pt idx="13">
                  <c:v>Frisbee/ frisbeegolf</c:v>
                </c:pt>
                <c:pt idx="14">
                  <c:v>Squash</c:v>
                </c:pt>
                <c:pt idx="15">
                  <c:v>Biljard</c:v>
                </c:pt>
                <c:pt idx="16">
                  <c:v>Telemark</c:v>
                </c:pt>
                <c:pt idx="17">
                  <c:v>Innebandy</c:v>
                </c:pt>
                <c:pt idx="18">
                  <c:v>Ridning</c:v>
                </c:pt>
                <c:pt idx="19">
                  <c:v>Golf</c:v>
                </c:pt>
                <c:pt idx="20">
                  <c:v>Bowling</c:v>
                </c:pt>
              </c:strCache>
            </c:strRef>
          </c:cat>
          <c:val>
            <c:numRef>
              <c:f>'Ark1'!$C$2:$C$22</c:f>
              <c:numCache>
                <c:formatCode>General</c:formatCode>
                <c:ptCount val="21"/>
                <c:pt idx="0">
                  <c:v>3.2</c:v>
                </c:pt>
                <c:pt idx="1">
                  <c:v>0.4</c:v>
                </c:pt>
                <c:pt idx="2">
                  <c:v>0.5</c:v>
                </c:pt>
                <c:pt idx="3">
                  <c:v>0.8</c:v>
                </c:pt>
                <c:pt idx="4">
                  <c:v>0.8</c:v>
                </c:pt>
                <c:pt idx="5">
                  <c:v>1</c:v>
                </c:pt>
                <c:pt idx="6">
                  <c:v>1</c:v>
                </c:pt>
                <c:pt idx="7">
                  <c:v>1.1000000000000001</c:v>
                </c:pt>
                <c:pt idx="8">
                  <c:v>1.1000000000000001</c:v>
                </c:pt>
                <c:pt idx="9">
                  <c:v>1.2</c:v>
                </c:pt>
                <c:pt idx="10">
                  <c:v>1.2</c:v>
                </c:pt>
                <c:pt idx="11">
                  <c:v>1.3</c:v>
                </c:pt>
                <c:pt idx="12">
                  <c:v>1.4</c:v>
                </c:pt>
                <c:pt idx="13">
                  <c:v>1.4</c:v>
                </c:pt>
                <c:pt idx="14">
                  <c:v>1.6</c:v>
                </c:pt>
                <c:pt idx="15">
                  <c:v>1.6</c:v>
                </c:pt>
                <c:pt idx="16">
                  <c:v>1.7</c:v>
                </c:pt>
                <c:pt idx="17">
                  <c:v>2</c:v>
                </c:pt>
                <c:pt idx="18">
                  <c:v>2</c:v>
                </c:pt>
                <c:pt idx="19">
                  <c:v>2.1</c:v>
                </c:pt>
                <c:pt idx="20">
                  <c:v>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13-4B08-BD36-BBCCA1E9E62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751902952"/>
        <c:axId val="751915744"/>
      </c:barChart>
      <c:catAx>
        <c:axId val="7519029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1915744"/>
        <c:crosses val="autoZero"/>
        <c:auto val="1"/>
        <c:lblAlgn val="ctr"/>
        <c:lblOffset val="100"/>
        <c:noMultiLvlLbl val="0"/>
      </c:catAx>
      <c:valAx>
        <c:axId val="751915744"/>
        <c:scaling>
          <c:orientation val="minMax"/>
          <c:max val="6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51902952"/>
        <c:crosses val="autoZero"/>
        <c:crossBetween val="between"/>
        <c:majorUnit val="100"/>
      </c:valAx>
      <c:spPr>
        <a:noFill/>
        <a:ln>
          <a:solidFill>
            <a:schemeClr val="bg1"/>
          </a:solidFill>
        </a:ln>
        <a:effectLst/>
      </c:spPr>
    </c:plotArea>
    <c:legend>
      <c:legendPos val="r"/>
      <c:layout>
        <c:manualLayout>
          <c:xMode val="edge"/>
          <c:yMode val="edge"/>
          <c:x val="0.79749017540112044"/>
          <c:y val="0.41761437580416655"/>
          <c:w val="0.13258973170346899"/>
          <c:h val="0.126457681543248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nb-NO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59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4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Fotturer i skog og mar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General</c:formatCode>
                <c:ptCount val="6"/>
                <c:pt idx="0">
                  <c:v>62</c:v>
                </c:pt>
                <c:pt idx="1">
                  <c:v>66.2</c:v>
                </c:pt>
                <c:pt idx="2">
                  <c:v>63.2</c:v>
                </c:pt>
                <c:pt idx="3">
                  <c:v>57</c:v>
                </c:pt>
                <c:pt idx="4">
                  <c:v>51.7</c:v>
                </c:pt>
                <c:pt idx="5">
                  <c:v>3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5F-4B3B-85A3-7C5DEBBF324D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7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4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5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Styrketren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General</c:formatCode>
                <c:ptCount val="6"/>
                <c:pt idx="0">
                  <c:v>26.8</c:v>
                </c:pt>
                <c:pt idx="1">
                  <c:v>36.1</c:v>
                </c:pt>
                <c:pt idx="2">
                  <c:v>43.2</c:v>
                </c:pt>
                <c:pt idx="3">
                  <c:v>54.4</c:v>
                </c:pt>
                <c:pt idx="4">
                  <c:v>64.8</c:v>
                </c:pt>
                <c:pt idx="5">
                  <c:v>7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AC-4CA8-AE23-3647744E02A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7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Ark1'!$A$2</c:f>
              <c:numCache>
                <c:formatCode>General</c:formatCode>
                <c:ptCount val="1"/>
              </c:numCache>
            </c:numRef>
          </c:cat>
          <c:val>
            <c:numRef>
              <c:f>'Ark1'!$B$2</c:f>
              <c:numCache>
                <c:formatCode>General</c:formatCode>
                <c:ptCount val="1"/>
                <c:pt idx="0">
                  <c:v>36.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numRef>
              <c:f>'Ark1'!$A$2</c:f>
              <c:numCache>
                <c:formatCode>General</c:formatCode>
                <c:ptCount val="1"/>
              </c:numCache>
            </c:numRef>
          </c:cat>
          <c:val>
            <c:numRef>
              <c:f>'Ark1'!$C$2</c:f>
              <c:numCache>
                <c:formatCode>General</c:formatCode>
                <c:ptCount val="1"/>
                <c:pt idx="0">
                  <c:v>6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Fotturer på fjell og vidd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General</c:formatCode>
                <c:ptCount val="6"/>
                <c:pt idx="0">
                  <c:v>34.4</c:v>
                </c:pt>
                <c:pt idx="1">
                  <c:v>40.9</c:v>
                </c:pt>
                <c:pt idx="2">
                  <c:v>39.200000000000003</c:v>
                </c:pt>
                <c:pt idx="3">
                  <c:v>37.1</c:v>
                </c:pt>
                <c:pt idx="4">
                  <c:v>36.4</c:v>
                </c:pt>
                <c:pt idx="5" formatCode="0">
                  <c:v>2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F7-4495-A914-66D644ECCFA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7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29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70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Skiturer i i skog og fje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0</c:formatCode>
                <c:ptCount val="6"/>
                <c:pt idx="0">
                  <c:v>26</c:v>
                </c:pt>
                <c:pt idx="1">
                  <c:v>36.799999999999997</c:v>
                </c:pt>
                <c:pt idx="2">
                  <c:v>33.1</c:v>
                </c:pt>
                <c:pt idx="3">
                  <c:v>25.8</c:v>
                </c:pt>
                <c:pt idx="4">
                  <c:v>23.2</c:v>
                </c:pt>
                <c:pt idx="5">
                  <c:v>29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4B2-4FB4-951F-DA6A86487E1A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7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3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68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cap="none" spc="20" baseline="0">
              <a:solidFill>
                <a:schemeClr val="dk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4.0953161828712004E-2"/>
          <c:y val="3.8842638033345242E-2"/>
          <c:w val="0.79950683881802453"/>
          <c:h val="0.84526249124331321"/>
        </c:manualLayout>
      </c:layout>
      <c:lineChart>
        <c:grouping val="standard"/>
        <c:varyColors val="0"/>
        <c:ser>
          <c:idx val="0"/>
          <c:order val="0"/>
          <c:tx>
            <c:strRef>
              <c:f>Sheet1!$J$1197:$J$1198</c:f>
              <c:strCache>
                <c:ptCount val="1"/>
                <c:pt idx="0">
                  <c:v>Foretrekker å kjøpe norske varer selv om de er litt dyrere: Enig - uenig</c:v>
                </c:pt>
              </c:strCache>
            </c:strRef>
          </c:tx>
          <c:spPr>
            <a:ln w="22225" cap="rnd" cmpd="sng" algn="ctr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numRef>
              <c:f>Sheet1!$I$1199:$I$1216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J$1199:$J$1216</c:f>
              <c:numCache>
                <c:formatCode>General</c:formatCode>
                <c:ptCount val="18"/>
                <c:pt idx="0">
                  <c:v>35</c:v>
                </c:pt>
                <c:pt idx="1">
                  <c:v>25</c:v>
                </c:pt>
                <c:pt idx="2">
                  <c:v>27</c:v>
                </c:pt>
                <c:pt idx="3">
                  <c:v>33</c:v>
                </c:pt>
                <c:pt idx="4">
                  <c:v>37</c:v>
                </c:pt>
                <c:pt idx="5">
                  <c:v>42</c:v>
                </c:pt>
                <c:pt idx="6">
                  <c:v>39</c:v>
                </c:pt>
                <c:pt idx="7">
                  <c:v>33</c:v>
                </c:pt>
                <c:pt idx="8">
                  <c:v>28</c:v>
                </c:pt>
                <c:pt idx="9">
                  <c:v>28</c:v>
                </c:pt>
                <c:pt idx="10">
                  <c:v>33</c:v>
                </c:pt>
                <c:pt idx="11">
                  <c:v>32</c:v>
                </c:pt>
                <c:pt idx="12">
                  <c:v>30</c:v>
                </c:pt>
                <c:pt idx="13">
                  <c:v>40</c:v>
                </c:pt>
                <c:pt idx="14">
                  <c:v>45</c:v>
                </c:pt>
                <c:pt idx="15">
                  <c:v>50</c:v>
                </c:pt>
                <c:pt idx="16">
                  <c:v>52</c:v>
                </c:pt>
                <c:pt idx="17">
                  <c:v>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467-476E-B1EF-ECEA064B46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5165824"/>
        <c:axId val="95167616"/>
      </c:lineChart>
      <c:catAx>
        <c:axId val="95165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97" b="1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5167616"/>
        <c:crosses val="autoZero"/>
        <c:auto val="1"/>
        <c:lblAlgn val="ctr"/>
        <c:lblOffset val="100"/>
        <c:noMultiLvlLbl val="0"/>
      </c:catAx>
      <c:valAx>
        <c:axId val="95167616"/>
        <c:scaling>
          <c:orientation val="minMax"/>
        </c:scaling>
        <c:delete val="0"/>
        <c:axPos val="l"/>
        <c:numFmt formatCode="#&quot;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spc="2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5165824"/>
        <c:crosses val="autoZero"/>
        <c:crossBetween val="between"/>
      </c:valAx>
      <c:spPr>
        <a:gradFill>
          <a:gsLst>
            <a:gs pos="100000">
              <a:schemeClr val="lt1">
                <a:lumMod val="95000"/>
              </a:schemeClr>
            </a:gs>
            <a:gs pos="0">
              <a:schemeClr val="lt1"/>
            </a:gs>
          </a:gsLst>
          <a:lin ang="5400000" scaled="0"/>
        </a:gradFill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Jogging i mosjonshensik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General</c:formatCode>
                <c:ptCount val="6"/>
                <c:pt idx="0">
                  <c:v>12.9</c:v>
                </c:pt>
                <c:pt idx="1">
                  <c:v>22.6</c:v>
                </c:pt>
                <c:pt idx="2">
                  <c:v>34.6</c:v>
                </c:pt>
                <c:pt idx="3">
                  <c:v>49.2</c:v>
                </c:pt>
                <c:pt idx="4">
                  <c:v>51.5</c:v>
                </c:pt>
                <c:pt idx="5" formatCode="0">
                  <c:v>47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78-487B-BAF0-7C6E5CB5295C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7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2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75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Sykling til jobb og på tu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</c:strCache>
            </c:strRef>
          </c:cat>
          <c:val>
            <c:numRef>
              <c:f>'Ark1'!$B$2:$B$6</c:f>
              <c:numCache>
                <c:formatCode>General</c:formatCode>
                <c:ptCount val="5"/>
                <c:pt idx="0">
                  <c:v>20.3</c:v>
                </c:pt>
                <c:pt idx="1">
                  <c:v>28.5</c:v>
                </c:pt>
                <c:pt idx="2">
                  <c:v>28.8</c:v>
                </c:pt>
                <c:pt idx="3">
                  <c:v>28.3</c:v>
                </c:pt>
                <c:pt idx="4">
                  <c:v>27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1C-4752-9E91-04235790A62D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7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2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7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Langren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0</c:formatCode>
                <c:ptCount val="6"/>
                <c:pt idx="0">
                  <c:v>12.4</c:v>
                </c:pt>
                <c:pt idx="1">
                  <c:v>23.2</c:v>
                </c:pt>
                <c:pt idx="2">
                  <c:v>29.7</c:v>
                </c:pt>
                <c:pt idx="3">
                  <c:v>29.6</c:v>
                </c:pt>
                <c:pt idx="4">
                  <c:v>28</c:v>
                </c:pt>
                <c:pt idx="5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46-4F69-A012-66B93E71FD1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7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14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8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266730354550506"/>
          <c:y val="0.19496797829734877"/>
          <c:w val="0.57501663686329119"/>
          <c:h val="0.663180792496452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Sykling som trening/spinn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0</c:formatCode>
                <c:ptCount val="6"/>
                <c:pt idx="0">
                  <c:v>13</c:v>
                </c:pt>
                <c:pt idx="1">
                  <c:v>15.5</c:v>
                </c:pt>
                <c:pt idx="2">
                  <c:v>15.4</c:v>
                </c:pt>
                <c:pt idx="3">
                  <c:v>13.7</c:v>
                </c:pt>
                <c:pt idx="4">
                  <c:v>14.3</c:v>
                </c:pt>
                <c:pt idx="5">
                  <c:v>1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5B-4488-AF3C-4FBE5EC48373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3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14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8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Svømm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General</c:formatCode>
                <c:ptCount val="6"/>
                <c:pt idx="0">
                  <c:v>12.2</c:v>
                </c:pt>
                <c:pt idx="1">
                  <c:v>12.8</c:v>
                </c:pt>
                <c:pt idx="2">
                  <c:v>16.2</c:v>
                </c:pt>
                <c:pt idx="3">
                  <c:v>15.6</c:v>
                </c:pt>
                <c:pt idx="4">
                  <c:v>16.2</c:v>
                </c:pt>
                <c:pt idx="5" formatCode="0">
                  <c:v>1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3D-42FB-8AC7-FDBE50AF9F9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3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Løpstren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0</c:formatCode>
                <c:ptCount val="6"/>
                <c:pt idx="0">
                  <c:v>2.4</c:v>
                </c:pt>
                <c:pt idx="1">
                  <c:v>9</c:v>
                </c:pt>
                <c:pt idx="2">
                  <c:v>13.6</c:v>
                </c:pt>
                <c:pt idx="3">
                  <c:v>18</c:v>
                </c:pt>
                <c:pt idx="4">
                  <c:v>22.9</c:v>
                </c:pt>
                <c:pt idx="5">
                  <c:v>38.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83-4C46-B239-982EA5D7619A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5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9993061570401345E-2"/>
          <c:y val="3.5528054040175359E-2"/>
          <c:w val="0.73049192809493124"/>
          <c:h val="0.85846680731545011"/>
        </c:manualLayout>
      </c:layout>
      <c:lineChart>
        <c:grouping val="standard"/>
        <c:varyColors val="0"/>
        <c:ser>
          <c:idx val="0"/>
          <c:order val="0"/>
          <c:tx>
            <c:strRef>
              <c:f>Sheet1!$K$353:$K$354</c:f>
              <c:strCache>
                <c:ptCount val="1"/>
                <c:pt idx="0">
                  <c:v>A)  Savner materielle  goder: Uenig – Enig </c:v>
                </c:pt>
              </c:strCache>
            </c:strRef>
          </c:tx>
          <c:spPr>
            <a:ln w="22225" cap="rnd" cmpd="sng" algn="ctr">
              <a:solidFill>
                <a:schemeClr val="bg2"/>
              </a:solidFill>
              <a:round/>
            </a:ln>
            <a:effectLst/>
          </c:spPr>
          <c:marker>
            <c:symbol val="none"/>
          </c:marker>
          <c:cat>
            <c:numRef>
              <c:f>Sheet1!$J$355:$J$372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K$355:$K$372</c:f>
              <c:numCache>
                <c:formatCode>General</c:formatCode>
                <c:ptCount val="18"/>
                <c:pt idx="0">
                  <c:v>3</c:v>
                </c:pt>
                <c:pt idx="1">
                  <c:v>0</c:v>
                </c:pt>
                <c:pt idx="2">
                  <c:v>6</c:v>
                </c:pt>
                <c:pt idx="3">
                  <c:v>2</c:v>
                </c:pt>
                <c:pt idx="4">
                  <c:v>-3</c:v>
                </c:pt>
                <c:pt idx="5">
                  <c:v>-8</c:v>
                </c:pt>
                <c:pt idx="6">
                  <c:v>-4</c:v>
                </c:pt>
                <c:pt idx="7">
                  <c:v>-6</c:v>
                </c:pt>
                <c:pt idx="8">
                  <c:v>-3</c:v>
                </c:pt>
                <c:pt idx="9">
                  <c:v>8</c:v>
                </c:pt>
                <c:pt idx="10">
                  <c:v>9</c:v>
                </c:pt>
                <c:pt idx="11">
                  <c:v>21</c:v>
                </c:pt>
                <c:pt idx="12">
                  <c:v>24</c:v>
                </c:pt>
                <c:pt idx="13">
                  <c:v>29</c:v>
                </c:pt>
                <c:pt idx="14">
                  <c:v>34</c:v>
                </c:pt>
                <c:pt idx="15">
                  <c:v>35</c:v>
                </c:pt>
                <c:pt idx="16">
                  <c:v>35</c:v>
                </c:pt>
                <c:pt idx="17">
                  <c:v>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24E-4DAA-9A74-58ED9280E617}"/>
            </c:ext>
          </c:extLst>
        </c:ser>
        <c:ser>
          <c:idx val="1"/>
          <c:order val="1"/>
          <c:tx>
            <c:strRef>
              <c:f>Sheet1!$L$353:$L$354</c:f>
              <c:strCache>
                <c:ptCount val="1"/>
                <c:pt idx="0">
                  <c:v>B) Egen økon. situasjon: Bli forbedret – Forverret </c:v>
                </c:pt>
              </c:strCache>
            </c:strRef>
          </c:tx>
          <c:spPr>
            <a:ln w="22225" cap="rnd" cmpd="sng" algn="ctr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J$355:$J$372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L$355:$L$372</c:f>
              <c:numCache>
                <c:formatCode>General</c:formatCode>
                <c:ptCount val="18"/>
                <c:pt idx="0">
                  <c:v>16</c:v>
                </c:pt>
                <c:pt idx="1">
                  <c:v>13</c:v>
                </c:pt>
                <c:pt idx="2">
                  <c:v>10</c:v>
                </c:pt>
                <c:pt idx="3">
                  <c:v>11</c:v>
                </c:pt>
                <c:pt idx="4">
                  <c:v>19</c:v>
                </c:pt>
                <c:pt idx="5">
                  <c:v>18</c:v>
                </c:pt>
                <c:pt idx="6">
                  <c:v>23</c:v>
                </c:pt>
                <c:pt idx="7">
                  <c:v>16</c:v>
                </c:pt>
                <c:pt idx="8">
                  <c:v>20</c:v>
                </c:pt>
                <c:pt idx="9">
                  <c:v>18</c:v>
                </c:pt>
                <c:pt idx="10">
                  <c:v>19</c:v>
                </c:pt>
                <c:pt idx="11">
                  <c:v>26</c:v>
                </c:pt>
                <c:pt idx="12">
                  <c:v>19</c:v>
                </c:pt>
                <c:pt idx="13">
                  <c:v>21</c:v>
                </c:pt>
                <c:pt idx="14">
                  <c:v>24</c:v>
                </c:pt>
                <c:pt idx="15">
                  <c:v>16</c:v>
                </c:pt>
                <c:pt idx="16">
                  <c:v>19</c:v>
                </c:pt>
                <c:pt idx="17">
                  <c:v>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4E-4DAA-9A74-58ED9280E617}"/>
            </c:ext>
          </c:extLst>
        </c:ser>
        <c:ser>
          <c:idx val="2"/>
          <c:order val="2"/>
          <c:tx>
            <c:strRef>
              <c:f>Sheet1!$M$353:$M$354</c:f>
              <c:strCache>
                <c:ptCount val="1"/>
                <c:pt idx="0">
                  <c:v>C) Egen økon. sit. sammenliknet med andres:  Bedre – Dårligere</c:v>
                </c:pt>
              </c:strCache>
            </c:strRef>
          </c:tx>
          <c:spPr>
            <a:ln w="22225" cap="rnd" cmpd="sng" algn="ctr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numRef>
              <c:f>Sheet1!$J$355:$J$372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M$355:$M$372</c:f>
              <c:numCache>
                <c:formatCode>General</c:formatCode>
                <c:ptCount val="18"/>
                <c:pt idx="4">
                  <c:v>-2</c:v>
                </c:pt>
                <c:pt idx="5">
                  <c:v>-6</c:v>
                </c:pt>
                <c:pt idx="6">
                  <c:v>-4</c:v>
                </c:pt>
                <c:pt idx="7">
                  <c:v>-3</c:v>
                </c:pt>
                <c:pt idx="8">
                  <c:v>-3</c:v>
                </c:pt>
                <c:pt idx="9">
                  <c:v>1</c:v>
                </c:pt>
                <c:pt idx="10">
                  <c:v>6</c:v>
                </c:pt>
                <c:pt idx="11">
                  <c:v>5</c:v>
                </c:pt>
                <c:pt idx="12">
                  <c:v>6</c:v>
                </c:pt>
                <c:pt idx="13">
                  <c:v>10</c:v>
                </c:pt>
                <c:pt idx="14">
                  <c:v>13</c:v>
                </c:pt>
                <c:pt idx="15">
                  <c:v>11</c:v>
                </c:pt>
                <c:pt idx="16">
                  <c:v>12</c:v>
                </c:pt>
                <c:pt idx="17">
                  <c:v>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24E-4DAA-9A74-58ED9280E617}"/>
            </c:ext>
          </c:extLst>
        </c:ser>
        <c:ser>
          <c:idx val="3"/>
          <c:order val="3"/>
          <c:tx>
            <c:strRef>
              <c:f>Sheet1!$N$353:$N$354</c:f>
              <c:strCache>
                <c:ptCount val="1"/>
                <c:pt idx="0">
                  <c:v>D) Kunne klare seg med mindre penger - trenger mer </c:v>
                </c:pt>
              </c:strCache>
            </c:strRef>
          </c:tx>
          <c:spPr>
            <a:ln w="22225" cap="rnd" cmpd="sng" algn="ctr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Sheet1!$J$355:$J$372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N$355:$N$372</c:f>
              <c:numCache>
                <c:formatCode>General</c:formatCode>
                <c:ptCount val="18"/>
                <c:pt idx="4">
                  <c:v>-20</c:v>
                </c:pt>
                <c:pt idx="5">
                  <c:v>-22</c:v>
                </c:pt>
                <c:pt idx="6">
                  <c:v>-14</c:v>
                </c:pt>
                <c:pt idx="7">
                  <c:v>-14</c:v>
                </c:pt>
                <c:pt idx="8">
                  <c:v>-14</c:v>
                </c:pt>
                <c:pt idx="9">
                  <c:v>-10</c:v>
                </c:pt>
                <c:pt idx="10">
                  <c:v>-10</c:v>
                </c:pt>
                <c:pt idx="11">
                  <c:v>-6</c:v>
                </c:pt>
                <c:pt idx="12">
                  <c:v>0</c:v>
                </c:pt>
                <c:pt idx="13">
                  <c:v>0</c:v>
                </c:pt>
                <c:pt idx="14">
                  <c:v>3</c:v>
                </c:pt>
                <c:pt idx="15">
                  <c:v>3</c:v>
                </c:pt>
                <c:pt idx="16">
                  <c:v>2</c:v>
                </c:pt>
                <c:pt idx="17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24E-4DAA-9A74-58ED9280E6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dk1">
                  <a:lumMod val="35000"/>
                  <a:lumOff val="65000"/>
                  <a:alpha val="33000"/>
                </a:schemeClr>
              </a:solidFill>
              <a:round/>
            </a:ln>
            <a:effectLst/>
          </c:spPr>
        </c:dropLines>
        <c:smooth val="0"/>
        <c:axId val="98244096"/>
        <c:axId val="98245632"/>
      </c:lineChart>
      <c:catAx>
        <c:axId val="98244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97" b="1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8245632"/>
        <c:crosses val="autoZero"/>
        <c:auto val="1"/>
        <c:lblAlgn val="ctr"/>
        <c:lblOffset val="100"/>
        <c:noMultiLvlLbl val="0"/>
      </c:catAx>
      <c:valAx>
        <c:axId val="98245632"/>
        <c:scaling>
          <c:orientation val="minMax"/>
          <c:max val="4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spc="2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8244096"/>
        <c:crosses val="autoZero"/>
        <c:crossBetween val="between"/>
      </c:valAx>
      <c:spPr>
        <a:gradFill>
          <a:gsLst>
            <a:gs pos="100000">
              <a:schemeClr val="lt1">
                <a:lumMod val="95000"/>
              </a:schemeClr>
            </a:gs>
            <a:gs pos="0">
              <a:schemeClr val="lt1"/>
            </a:gs>
          </a:gsLst>
          <a:lin ang="5400000" scaled="0"/>
        </a:gra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1638232837081026"/>
          <c:y val="9.0932456050169655E-2"/>
          <c:w val="0.18252085739091728"/>
          <c:h val="0.74244557581392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solidFill>
      <a:schemeClr val="lt1"/>
    </a:solidFill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1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27-4325-9586-CC99480E88C9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8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27-4325-9586-CC99480E88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1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Vektløfting/kropsbygg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0</c:formatCode>
                <c:ptCount val="6"/>
                <c:pt idx="0">
                  <c:v>1.6</c:v>
                </c:pt>
                <c:pt idx="1">
                  <c:v>3.7</c:v>
                </c:pt>
                <c:pt idx="2">
                  <c:v>7.8</c:v>
                </c:pt>
                <c:pt idx="3">
                  <c:v>17.8</c:v>
                </c:pt>
                <c:pt idx="4">
                  <c:v>31</c:v>
                </c:pt>
                <c:pt idx="5">
                  <c:v>3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C3-4A32-84B5-711D2507A127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4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1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8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Slalom/alping/randone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0</c:formatCode>
                <c:ptCount val="6"/>
                <c:pt idx="0">
                  <c:v>3.1</c:v>
                </c:pt>
                <c:pt idx="1">
                  <c:v>10.3</c:v>
                </c:pt>
                <c:pt idx="2">
                  <c:v>17.100000000000001</c:v>
                </c:pt>
                <c:pt idx="3">
                  <c:v>11.7</c:v>
                </c:pt>
                <c:pt idx="4">
                  <c:v>19.2</c:v>
                </c:pt>
                <c:pt idx="5">
                  <c:v>2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30-447E-AB69-89F0C5683FE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3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1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8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Yoga/pilat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0.0</c:formatCode>
                <c:ptCount val="6"/>
                <c:pt idx="0">
                  <c:v>10.3</c:v>
                </c:pt>
                <c:pt idx="1">
                  <c:v>11.7</c:v>
                </c:pt>
                <c:pt idx="2">
                  <c:v>12.3</c:v>
                </c:pt>
                <c:pt idx="3">
                  <c:v>19.7</c:v>
                </c:pt>
                <c:pt idx="4">
                  <c:v>14.5</c:v>
                </c:pt>
                <c:pt idx="5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D9-4E4C-ADB8-E7F31EDED34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3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9.1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9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Gymnastikk m.m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0</c:formatCode>
                <c:ptCount val="6"/>
                <c:pt idx="0">
                  <c:v>10.9</c:v>
                </c:pt>
                <c:pt idx="1">
                  <c:v>9.4</c:v>
                </c:pt>
                <c:pt idx="2">
                  <c:v>7.9</c:v>
                </c:pt>
                <c:pt idx="3">
                  <c:v>7.4</c:v>
                </c:pt>
                <c:pt idx="4">
                  <c:v>6.9</c:v>
                </c:pt>
                <c:pt idx="5">
                  <c:v>1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A6-448F-9EDA-2B1AB8C2CEAA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3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9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7125475587568859E-2"/>
          <c:y val="4.2108174066152498E-2"/>
          <c:w val="0.69947541579343109"/>
          <c:h val="0.83225356764656866"/>
        </c:manualLayout>
      </c:layout>
      <c:lineChart>
        <c:grouping val="standard"/>
        <c:varyColors val="0"/>
        <c:ser>
          <c:idx val="0"/>
          <c:order val="0"/>
          <c:tx>
            <c:strRef>
              <c:f>Sheet1!$K$614</c:f>
              <c:strCache>
                <c:ptCount val="1"/>
                <c:pt idx="0">
                  <c:v>Det er for mye statlig innblanding og regulering i dagens samfunn: Enig – Uenig </c:v>
                </c:pt>
              </c:strCache>
            </c:strRef>
          </c:tx>
          <c:spPr>
            <a:ln w="22225" cap="rnd" cmpd="sng" algn="ctr">
              <a:solidFill>
                <a:schemeClr val="bg2"/>
              </a:solidFill>
              <a:round/>
            </a:ln>
            <a:effectLst/>
          </c:spPr>
          <c:marker>
            <c:symbol val="none"/>
          </c:marker>
          <c:cat>
            <c:numRef>
              <c:f>Sheet1!$J$615:$J$632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K$615:$K$632</c:f>
              <c:numCache>
                <c:formatCode>General</c:formatCode>
                <c:ptCount val="18"/>
                <c:pt idx="0">
                  <c:v>39</c:v>
                </c:pt>
                <c:pt idx="1">
                  <c:v>36</c:v>
                </c:pt>
                <c:pt idx="2">
                  <c:v>44</c:v>
                </c:pt>
                <c:pt idx="3">
                  <c:v>41</c:v>
                </c:pt>
                <c:pt idx="4">
                  <c:v>33</c:v>
                </c:pt>
                <c:pt idx="5">
                  <c:v>41</c:v>
                </c:pt>
                <c:pt idx="6">
                  <c:v>34</c:v>
                </c:pt>
                <c:pt idx="7">
                  <c:v>44</c:v>
                </c:pt>
                <c:pt idx="8">
                  <c:v>43</c:v>
                </c:pt>
                <c:pt idx="9">
                  <c:v>34</c:v>
                </c:pt>
                <c:pt idx="10">
                  <c:v>24</c:v>
                </c:pt>
                <c:pt idx="11">
                  <c:v>15</c:v>
                </c:pt>
                <c:pt idx="12">
                  <c:v>9</c:v>
                </c:pt>
                <c:pt idx="13">
                  <c:v>8</c:v>
                </c:pt>
                <c:pt idx="14">
                  <c:v>9</c:v>
                </c:pt>
                <c:pt idx="15">
                  <c:v>-8</c:v>
                </c:pt>
                <c:pt idx="16">
                  <c:v>-14</c:v>
                </c:pt>
                <c:pt idx="17">
                  <c:v>-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8B8-4337-869F-0EB11C7BFC61}"/>
            </c:ext>
          </c:extLst>
        </c:ser>
        <c:ser>
          <c:idx val="1"/>
          <c:order val="1"/>
          <c:tx>
            <c:strRef>
              <c:f>Sheet1!$L$614</c:f>
              <c:strCache>
                <c:ptCount val="1"/>
                <c:pt idx="0">
                  <c:v>Mange oppgaver ville bli bedre og billigere løst, dersom de ble overført fra det offentlige til private selskaper: Enig – Uenig </c:v>
                </c:pt>
              </c:strCache>
            </c:strRef>
          </c:tx>
          <c:spPr>
            <a:ln w="22225" cap="rnd" cmpd="sng" algn="ctr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Sheet1!$J$615:$J$632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L$615:$L$632</c:f>
              <c:numCache>
                <c:formatCode>General</c:formatCode>
                <c:ptCount val="18"/>
                <c:pt idx="0">
                  <c:v>38</c:v>
                </c:pt>
                <c:pt idx="1">
                  <c:v>40</c:v>
                </c:pt>
                <c:pt idx="2">
                  <c:v>41</c:v>
                </c:pt>
                <c:pt idx="3">
                  <c:v>36</c:v>
                </c:pt>
                <c:pt idx="4">
                  <c:v>41</c:v>
                </c:pt>
                <c:pt idx="5">
                  <c:v>39</c:v>
                </c:pt>
                <c:pt idx="6">
                  <c:v>33</c:v>
                </c:pt>
                <c:pt idx="7">
                  <c:v>33</c:v>
                </c:pt>
                <c:pt idx="8">
                  <c:v>37</c:v>
                </c:pt>
                <c:pt idx="9">
                  <c:v>8</c:v>
                </c:pt>
                <c:pt idx="10">
                  <c:v>6</c:v>
                </c:pt>
                <c:pt idx="11">
                  <c:v>3</c:v>
                </c:pt>
                <c:pt idx="12">
                  <c:v>9</c:v>
                </c:pt>
                <c:pt idx="13">
                  <c:v>2</c:v>
                </c:pt>
                <c:pt idx="14">
                  <c:v>-4</c:v>
                </c:pt>
                <c:pt idx="15">
                  <c:v>-5</c:v>
                </c:pt>
                <c:pt idx="16">
                  <c:v>-14</c:v>
                </c:pt>
                <c:pt idx="17">
                  <c:v>-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B8-4337-869F-0EB11C7BFC61}"/>
            </c:ext>
          </c:extLst>
        </c:ser>
        <c:ser>
          <c:idx val="2"/>
          <c:order val="2"/>
          <c:tx>
            <c:strRef>
              <c:f>Sheet1!$M$614</c:f>
              <c:strCache>
                <c:ptCount val="1"/>
                <c:pt idx="0">
                  <c:v>Det er nødvendig med et høyt skattenivå for å opprettholde viktig offentlig virksomhet: Uenig – enig </c:v>
                </c:pt>
              </c:strCache>
            </c:strRef>
          </c:tx>
          <c:spPr>
            <a:ln w="22225" cap="rnd" cmpd="sng" algn="ctr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numRef>
              <c:f>Sheet1!$J$615:$J$632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M$615:$M$632</c:f>
              <c:numCache>
                <c:formatCode>General</c:formatCode>
                <c:ptCount val="18"/>
                <c:pt idx="0">
                  <c:v>-9</c:v>
                </c:pt>
                <c:pt idx="1">
                  <c:v>-11</c:v>
                </c:pt>
                <c:pt idx="2">
                  <c:v>0</c:v>
                </c:pt>
                <c:pt idx="3">
                  <c:v>1</c:v>
                </c:pt>
                <c:pt idx="4">
                  <c:v>-10</c:v>
                </c:pt>
                <c:pt idx="5">
                  <c:v>-10</c:v>
                </c:pt>
                <c:pt idx="6">
                  <c:v>0</c:v>
                </c:pt>
                <c:pt idx="7">
                  <c:v>5</c:v>
                </c:pt>
                <c:pt idx="8">
                  <c:v>9</c:v>
                </c:pt>
                <c:pt idx="9">
                  <c:v>-9</c:v>
                </c:pt>
                <c:pt idx="10">
                  <c:v>-5</c:v>
                </c:pt>
                <c:pt idx="11">
                  <c:v>-17</c:v>
                </c:pt>
                <c:pt idx="12">
                  <c:v>-23</c:v>
                </c:pt>
                <c:pt idx="13">
                  <c:v>-37</c:v>
                </c:pt>
                <c:pt idx="14">
                  <c:v>-36</c:v>
                </c:pt>
                <c:pt idx="15">
                  <c:v>-46</c:v>
                </c:pt>
                <c:pt idx="16">
                  <c:v>-51</c:v>
                </c:pt>
                <c:pt idx="17">
                  <c:v>-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8B8-4337-869F-0EB11C7BFC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dk1">
                  <a:lumMod val="35000"/>
                  <a:lumOff val="65000"/>
                  <a:alpha val="33000"/>
                </a:schemeClr>
              </a:solidFill>
              <a:round/>
            </a:ln>
            <a:effectLst/>
          </c:spPr>
        </c:dropLines>
        <c:smooth val="0"/>
        <c:axId val="98274304"/>
        <c:axId val="98292480"/>
      </c:lineChart>
      <c:catAx>
        <c:axId val="9827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97" b="1" i="0" u="none" strike="noStrike" kern="1200" spc="2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8292480"/>
        <c:crosses val="autoZero"/>
        <c:auto val="1"/>
        <c:lblAlgn val="ctr"/>
        <c:lblOffset val="100"/>
        <c:noMultiLvlLbl val="0"/>
      </c:catAx>
      <c:valAx>
        <c:axId val="982924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spc="2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8274304"/>
        <c:crosses val="autoZero"/>
        <c:crossBetween val="between"/>
      </c:valAx>
      <c:spPr>
        <a:gradFill>
          <a:gsLst>
            <a:gs pos="100000">
              <a:schemeClr val="lt1">
                <a:lumMod val="95000"/>
              </a:schemeClr>
            </a:gs>
            <a:gs pos="0">
              <a:schemeClr val="lt1"/>
            </a:gs>
          </a:gsLst>
          <a:lin ang="5400000" scaled="0"/>
        </a:gradFill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827641996554786"/>
          <c:y val="0.10183720484721069"/>
          <c:w val="0.21531954976473597"/>
          <c:h val="0.791334751278360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solidFill>
      <a:schemeClr val="lt1"/>
    </a:solidFill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  <c:userShapes r:id="rId4"/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Fotb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0</c:formatCode>
                <c:ptCount val="6"/>
                <c:pt idx="0">
                  <c:v>0.9</c:v>
                </c:pt>
                <c:pt idx="1">
                  <c:v>3.7</c:v>
                </c:pt>
                <c:pt idx="2">
                  <c:v>6.6</c:v>
                </c:pt>
                <c:pt idx="3">
                  <c:v>12.4</c:v>
                </c:pt>
                <c:pt idx="4">
                  <c:v>12.5</c:v>
                </c:pt>
                <c:pt idx="5">
                  <c:v>2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C5-40D4-ADAF-F2AE7B5ACAD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3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Dan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0</c:formatCode>
                <c:ptCount val="6"/>
                <c:pt idx="0">
                  <c:v>6.1</c:v>
                </c:pt>
                <c:pt idx="1">
                  <c:v>4</c:v>
                </c:pt>
                <c:pt idx="2">
                  <c:v>3.1</c:v>
                </c:pt>
                <c:pt idx="3">
                  <c:v>4.7</c:v>
                </c:pt>
                <c:pt idx="4">
                  <c:v>7.4</c:v>
                </c:pt>
                <c:pt idx="5">
                  <c:v>1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0BE-42BC-8C89-13AC3D8E3F6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3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77-472D-9A43-3006F9205D4A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94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F77-472D-9A43-3006F9205D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4,1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95,9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9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klatring osv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0</c:formatCode>
                <c:ptCount val="6"/>
                <c:pt idx="0">
                  <c:v>0.5</c:v>
                </c:pt>
                <c:pt idx="1">
                  <c:v>2.2999999999999998</c:v>
                </c:pt>
                <c:pt idx="2">
                  <c:v>4.8</c:v>
                </c:pt>
                <c:pt idx="3">
                  <c:v>10.9</c:v>
                </c:pt>
                <c:pt idx="4">
                  <c:v>15.5</c:v>
                </c:pt>
                <c:pt idx="5">
                  <c:v>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CF-4560-B9AB-F6A3859D292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3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4.5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9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Roing/padling/kan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8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8</c:f>
              <c:numCache>
                <c:formatCode>0</c:formatCode>
                <c:ptCount val="7"/>
                <c:pt idx="0">
                  <c:v>3.2</c:v>
                </c:pt>
                <c:pt idx="1">
                  <c:v>5.2</c:v>
                </c:pt>
                <c:pt idx="2">
                  <c:v>5.7</c:v>
                </c:pt>
                <c:pt idx="3">
                  <c:v>3.8</c:v>
                </c:pt>
                <c:pt idx="4">
                  <c:v>5.9</c:v>
                </c:pt>
                <c:pt idx="5">
                  <c:v>4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6F-4C46-B546-EAAD5E578ED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3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4,1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95,9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9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Skyt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0</c:formatCode>
                <c:ptCount val="6"/>
                <c:pt idx="0">
                  <c:v>2.6</c:v>
                </c:pt>
                <c:pt idx="1">
                  <c:v>2.2999999999999998</c:v>
                </c:pt>
                <c:pt idx="2">
                  <c:v>3.6</c:v>
                </c:pt>
                <c:pt idx="3">
                  <c:v>5</c:v>
                </c:pt>
                <c:pt idx="4">
                  <c:v>5.5</c:v>
                </c:pt>
                <c:pt idx="5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CF-4560-B9AB-F6A3859D292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3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4,1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95,9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9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848101265822784E-2"/>
          <c:y val="3.9867105842171922E-2"/>
          <c:w val="0.77449276216248486"/>
          <c:h val="0.7976522367018532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494</c:f>
              <c:strCache>
                <c:ptCount val="1"/>
                <c:pt idx="0">
                  <c:v>Aldri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495:$A$1512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B$1495:$B$1512</c:f>
              <c:numCache>
                <c:formatCode>General</c:formatCode>
                <c:ptCount val="18"/>
                <c:pt idx="0">
                  <c:v>17</c:v>
                </c:pt>
                <c:pt idx="1">
                  <c:v>13</c:v>
                </c:pt>
                <c:pt idx="2">
                  <c:v>13</c:v>
                </c:pt>
                <c:pt idx="3">
                  <c:v>11</c:v>
                </c:pt>
                <c:pt idx="4">
                  <c:v>11</c:v>
                </c:pt>
                <c:pt idx="5">
                  <c:v>18</c:v>
                </c:pt>
                <c:pt idx="6">
                  <c:v>14</c:v>
                </c:pt>
                <c:pt idx="7">
                  <c:v>13</c:v>
                </c:pt>
                <c:pt idx="8">
                  <c:v>16</c:v>
                </c:pt>
                <c:pt idx="9">
                  <c:v>12</c:v>
                </c:pt>
                <c:pt idx="10">
                  <c:v>10</c:v>
                </c:pt>
                <c:pt idx="11">
                  <c:v>9</c:v>
                </c:pt>
                <c:pt idx="12">
                  <c:v>8</c:v>
                </c:pt>
                <c:pt idx="13">
                  <c:v>6</c:v>
                </c:pt>
                <c:pt idx="14">
                  <c:v>6</c:v>
                </c:pt>
                <c:pt idx="15">
                  <c:v>9</c:v>
                </c:pt>
                <c:pt idx="16">
                  <c:v>8</c:v>
                </c:pt>
                <c:pt idx="17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32-4594-9F61-1BFD5B50888A}"/>
            </c:ext>
          </c:extLst>
        </c:ser>
        <c:ser>
          <c:idx val="1"/>
          <c:order val="1"/>
          <c:tx>
            <c:strRef>
              <c:f>Sheet1!$C$1494</c:f>
              <c:strCache>
                <c:ptCount val="1"/>
                <c:pt idx="0">
                  <c:v>&lt;1 gang pr. uke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495:$A$1512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C$1495:$C$1512</c:f>
              <c:numCache>
                <c:formatCode>General</c:formatCode>
                <c:ptCount val="18"/>
                <c:pt idx="0">
                  <c:v>26</c:v>
                </c:pt>
                <c:pt idx="1">
                  <c:v>25</c:v>
                </c:pt>
                <c:pt idx="2">
                  <c:v>26</c:v>
                </c:pt>
                <c:pt idx="3">
                  <c:v>23</c:v>
                </c:pt>
                <c:pt idx="4">
                  <c:v>26</c:v>
                </c:pt>
                <c:pt idx="5">
                  <c:v>22</c:v>
                </c:pt>
                <c:pt idx="6">
                  <c:v>22</c:v>
                </c:pt>
                <c:pt idx="7">
                  <c:v>20</c:v>
                </c:pt>
                <c:pt idx="8">
                  <c:v>19</c:v>
                </c:pt>
                <c:pt idx="9">
                  <c:v>19</c:v>
                </c:pt>
                <c:pt idx="10">
                  <c:v>16</c:v>
                </c:pt>
                <c:pt idx="11">
                  <c:v>17</c:v>
                </c:pt>
                <c:pt idx="12">
                  <c:v>17</c:v>
                </c:pt>
                <c:pt idx="13">
                  <c:v>15</c:v>
                </c:pt>
                <c:pt idx="14">
                  <c:v>15</c:v>
                </c:pt>
                <c:pt idx="15">
                  <c:v>14</c:v>
                </c:pt>
                <c:pt idx="16">
                  <c:v>14</c:v>
                </c:pt>
                <c:pt idx="17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32-4594-9F61-1BFD5B50888A}"/>
            </c:ext>
          </c:extLst>
        </c:ser>
        <c:ser>
          <c:idx val="2"/>
          <c:order val="2"/>
          <c:tx>
            <c:strRef>
              <c:f>Sheet1!$D$1494</c:f>
              <c:strCache>
                <c:ptCount val="1"/>
                <c:pt idx="0">
                  <c:v>1-2 ganger pr. uke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495:$A$1512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D$1495:$D$1512</c:f>
              <c:numCache>
                <c:formatCode>General</c:formatCode>
                <c:ptCount val="18"/>
                <c:pt idx="0">
                  <c:v>33</c:v>
                </c:pt>
                <c:pt idx="1">
                  <c:v>36</c:v>
                </c:pt>
                <c:pt idx="2">
                  <c:v>36</c:v>
                </c:pt>
                <c:pt idx="3">
                  <c:v>37</c:v>
                </c:pt>
                <c:pt idx="4">
                  <c:v>37</c:v>
                </c:pt>
                <c:pt idx="5">
                  <c:v>35</c:v>
                </c:pt>
                <c:pt idx="6">
                  <c:v>37</c:v>
                </c:pt>
                <c:pt idx="7">
                  <c:v>38</c:v>
                </c:pt>
                <c:pt idx="8">
                  <c:v>36</c:v>
                </c:pt>
                <c:pt idx="9">
                  <c:v>37</c:v>
                </c:pt>
                <c:pt idx="10">
                  <c:v>39</c:v>
                </c:pt>
                <c:pt idx="11">
                  <c:v>38</c:v>
                </c:pt>
                <c:pt idx="12">
                  <c:v>37</c:v>
                </c:pt>
                <c:pt idx="13">
                  <c:v>40</c:v>
                </c:pt>
                <c:pt idx="14">
                  <c:v>37</c:v>
                </c:pt>
                <c:pt idx="15">
                  <c:v>37</c:v>
                </c:pt>
                <c:pt idx="16">
                  <c:v>36</c:v>
                </c:pt>
                <c:pt idx="17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32-4594-9F61-1BFD5B50888A}"/>
            </c:ext>
          </c:extLst>
        </c:ser>
        <c:ser>
          <c:idx val="3"/>
          <c:order val="3"/>
          <c:tx>
            <c:strRef>
              <c:f>Sheet1!$E$1494</c:f>
              <c:strCache>
                <c:ptCount val="1"/>
                <c:pt idx="0">
                  <c:v>3-4 ganger pr. uke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495:$A$1512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E$1495:$E$1512</c:f>
              <c:numCache>
                <c:formatCode>General</c:formatCode>
                <c:ptCount val="18"/>
                <c:pt idx="0">
                  <c:v>14</c:v>
                </c:pt>
                <c:pt idx="1">
                  <c:v>15</c:v>
                </c:pt>
                <c:pt idx="2">
                  <c:v>14</c:v>
                </c:pt>
                <c:pt idx="3">
                  <c:v>17</c:v>
                </c:pt>
                <c:pt idx="4">
                  <c:v>16</c:v>
                </c:pt>
                <c:pt idx="5">
                  <c:v>15</c:v>
                </c:pt>
                <c:pt idx="6">
                  <c:v>17</c:v>
                </c:pt>
                <c:pt idx="7">
                  <c:v>18</c:v>
                </c:pt>
                <c:pt idx="8">
                  <c:v>19</c:v>
                </c:pt>
                <c:pt idx="9">
                  <c:v>20</c:v>
                </c:pt>
                <c:pt idx="10">
                  <c:v>22</c:v>
                </c:pt>
                <c:pt idx="11">
                  <c:v>23</c:v>
                </c:pt>
                <c:pt idx="12">
                  <c:v>25</c:v>
                </c:pt>
                <c:pt idx="13">
                  <c:v>26</c:v>
                </c:pt>
                <c:pt idx="14">
                  <c:v>27</c:v>
                </c:pt>
                <c:pt idx="15">
                  <c:v>26</c:v>
                </c:pt>
                <c:pt idx="16">
                  <c:v>26</c:v>
                </c:pt>
                <c:pt idx="17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032-4594-9F61-1BFD5B50888A}"/>
            </c:ext>
          </c:extLst>
        </c:ser>
        <c:ser>
          <c:idx val="4"/>
          <c:order val="4"/>
          <c:tx>
            <c:strRef>
              <c:f>Sheet1!$F$1494</c:f>
              <c:strCache>
                <c:ptCount val="1"/>
                <c:pt idx="0">
                  <c:v>5-6 ganger pr. uke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495:$A$1512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F$1495:$F$1512</c:f>
              <c:numCache>
                <c:formatCode>General</c:formatCode>
                <c:ptCount val="18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7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7</c:v>
                </c:pt>
                <c:pt idx="8">
                  <c:v>7</c:v>
                </c:pt>
                <c:pt idx="9">
                  <c:v>8</c:v>
                </c:pt>
                <c:pt idx="10">
                  <c:v>9</c:v>
                </c:pt>
                <c:pt idx="11">
                  <c:v>9</c:v>
                </c:pt>
                <c:pt idx="12">
                  <c:v>8</c:v>
                </c:pt>
                <c:pt idx="13">
                  <c:v>10</c:v>
                </c:pt>
                <c:pt idx="14">
                  <c:v>9</c:v>
                </c:pt>
                <c:pt idx="15">
                  <c:v>9</c:v>
                </c:pt>
                <c:pt idx="16">
                  <c:v>11</c:v>
                </c:pt>
                <c:pt idx="17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032-4594-9F61-1BFD5B50888A}"/>
            </c:ext>
          </c:extLst>
        </c:ser>
        <c:ser>
          <c:idx val="5"/>
          <c:order val="5"/>
          <c:tx>
            <c:strRef>
              <c:f>Sheet1!$G$1494</c:f>
              <c:strCache>
                <c:ptCount val="1"/>
                <c:pt idx="0">
                  <c:v>Hver dag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1495:$A$1512</c:f>
              <c:numCache>
                <c:formatCode>General</c:formatCode>
                <c:ptCount val="18"/>
                <c:pt idx="0">
                  <c:v>1985</c:v>
                </c:pt>
                <c:pt idx="1">
                  <c:v>1987</c:v>
                </c:pt>
                <c:pt idx="2">
                  <c:v>1989</c:v>
                </c:pt>
                <c:pt idx="3">
                  <c:v>1991</c:v>
                </c:pt>
                <c:pt idx="4">
                  <c:v>1993</c:v>
                </c:pt>
                <c:pt idx="5">
                  <c:v>1995</c:v>
                </c:pt>
                <c:pt idx="6">
                  <c:v>1997</c:v>
                </c:pt>
                <c:pt idx="7">
                  <c:v>1999</c:v>
                </c:pt>
                <c:pt idx="8">
                  <c:v>2001</c:v>
                </c:pt>
                <c:pt idx="9">
                  <c:v>2003</c:v>
                </c:pt>
                <c:pt idx="10">
                  <c:v>2005</c:v>
                </c:pt>
                <c:pt idx="11">
                  <c:v>2007</c:v>
                </c:pt>
                <c:pt idx="12">
                  <c:v>2009</c:v>
                </c:pt>
                <c:pt idx="13">
                  <c:v>2011</c:v>
                </c:pt>
                <c:pt idx="14">
                  <c:v>2013</c:v>
                </c:pt>
                <c:pt idx="15">
                  <c:v>2015</c:v>
                </c:pt>
                <c:pt idx="16">
                  <c:v>2017</c:v>
                </c:pt>
                <c:pt idx="17">
                  <c:v>2019</c:v>
                </c:pt>
              </c:numCache>
            </c:numRef>
          </c:cat>
          <c:val>
            <c:numRef>
              <c:f>Sheet1!$G$1495:$G$1512</c:f>
              <c:numCache>
                <c:formatCode>General</c:formatCode>
                <c:ptCount val="18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6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4</c:v>
                </c:pt>
                <c:pt idx="8">
                  <c:v>4</c:v>
                </c:pt>
                <c:pt idx="9">
                  <c:v>5</c:v>
                </c:pt>
                <c:pt idx="10">
                  <c:v>5</c:v>
                </c:pt>
                <c:pt idx="11">
                  <c:v>5</c:v>
                </c:pt>
                <c:pt idx="12">
                  <c:v>4</c:v>
                </c:pt>
                <c:pt idx="13">
                  <c:v>4</c:v>
                </c:pt>
                <c:pt idx="14">
                  <c:v>5</c:v>
                </c:pt>
                <c:pt idx="15">
                  <c:v>5</c:v>
                </c:pt>
                <c:pt idx="16">
                  <c:v>6</c:v>
                </c:pt>
                <c:pt idx="17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032-4594-9F61-1BFD5B5088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4"/>
        <c:overlap val="100"/>
        <c:axId val="98773632"/>
        <c:axId val="98795904"/>
      </c:barChart>
      <c:catAx>
        <c:axId val="98773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54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8795904"/>
        <c:crosses val="autoZero"/>
        <c:auto val="1"/>
        <c:lblAlgn val="ctr"/>
        <c:lblOffset val="100"/>
        <c:noMultiLvlLbl val="0"/>
      </c:catAx>
      <c:valAx>
        <c:axId val="9879590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8773632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4302010949569928"/>
          <c:y val="0.14139944297355844"/>
          <c:w val="0.14254558017330868"/>
          <c:h val="0.619883387938953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Volleyb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60 år +</c:v>
                </c:pt>
                <c:pt idx="1">
                  <c:v>50-59 år</c:v>
                </c:pt>
                <c:pt idx="2">
                  <c:v>36-49 år</c:v>
                </c:pt>
                <c:pt idx="3">
                  <c:v>26-35 år</c:v>
                </c:pt>
                <c:pt idx="4">
                  <c:v>20-25 år</c:v>
                </c:pt>
                <c:pt idx="5">
                  <c:v>15-19 år</c:v>
                </c:pt>
              </c:strCache>
            </c:strRef>
          </c:cat>
          <c:val>
            <c:numRef>
              <c:f>'Ark1'!$B$2:$B$7</c:f>
              <c:numCache>
                <c:formatCode>0</c:formatCode>
                <c:ptCount val="6"/>
                <c:pt idx="0">
                  <c:v>0</c:v>
                </c:pt>
                <c:pt idx="1">
                  <c:v>0.5</c:v>
                </c:pt>
                <c:pt idx="2">
                  <c:v>2</c:v>
                </c:pt>
                <c:pt idx="3">
                  <c:v>4.9000000000000004</c:v>
                </c:pt>
                <c:pt idx="4">
                  <c:v>8.4</c:v>
                </c:pt>
                <c:pt idx="5">
                  <c:v>1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CF-4560-B9AB-F6A3859D292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78160808"/>
        <c:axId val="378162448"/>
      </c:barChart>
      <c:catAx>
        <c:axId val="37816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2448"/>
        <c:crosses val="autoZero"/>
        <c:auto val="1"/>
        <c:lblAlgn val="ctr"/>
        <c:lblOffset val="100"/>
        <c:noMultiLvlLbl val="0"/>
      </c:catAx>
      <c:valAx>
        <c:axId val="378162448"/>
        <c:scaling>
          <c:orientation val="minMax"/>
          <c:max val="3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160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2,6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9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32-41F8-8E80-45F05DA7A8F2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9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E32-41F8-8E80-45F05DA7A8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20-4D7D-8BAE-16167DD7401F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9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20-4D7D-8BAE-16167DD740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20-4D7D-8BAE-16167DD7401F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9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20-4D7D-8BAE-16167DD740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9A-46DF-99D0-CDBDB49779AE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98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59A-46DF-99D0-CDBDB49779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A7-4E76-88D9-16A43541446A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A7-4E76-88D9-16A4354144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2-414C-A75A-53F6FC50A1E7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9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912-414C-A75A-53F6FC50A1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Minst månedlig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B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F2-45AF-8FC7-D24D843556FE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.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'Ark1'!$A$2</c:f>
              <c:strCache>
                <c:ptCount val="1"/>
                <c:pt idx="0">
                  <c:v>Mint månedlig</c:v>
                </c:pt>
              </c:strCache>
            </c:strRef>
          </c:cat>
          <c:val>
            <c:numRef>
              <c:f>'Ark1'!$C$2</c:f>
              <c:numCache>
                <c:formatCode>General</c:formatCode>
                <c:ptCount val="1"/>
                <c:pt idx="0">
                  <c:v>98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F2-45AF-8FC7-D24D843556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95586864"/>
        <c:axId val="495592112"/>
      </c:barChart>
      <c:catAx>
        <c:axId val="495586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95592112"/>
        <c:crosses val="autoZero"/>
        <c:auto val="1"/>
        <c:lblAlgn val="ctr"/>
        <c:lblOffset val="100"/>
        <c:noMultiLvlLbl val="0"/>
      </c:catAx>
      <c:valAx>
        <c:axId val="49559211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5586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1983873809341029"/>
          <c:y val="4.794468650795948E-2"/>
          <c:w val="0.54694801389771786"/>
          <c:h val="0.890170788005154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talt</c:v>
                </c:pt>
              </c:strCache>
            </c:strRef>
          </c:tx>
          <c:spPr>
            <a:solidFill>
              <a:srgbClr val="E87722"/>
            </a:solidFill>
            <a:ln w="12700">
              <a:noFill/>
              <a:prstDash val="solid"/>
            </a:ln>
          </c:spPr>
          <c:invertIfNegative val="0"/>
          <c:dLbls>
            <c:numFmt formatCode="#,##0" sourceLinked="0"/>
            <c:spPr>
              <a:noFill/>
              <a:ln w="25399">
                <a:noFill/>
              </a:ln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N$1</c:f>
              <c:strCache>
                <c:ptCount val="13"/>
                <c:pt idx="0">
                  <c:v>Konkurrere/måle krefter</c:v>
                </c:pt>
                <c:pt idx="1">
                  <c:v>Gir spenning/utfordringer</c:v>
                </c:pt>
                <c:pt idx="2">
                  <c:v>Hensyn til utseendet</c:v>
                </c:pt>
                <c:pt idx="3">
                  <c:v>Være sammen med venner</c:v>
                </c:pt>
                <c:pt idx="4">
                  <c:v>Bygge opp etter sykdom/skade/barsel</c:v>
                </c:pt>
                <c:pt idx="5">
                  <c:v>Synes jeg bør</c:v>
                </c:pt>
                <c:pt idx="6">
                  <c:v>Oppleve sosialt fellesskap</c:v>
                </c:pt>
                <c:pt idx="7">
                  <c:v>Holde vekten nede</c:v>
                </c:pt>
                <c:pt idx="8">
                  <c:v>Gir bedre selvtillit</c:v>
                </c:pt>
                <c:pt idx="9">
                  <c:v>Ha det gøy/moro</c:v>
                </c:pt>
                <c:pt idx="10">
                  <c:v>Gir avstressing/avkobling</c:v>
                </c:pt>
                <c:pt idx="11">
                  <c:v>Forebygger helseplager</c:v>
                </c:pt>
                <c:pt idx="12">
                  <c:v>Gir fysisk og mentalt overskudd</c:v>
                </c:pt>
              </c:strCache>
            </c:strRef>
          </c:cat>
          <c:val>
            <c:numRef>
              <c:f>Sheet1!$B$2:$N$2</c:f>
              <c:numCache>
                <c:formatCode>General</c:formatCode>
                <c:ptCount val="13"/>
                <c:pt idx="0">
                  <c:v>7.06</c:v>
                </c:pt>
                <c:pt idx="1">
                  <c:v>15.57</c:v>
                </c:pt>
                <c:pt idx="2">
                  <c:v>15.68</c:v>
                </c:pt>
                <c:pt idx="3">
                  <c:v>16.86</c:v>
                </c:pt>
                <c:pt idx="4">
                  <c:v>19.13</c:v>
                </c:pt>
                <c:pt idx="5">
                  <c:v>24.17</c:v>
                </c:pt>
                <c:pt idx="6">
                  <c:v>24.33</c:v>
                </c:pt>
                <c:pt idx="7">
                  <c:v>27.06</c:v>
                </c:pt>
                <c:pt idx="8">
                  <c:v>30.28</c:v>
                </c:pt>
                <c:pt idx="9">
                  <c:v>33.950000000000003</c:v>
                </c:pt>
                <c:pt idx="10">
                  <c:v>45.29</c:v>
                </c:pt>
                <c:pt idx="11">
                  <c:v>61.86</c:v>
                </c:pt>
                <c:pt idx="12">
                  <c:v>62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A1-4946-995E-8C236AE46D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06159104"/>
        <c:axId val="106177280"/>
      </c:barChart>
      <c:catAx>
        <c:axId val="1061591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77280"/>
        <c:crosses val="autoZero"/>
        <c:auto val="1"/>
        <c:lblAlgn val="ctr"/>
        <c:lblOffset val="100"/>
        <c:noMultiLvlLbl val="0"/>
      </c:catAx>
      <c:valAx>
        <c:axId val="106177280"/>
        <c:scaling>
          <c:orientation val="minMax"/>
          <c:max val="100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59104"/>
        <c:crosses val="autoZero"/>
        <c:crossBetween val="between"/>
        <c:majorUnit val="2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88590930581416394"/>
          <c:y val="0.41932833428549099"/>
          <c:w val="0.1093931978833232"/>
          <c:h val="0.14868894879154013"/>
        </c:manualLayout>
      </c:layout>
      <c:overlay val="0"/>
      <c:spPr>
        <a:noFill/>
        <a:ln w="3175">
          <a:noFill/>
          <a:prstDash val="solid"/>
        </a:ln>
      </c:sp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Arial"/>
          <a:cs typeface="Arial" panose="020B0604020202020204" pitchFamily="34" charset="0"/>
        </a:defRPr>
      </a:pPr>
      <a:endParaRPr lang="nb-NO"/>
    </a:p>
  </c:txPr>
  <c:externalData r:id="rId2">
    <c:autoUpdate val="0"/>
  </c:externalData>
  <c:userShapes r:id="rId3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142857142857144E-2"/>
          <c:y val="3.0762055609957394E-2"/>
          <c:w val="0.69409529808773907"/>
          <c:h val="0.8617477912205490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40</c:f>
              <c:strCache>
                <c:ptCount val="1"/>
                <c:pt idx="0">
                  <c:v>Det hele har gått for langt. Det er for sent å gjøre noe. Vi går mot en katastrofe</c:v>
                </c:pt>
              </c:strCache>
            </c:strRef>
          </c:tx>
          <c:spPr>
            <a:solidFill>
              <a:srgbClr val="008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41:$A$56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Sheet1!$B$41:$B$56</c:f>
              <c:numCache>
                <c:formatCode>General</c:formatCode>
                <c:ptCount val="16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1</c:v>
                </c:pt>
                <c:pt idx="12">
                  <c:v>2</c:v>
                </c:pt>
                <c:pt idx="13">
                  <c:v>2</c:v>
                </c:pt>
                <c:pt idx="14">
                  <c:v>3</c:v>
                </c:pt>
                <c:pt idx="15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77-4B34-90AB-62DD3958F29D}"/>
            </c:ext>
          </c:extLst>
        </c:ser>
        <c:ser>
          <c:idx val="1"/>
          <c:order val="1"/>
          <c:tx>
            <c:strRef>
              <c:f>Sheet1!$C$40</c:f>
              <c:strCache>
                <c:ptCount val="1"/>
                <c:pt idx="0">
                  <c:v>Situasjonen er alvorlig. Det er nødvendig med øyeblikkelige og drastiske tiltak om vi skal løse problemene</c:v>
                </c:pt>
              </c:strCache>
            </c:strRef>
          </c:tx>
          <c:spPr>
            <a:solidFill>
              <a:srgbClr val="66FF33"/>
            </a:solidFill>
            <a:ln>
              <a:solidFill>
                <a:srgbClr val="FF66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41:$A$56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Sheet1!$C$41:$C$56</c:f>
              <c:numCache>
                <c:formatCode>General</c:formatCode>
                <c:ptCount val="16"/>
                <c:pt idx="0">
                  <c:v>61</c:v>
                </c:pt>
                <c:pt idx="1">
                  <c:v>52</c:v>
                </c:pt>
                <c:pt idx="2">
                  <c:v>42</c:v>
                </c:pt>
                <c:pt idx="3">
                  <c:v>42</c:v>
                </c:pt>
                <c:pt idx="4">
                  <c:v>34</c:v>
                </c:pt>
                <c:pt idx="5">
                  <c:v>28</c:v>
                </c:pt>
                <c:pt idx="6">
                  <c:v>26</c:v>
                </c:pt>
                <c:pt idx="7">
                  <c:v>26</c:v>
                </c:pt>
                <c:pt idx="8">
                  <c:v>34</c:v>
                </c:pt>
                <c:pt idx="9">
                  <c:v>47</c:v>
                </c:pt>
                <c:pt idx="10">
                  <c:v>42</c:v>
                </c:pt>
                <c:pt idx="11">
                  <c:v>33</c:v>
                </c:pt>
                <c:pt idx="12">
                  <c:v>41</c:v>
                </c:pt>
                <c:pt idx="13">
                  <c:v>44</c:v>
                </c:pt>
                <c:pt idx="14">
                  <c:v>46</c:v>
                </c:pt>
                <c:pt idx="15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F77-4B34-90AB-62DD3958F29D}"/>
            </c:ext>
          </c:extLst>
        </c:ser>
        <c:ser>
          <c:idx val="2"/>
          <c:order val="2"/>
          <c:tx>
            <c:strRef>
              <c:f>Sheet1!$D$40</c:f>
              <c:strCache>
                <c:ptCount val="1"/>
                <c:pt idx="0">
                  <c:v>Med tålmodighet og utholdenhet skal vi på sikt klare å snu tendensen til miljøforringelse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accent5">
                  <a:lumMod val="75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41:$A$56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Sheet1!$D$41:$D$56</c:f>
              <c:numCache>
                <c:formatCode>General</c:formatCode>
                <c:ptCount val="16"/>
                <c:pt idx="0">
                  <c:v>32</c:v>
                </c:pt>
                <c:pt idx="1">
                  <c:v>40</c:v>
                </c:pt>
                <c:pt idx="2">
                  <c:v>47</c:v>
                </c:pt>
                <c:pt idx="3">
                  <c:v>47</c:v>
                </c:pt>
                <c:pt idx="4">
                  <c:v>55</c:v>
                </c:pt>
                <c:pt idx="5">
                  <c:v>58</c:v>
                </c:pt>
                <c:pt idx="6">
                  <c:v>56</c:v>
                </c:pt>
                <c:pt idx="7">
                  <c:v>57</c:v>
                </c:pt>
                <c:pt idx="8">
                  <c:v>51</c:v>
                </c:pt>
                <c:pt idx="9">
                  <c:v>39</c:v>
                </c:pt>
                <c:pt idx="10">
                  <c:v>42</c:v>
                </c:pt>
                <c:pt idx="11">
                  <c:v>48</c:v>
                </c:pt>
                <c:pt idx="12">
                  <c:v>45</c:v>
                </c:pt>
                <c:pt idx="13">
                  <c:v>43</c:v>
                </c:pt>
                <c:pt idx="14">
                  <c:v>40</c:v>
                </c:pt>
                <c:pt idx="15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F77-4B34-90AB-62DD3958F29D}"/>
            </c:ext>
          </c:extLst>
        </c:ser>
        <c:ser>
          <c:idx val="3"/>
          <c:order val="3"/>
          <c:tx>
            <c:strRef>
              <c:f>Sheet1!$E$40</c:f>
              <c:strCache>
                <c:ptCount val="1"/>
                <c:pt idx="0">
                  <c:v>Det står ikke så dårlig til, vi har lett for å overdrive alvoret i situasjonen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chemeClr val="accent5">
                  <a:lumMod val="50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41:$A$56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Sheet1!$E$41:$E$56</c:f>
              <c:numCache>
                <c:formatCode>General</c:formatCode>
                <c:ptCount val="16"/>
                <c:pt idx="0">
                  <c:v>4</c:v>
                </c:pt>
                <c:pt idx="1">
                  <c:v>6</c:v>
                </c:pt>
                <c:pt idx="2">
                  <c:v>8</c:v>
                </c:pt>
                <c:pt idx="3">
                  <c:v>9</c:v>
                </c:pt>
                <c:pt idx="4">
                  <c:v>10</c:v>
                </c:pt>
                <c:pt idx="5">
                  <c:v>13</c:v>
                </c:pt>
                <c:pt idx="6">
                  <c:v>17</c:v>
                </c:pt>
                <c:pt idx="7">
                  <c:v>15</c:v>
                </c:pt>
                <c:pt idx="8">
                  <c:v>13</c:v>
                </c:pt>
                <c:pt idx="9">
                  <c:v>12</c:v>
                </c:pt>
                <c:pt idx="10">
                  <c:v>14</c:v>
                </c:pt>
                <c:pt idx="11">
                  <c:v>18</c:v>
                </c:pt>
                <c:pt idx="12">
                  <c:v>12</c:v>
                </c:pt>
                <c:pt idx="13">
                  <c:v>11</c:v>
                </c:pt>
                <c:pt idx="14">
                  <c:v>11</c:v>
                </c:pt>
                <c:pt idx="15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F77-4B34-90AB-62DD3958F2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62168064"/>
        <c:axId val="62173952"/>
      </c:barChart>
      <c:catAx>
        <c:axId val="62168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nb-NO"/>
          </a:p>
        </c:txPr>
        <c:crossAx val="62173952"/>
        <c:crosses val="autoZero"/>
        <c:auto val="1"/>
        <c:lblAlgn val="ctr"/>
        <c:lblOffset val="100"/>
        <c:noMultiLvlLbl val="0"/>
      </c:catAx>
      <c:valAx>
        <c:axId val="62173952"/>
        <c:scaling>
          <c:orientation val="minMax"/>
        </c:scaling>
        <c:delete val="1"/>
        <c:axPos val="l"/>
        <c:majorGridlines/>
        <c:numFmt formatCode="0%" sourceLinked="1"/>
        <c:majorTickMark val="out"/>
        <c:minorTickMark val="none"/>
        <c:tickLblPos val="nextTo"/>
        <c:crossAx val="62168064"/>
        <c:crosses val="autoZero"/>
        <c:crossBetween val="between"/>
      </c:valAx>
      <c:spPr>
        <a:solidFill>
          <a:srgbClr val="92D050">
            <a:alpha val="39000"/>
          </a:srgbClr>
        </a:solidFill>
        <a:ln>
          <a:solidFill>
            <a:schemeClr val="tx1"/>
          </a:solidFill>
        </a:ln>
      </c:spPr>
    </c:plotArea>
    <c:legend>
      <c:legendPos val="r"/>
      <c:layout>
        <c:manualLayout>
          <c:xMode val="edge"/>
          <c:yMode val="edge"/>
          <c:x val="0.72463745054499951"/>
          <c:y val="5.0518485647525452E-2"/>
          <c:w val="0.2753625258569154"/>
          <c:h val="0.80112344036328687"/>
        </c:manualLayout>
      </c:layout>
      <c:overlay val="0"/>
      <c:txPr>
        <a:bodyPr/>
        <a:lstStyle/>
        <a:p>
          <a:pPr>
            <a:defRPr sz="1400"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nb-NO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7385831699617895E-2"/>
          <c:y val="4.5333724945628415E-2"/>
          <c:w val="0.61426198344739924"/>
          <c:h val="0.8595785186390598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Gir fysisk/ mentalt overskudd</c:v>
                </c:pt>
              </c:strCache>
            </c:strRef>
          </c:tx>
          <c:spPr>
            <a:ln w="28575">
              <a:solidFill>
                <a:srgbClr val="007681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0475135705308123E-2"/>
                  <c:y val="-1.69849178071483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06B-457B-979B-90CA9F4EF440}"/>
                </c:ext>
              </c:extLst>
            </c:dLbl>
            <c:dLbl>
              <c:idx val="8"/>
              <c:layout>
                <c:manualLayout>
                  <c:x val="-1.1251337158389033E-2"/>
                  <c:y val="-1.8903001235407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E8B-4B89-995E-ECCE14987B7E}"/>
                </c:ext>
              </c:extLst>
            </c:dLbl>
            <c:dLbl>
              <c:idx val="15"/>
              <c:layout>
                <c:manualLayout>
                  <c:x val="-3.8747346511562178E-3"/>
                  <c:y val="-1.16262382524765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B73E-4DCA-9CF5-43D753623F26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Q$1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Sheet1!$B$2:$Q$2</c:f>
              <c:numCache>
                <c:formatCode>General</c:formatCode>
                <c:ptCount val="16"/>
                <c:pt idx="0">
                  <c:v>39.6</c:v>
                </c:pt>
                <c:pt idx="1">
                  <c:v>41.3</c:v>
                </c:pt>
                <c:pt idx="2">
                  <c:v>44.3</c:v>
                </c:pt>
                <c:pt idx="3">
                  <c:v>42.8</c:v>
                </c:pt>
                <c:pt idx="4">
                  <c:v>49.6</c:v>
                </c:pt>
                <c:pt idx="5">
                  <c:v>51.5</c:v>
                </c:pt>
                <c:pt idx="6">
                  <c:v>51.2</c:v>
                </c:pt>
                <c:pt idx="7">
                  <c:v>51.7</c:v>
                </c:pt>
                <c:pt idx="8">
                  <c:v>56.6</c:v>
                </c:pt>
                <c:pt idx="9">
                  <c:v>58.6</c:v>
                </c:pt>
                <c:pt idx="10">
                  <c:v>57.5</c:v>
                </c:pt>
                <c:pt idx="11">
                  <c:v>59.6</c:v>
                </c:pt>
                <c:pt idx="12">
                  <c:v>61.8</c:v>
                </c:pt>
                <c:pt idx="13">
                  <c:v>59</c:v>
                </c:pt>
                <c:pt idx="14">
                  <c:v>60.7</c:v>
                </c:pt>
                <c:pt idx="15">
                  <c:v>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EC-42CE-8C9C-B9974F45766F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Forebygge helseplager</c:v>
                </c:pt>
              </c:strCache>
            </c:strRef>
          </c:tx>
          <c:spPr>
            <a:ln w="28575">
              <a:solidFill>
                <a:srgbClr val="E87722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0475135705308123E-2"/>
                  <c:y val="-8.218508616362169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06B-457B-979B-90CA9F4EF440}"/>
                </c:ext>
              </c:extLst>
            </c:dLbl>
            <c:dLbl>
              <c:idx val="1"/>
              <c:layout>
                <c:manualLayout>
                  <c:x val="-2.0475135705308147E-2"/>
                  <c:y val="-1.4793315509451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06B-457B-979B-90CA9F4EF440}"/>
                </c:ext>
              </c:extLst>
            </c:dLbl>
            <c:dLbl>
              <c:idx val="2"/>
              <c:layout>
                <c:manualLayout>
                  <c:x val="-2.0475135705308147E-2"/>
                  <c:y val="-1.69849178071483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06B-457B-979B-90CA9F4EF440}"/>
                </c:ext>
              </c:extLst>
            </c:dLbl>
            <c:dLbl>
              <c:idx val="3"/>
              <c:layout>
                <c:manualLayout>
                  <c:x val="-2.0475135705308123E-2"/>
                  <c:y val="9.314309765210287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A06B-457B-979B-90CA9F4EF440}"/>
                </c:ext>
              </c:extLst>
            </c:dLbl>
            <c:dLbl>
              <c:idx val="4"/>
              <c:layout>
                <c:manualLayout>
                  <c:x val="-2.0475135705308123E-2"/>
                  <c:y val="-1.6437017232724177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A06B-457B-979B-90CA9F4EF440}"/>
                </c:ext>
              </c:extLst>
            </c:dLbl>
            <c:dLbl>
              <c:idx val="5"/>
              <c:layout>
                <c:manualLayout>
                  <c:x val="-1.9018867162967572E-2"/>
                  <c:y val="-1.04101109140586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A06B-457B-979B-90CA9F4EF440}"/>
                </c:ext>
              </c:extLst>
            </c:dLbl>
            <c:dLbl>
              <c:idx val="10"/>
              <c:layout>
                <c:manualLayout>
                  <c:x val="-2.0475135705308123E-2"/>
                  <c:y val="-1.04101109140586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A06B-457B-979B-90CA9F4EF440}"/>
                </c:ext>
              </c:extLst>
            </c:dLbl>
            <c:dLbl>
              <c:idx val="11"/>
              <c:layout>
                <c:manualLayout>
                  <c:x val="-2.0475135705308123E-2"/>
                  <c:y val="-1.4793315509451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A06B-457B-979B-90CA9F4EF440}"/>
                </c:ext>
              </c:extLst>
            </c:dLbl>
            <c:dLbl>
              <c:idx val="12"/>
              <c:layout>
                <c:manualLayout>
                  <c:x val="-2.0475135705308227E-2"/>
                  <c:y val="-1.698491780714833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A06B-457B-979B-90CA9F4EF440}"/>
                </c:ext>
              </c:extLst>
            </c:dLbl>
            <c:dLbl>
              <c:idx val="13"/>
              <c:layout>
                <c:manualLayout>
                  <c:x val="-4.4561817395620809E-3"/>
                  <c:y val="4.93110516981725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A06B-457B-979B-90CA9F4EF440}"/>
                </c:ext>
              </c:extLst>
            </c:dLbl>
            <c:dLbl>
              <c:idx val="14"/>
              <c:layout>
                <c:manualLayout>
                  <c:x val="-1.1737524451264827E-2"/>
                  <c:y val="-3.8353040209689947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4A2-4F60-A4C1-D0AF2DDA9918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Q$1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  <c:pt idx="15">
                  <c:v>2019</c:v>
                </c:pt>
              </c:numCache>
            </c:numRef>
          </c:cat>
          <c:val>
            <c:numRef>
              <c:f>Sheet1!$B$3:$Q$3</c:f>
              <c:numCache>
                <c:formatCode>General</c:formatCode>
                <c:ptCount val="16"/>
                <c:pt idx="0">
                  <c:v>28.2</c:v>
                </c:pt>
                <c:pt idx="1">
                  <c:v>31.8</c:v>
                </c:pt>
                <c:pt idx="2">
                  <c:v>32.799999999999997</c:v>
                </c:pt>
                <c:pt idx="3">
                  <c:v>31.8</c:v>
                </c:pt>
                <c:pt idx="4">
                  <c:v>38</c:v>
                </c:pt>
                <c:pt idx="5">
                  <c:v>43.1</c:v>
                </c:pt>
                <c:pt idx="6">
                  <c:v>43.8</c:v>
                </c:pt>
                <c:pt idx="7">
                  <c:v>45.5</c:v>
                </c:pt>
                <c:pt idx="8">
                  <c:v>51.8</c:v>
                </c:pt>
                <c:pt idx="9">
                  <c:v>53.7</c:v>
                </c:pt>
                <c:pt idx="10">
                  <c:v>55.6</c:v>
                </c:pt>
                <c:pt idx="11">
                  <c:v>57.7</c:v>
                </c:pt>
                <c:pt idx="12">
                  <c:v>59.3</c:v>
                </c:pt>
                <c:pt idx="13">
                  <c:v>59</c:v>
                </c:pt>
                <c:pt idx="14">
                  <c:v>59.6</c:v>
                </c:pt>
                <c:pt idx="15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DEC-42CE-8C9C-B9974F4576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6861312"/>
        <c:axId val="106862848"/>
      </c:lineChart>
      <c:catAx>
        <c:axId val="1068613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06862848"/>
        <c:crosses val="autoZero"/>
        <c:auto val="1"/>
        <c:lblAlgn val="ctr"/>
        <c:lblOffset val="100"/>
        <c:noMultiLvlLbl val="0"/>
      </c:catAx>
      <c:valAx>
        <c:axId val="106862848"/>
        <c:scaling>
          <c:orientation val="minMax"/>
          <c:max val="70"/>
          <c:min val="0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106861312"/>
        <c:crosses val="autoZero"/>
        <c:crossBetween val="between"/>
        <c:majorUnit val="10"/>
        <c:minorUnit val="2"/>
      </c:valAx>
    </c:plotArea>
    <c:legend>
      <c:legendPos val="r"/>
      <c:layout>
        <c:manualLayout>
          <c:xMode val="edge"/>
          <c:yMode val="edge"/>
          <c:x val="0.68810731353100008"/>
          <c:y val="0.1096331661551677"/>
          <c:w val="0.20996550131426805"/>
          <c:h val="0.17796631744579575"/>
        </c:manualLayout>
      </c:layout>
      <c:overlay val="1"/>
      <c:spPr>
        <a:ln>
          <a:solidFill>
            <a:schemeClr val="bg1"/>
          </a:solidFill>
        </a:ln>
      </c:spPr>
      <c:txPr>
        <a:bodyPr/>
        <a:lstStyle/>
        <a:p>
          <a:pPr>
            <a:defRPr sz="1400"/>
          </a:pPr>
          <a:endParaRPr lang="nb-NO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nb-NO"/>
    </a:p>
  </c:txPr>
  <c:externalData r:id="rId2">
    <c:autoUpdate val="0"/>
  </c:externalData>
</c:chartSpace>
</file>

<file path=ppt/charts/chart9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7385831699617895E-2"/>
          <c:y val="4.5333724945628415E-2"/>
          <c:w val="0.61426198344739924"/>
          <c:h val="0.8595785186390598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Gir fysisk/ mentalt overskudd</c:v>
                </c:pt>
              </c:strCache>
            </c:strRef>
          </c:tx>
          <c:spPr>
            <a:ln w="28575">
              <a:solidFill>
                <a:srgbClr val="007681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0475135705308123E-2"/>
                  <c:y val="-1.69849178071483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06B-457B-979B-90CA9F4EF440}"/>
                </c:ext>
              </c:extLst>
            </c:dLbl>
            <c:dLbl>
              <c:idx val="8"/>
              <c:layout>
                <c:manualLayout>
                  <c:x val="-1.1251337158389033E-2"/>
                  <c:y val="-1.8903001235407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E8B-4B89-995E-ECCE14987B7E}"/>
                </c:ext>
              </c:extLst>
            </c:dLbl>
            <c:dLbl>
              <c:idx val="15"/>
              <c:layout>
                <c:manualLayout>
                  <c:x val="-3.8747346511562178E-3"/>
                  <c:y val="-1.16262382524765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B73E-4DCA-9CF5-43D753623F26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Q$1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</c:numCache>
            </c:numRef>
          </c:cat>
          <c:val>
            <c:numRef>
              <c:f>Sheet1!$B$2:$Q$2</c:f>
              <c:numCache>
                <c:formatCode>General</c:formatCode>
                <c:ptCount val="16"/>
                <c:pt idx="0">
                  <c:v>39.6</c:v>
                </c:pt>
                <c:pt idx="1">
                  <c:v>41.3</c:v>
                </c:pt>
                <c:pt idx="2">
                  <c:v>44.3</c:v>
                </c:pt>
                <c:pt idx="3">
                  <c:v>42.8</c:v>
                </c:pt>
                <c:pt idx="4">
                  <c:v>49.6</c:v>
                </c:pt>
                <c:pt idx="5">
                  <c:v>51.5</c:v>
                </c:pt>
                <c:pt idx="6">
                  <c:v>51.2</c:v>
                </c:pt>
                <c:pt idx="7">
                  <c:v>51.7</c:v>
                </c:pt>
                <c:pt idx="8">
                  <c:v>56.6</c:v>
                </c:pt>
                <c:pt idx="9">
                  <c:v>58.6</c:v>
                </c:pt>
                <c:pt idx="10">
                  <c:v>57.5</c:v>
                </c:pt>
                <c:pt idx="11">
                  <c:v>59.6</c:v>
                </c:pt>
                <c:pt idx="12">
                  <c:v>61.8</c:v>
                </c:pt>
                <c:pt idx="13">
                  <c:v>59</c:v>
                </c:pt>
                <c:pt idx="14">
                  <c:v>60.7</c:v>
                </c:pt>
                <c:pt idx="15">
                  <c:v>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EC-42CE-8C9C-B9974F45766F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Forebygge helseplager</c:v>
                </c:pt>
              </c:strCache>
            </c:strRef>
          </c:tx>
          <c:spPr>
            <a:ln w="28575">
              <a:solidFill>
                <a:srgbClr val="E87722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0475135705308123E-2"/>
                  <c:y val="-8.218508616362169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06B-457B-979B-90CA9F4EF440}"/>
                </c:ext>
              </c:extLst>
            </c:dLbl>
            <c:dLbl>
              <c:idx val="1"/>
              <c:layout>
                <c:manualLayout>
                  <c:x val="-2.0475135705308147E-2"/>
                  <c:y val="-1.4793315509451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06B-457B-979B-90CA9F4EF440}"/>
                </c:ext>
              </c:extLst>
            </c:dLbl>
            <c:dLbl>
              <c:idx val="2"/>
              <c:layout>
                <c:manualLayout>
                  <c:x val="-2.0475135705308147E-2"/>
                  <c:y val="-1.69849178071483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06B-457B-979B-90CA9F4EF440}"/>
                </c:ext>
              </c:extLst>
            </c:dLbl>
            <c:dLbl>
              <c:idx val="3"/>
              <c:layout>
                <c:manualLayout>
                  <c:x val="-2.0475135705308123E-2"/>
                  <c:y val="9.314309765210287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A06B-457B-979B-90CA9F4EF440}"/>
                </c:ext>
              </c:extLst>
            </c:dLbl>
            <c:dLbl>
              <c:idx val="4"/>
              <c:layout>
                <c:manualLayout>
                  <c:x val="-2.0475135705308123E-2"/>
                  <c:y val="-1.6437017232724177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A06B-457B-979B-90CA9F4EF440}"/>
                </c:ext>
              </c:extLst>
            </c:dLbl>
            <c:dLbl>
              <c:idx val="5"/>
              <c:layout>
                <c:manualLayout>
                  <c:x val="-1.9018867162967572E-2"/>
                  <c:y val="-1.04101109140586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A06B-457B-979B-90CA9F4EF440}"/>
                </c:ext>
              </c:extLst>
            </c:dLbl>
            <c:dLbl>
              <c:idx val="10"/>
              <c:layout>
                <c:manualLayout>
                  <c:x val="-2.0475135705308123E-2"/>
                  <c:y val="-1.04101109140586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A06B-457B-979B-90CA9F4EF440}"/>
                </c:ext>
              </c:extLst>
            </c:dLbl>
            <c:dLbl>
              <c:idx val="11"/>
              <c:layout>
                <c:manualLayout>
                  <c:x val="-2.0475135705308123E-2"/>
                  <c:y val="-1.4793315509451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A06B-457B-979B-90CA9F4EF440}"/>
                </c:ext>
              </c:extLst>
            </c:dLbl>
            <c:dLbl>
              <c:idx val="12"/>
              <c:layout>
                <c:manualLayout>
                  <c:x val="-2.0475135705308227E-2"/>
                  <c:y val="-1.698491780714833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A06B-457B-979B-90CA9F4EF440}"/>
                </c:ext>
              </c:extLst>
            </c:dLbl>
            <c:dLbl>
              <c:idx val="13"/>
              <c:layout>
                <c:manualLayout>
                  <c:x val="-4.4561817395620809E-3"/>
                  <c:y val="4.93110516981725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A06B-457B-979B-90CA9F4EF440}"/>
                </c:ext>
              </c:extLst>
            </c:dLbl>
            <c:dLbl>
              <c:idx val="14"/>
              <c:layout>
                <c:manualLayout>
                  <c:x val="-1.1737524451264827E-2"/>
                  <c:y val="-3.8353040209689947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4A2-4F60-A4C1-D0AF2DDA9918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Q$1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</c:numCache>
            </c:numRef>
          </c:cat>
          <c:val>
            <c:numRef>
              <c:f>Sheet1!$B$3:$Q$3</c:f>
              <c:numCache>
                <c:formatCode>General</c:formatCode>
                <c:ptCount val="16"/>
                <c:pt idx="0">
                  <c:v>28.2</c:v>
                </c:pt>
                <c:pt idx="1">
                  <c:v>31.8</c:v>
                </c:pt>
                <c:pt idx="2">
                  <c:v>32.799999999999997</c:v>
                </c:pt>
                <c:pt idx="3">
                  <c:v>31.8</c:v>
                </c:pt>
                <c:pt idx="4">
                  <c:v>38</c:v>
                </c:pt>
                <c:pt idx="5">
                  <c:v>43.1</c:v>
                </c:pt>
                <c:pt idx="6">
                  <c:v>43.8</c:v>
                </c:pt>
                <c:pt idx="7">
                  <c:v>45.5</c:v>
                </c:pt>
                <c:pt idx="8">
                  <c:v>51.8</c:v>
                </c:pt>
                <c:pt idx="9">
                  <c:v>53.7</c:v>
                </c:pt>
                <c:pt idx="10">
                  <c:v>55.6</c:v>
                </c:pt>
                <c:pt idx="11">
                  <c:v>57.7</c:v>
                </c:pt>
                <c:pt idx="12">
                  <c:v>59.3</c:v>
                </c:pt>
                <c:pt idx="13">
                  <c:v>59</c:v>
                </c:pt>
                <c:pt idx="14">
                  <c:v>59.6</c:v>
                </c:pt>
                <c:pt idx="15">
                  <c:v>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DEC-42CE-8C9C-B9974F45766F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Gir avstressing/ avkobling</c:v>
                </c:pt>
              </c:strCache>
            </c:strRef>
          </c:tx>
          <c:spPr>
            <a:ln w="28575">
              <a:solidFill>
                <a:srgbClr val="1B365D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0475135705308123E-2"/>
                  <c:y val="-1.91765201048448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E8B-4B89-995E-ECCE14987B7E}"/>
                </c:ext>
              </c:extLst>
            </c:dLbl>
            <c:dLbl>
              <c:idx val="2"/>
              <c:layout>
                <c:manualLayout>
                  <c:x val="-2.0475135705308147E-2"/>
                  <c:y val="-1.26017132117552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A06B-457B-979B-90CA9F4EF440}"/>
                </c:ext>
              </c:extLst>
            </c:dLbl>
            <c:dLbl>
              <c:idx val="4"/>
              <c:layout>
                <c:manualLayout>
                  <c:x val="-2.0475135705308123E-2"/>
                  <c:y val="-1.91765201048448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E8B-4B89-995E-ECCE14987B7E}"/>
                </c:ext>
              </c:extLst>
            </c:dLbl>
            <c:dLbl>
              <c:idx val="5"/>
              <c:layout>
                <c:manualLayout>
                  <c:x val="-2.0475135705308175E-2"/>
                  <c:y val="-8.2185086163620892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E8B-4B89-995E-ECCE14987B7E}"/>
                </c:ext>
              </c:extLst>
            </c:dLbl>
            <c:dLbl>
              <c:idx val="7"/>
              <c:layout>
                <c:manualLayout>
                  <c:x val="-1.7562598620627024E-2"/>
                  <c:y val="-1.91765201048449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A06B-457B-979B-90CA9F4EF440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E8B-4B89-995E-ECCE14987B7E}"/>
                </c:ext>
              </c:extLst>
            </c:dLbl>
            <c:dLbl>
              <c:idx val="13"/>
              <c:layout>
                <c:manualLayout>
                  <c:x val="-8.8249873665837281E-3"/>
                  <c:y val="-1.91765201048448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A06B-457B-979B-90CA9F4EF44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Q$1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</c:numCache>
            </c:numRef>
          </c:cat>
          <c:val>
            <c:numRef>
              <c:f>Sheet1!$B$4:$Q$4</c:f>
              <c:numCache>
                <c:formatCode>General</c:formatCode>
                <c:ptCount val="16"/>
                <c:pt idx="0">
                  <c:v>35.5</c:v>
                </c:pt>
                <c:pt idx="1">
                  <c:v>36.200000000000003</c:v>
                </c:pt>
                <c:pt idx="2">
                  <c:v>40.299999999999997</c:v>
                </c:pt>
                <c:pt idx="3">
                  <c:v>36.700000000000003</c:v>
                </c:pt>
                <c:pt idx="4">
                  <c:v>39.200000000000003</c:v>
                </c:pt>
                <c:pt idx="5">
                  <c:v>40.700000000000003</c:v>
                </c:pt>
                <c:pt idx="6">
                  <c:v>39</c:v>
                </c:pt>
                <c:pt idx="7">
                  <c:v>40.1</c:v>
                </c:pt>
                <c:pt idx="8">
                  <c:v>40.299999999999997</c:v>
                </c:pt>
                <c:pt idx="9">
                  <c:v>41.3</c:v>
                </c:pt>
                <c:pt idx="10">
                  <c:v>41.7</c:v>
                </c:pt>
                <c:pt idx="11">
                  <c:v>42.1</c:v>
                </c:pt>
                <c:pt idx="12">
                  <c:v>40.6</c:v>
                </c:pt>
                <c:pt idx="13">
                  <c:v>42</c:v>
                </c:pt>
                <c:pt idx="14">
                  <c:v>42.2</c:v>
                </c:pt>
                <c:pt idx="15">
                  <c:v>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73E-4DCA-9CF5-43D753623F26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Gir bedre selvtillit</c:v>
                </c:pt>
              </c:strCache>
            </c:strRef>
          </c:tx>
          <c:spPr>
            <a:ln w="28575">
              <a:solidFill>
                <a:srgbClr val="1B365D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0475135705308123E-2"/>
                  <c:y val="-1.91765201048448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B91-435A-B793-21258ED16883}"/>
                </c:ext>
              </c:extLst>
            </c:dLbl>
            <c:dLbl>
              <c:idx val="2"/>
              <c:layout>
                <c:manualLayout>
                  <c:x val="-2.0475135705308147E-2"/>
                  <c:y val="-1.26017132117552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B91-435A-B793-21258ED16883}"/>
                </c:ext>
              </c:extLst>
            </c:dLbl>
            <c:dLbl>
              <c:idx val="4"/>
              <c:layout>
                <c:manualLayout>
                  <c:x val="-2.0475135705308123E-2"/>
                  <c:y val="-1.91765201048448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B91-435A-B793-21258ED16883}"/>
                </c:ext>
              </c:extLst>
            </c:dLbl>
            <c:dLbl>
              <c:idx val="5"/>
              <c:layout>
                <c:manualLayout>
                  <c:x val="-2.0475135705308175E-2"/>
                  <c:y val="-8.2185086163620892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B91-435A-B793-21258ED16883}"/>
                </c:ext>
              </c:extLst>
            </c:dLbl>
            <c:dLbl>
              <c:idx val="7"/>
              <c:layout>
                <c:manualLayout>
                  <c:x val="-1.7562598620627024E-2"/>
                  <c:y val="-1.91765201048449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B91-435A-B793-21258ED16883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B91-435A-B793-21258ED16883}"/>
                </c:ext>
              </c:extLst>
            </c:dLbl>
            <c:dLbl>
              <c:idx val="13"/>
              <c:layout>
                <c:manualLayout>
                  <c:x val="-8.8249873665837281E-3"/>
                  <c:y val="-1.91765201048448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B91-435A-B793-21258ED16883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Q$1</c:f>
              <c:numCache>
                <c:formatCode>General</c:formatCode>
                <c:ptCount val="16"/>
                <c:pt idx="0">
                  <c:v>1989</c:v>
                </c:pt>
                <c:pt idx="1">
                  <c:v>1991</c:v>
                </c:pt>
                <c:pt idx="2">
                  <c:v>1993</c:v>
                </c:pt>
                <c:pt idx="3">
                  <c:v>1995</c:v>
                </c:pt>
                <c:pt idx="4">
                  <c:v>1997</c:v>
                </c:pt>
                <c:pt idx="5">
                  <c:v>1999</c:v>
                </c:pt>
                <c:pt idx="6">
                  <c:v>2001</c:v>
                </c:pt>
                <c:pt idx="7">
                  <c:v>2003</c:v>
                </c:pt>
                <c:pt idx="8">
                  <c:v>2005</c:v>
                </c:pt>
                <c:pt idx="9">
                  <c:v>2007</c:v>
                </c:pt>
                <c:pt idx="10">
                  <c:v>2009</c:v>
                </c:pt>
                <c:pt idx="11">
                  <c:v>2011</c:v>
                </c:pt>
                <c:pt idx="12">
                  <c:v>2013</c:v>
                </c:pt>
                <c:pt idx="13">
                  <c:v>2015</c:v>
                </c:pt>
                <c:pt idx="14">
                  <c:v>2017</c:v>
                </c:pt>
              </c:numCache>
            </c:numRef>
          </c:cat>
          <c:val>
            <c:numRef>
              <c:f>Sheet1!$B$5:$Q$5</c:f>
              <c:numCache>
                <c:formatCode>General</c:formatCode>
                <c:ptCount val="16"/>
                <c:pt idx="0">
                  <c:v>12.6</c:v>
                </c:pt>
                <c:pt idx="1">
                  <c:v>14.3</c:v>
                </c:pt>
                <c:pt idx="2">
                  <c:v>13.9</c:v>
                </c:pt>
                <c:pt idx="3">
                  <c:v>14.9</c:v>
                </c:pt>
                <c:pt idx="4">
                  <c:v>14.7</c:v>
                </c:pt>
                <c:pt idx="5">
                  <c:v>17.600000000000001</c:v>
                </c:pt>
                <c:pt idx="6">
                  <c:v>18.600000000000001</c:v>
                </c:pt>
                <c:pt idx="7">
                  <c:v>21.3</c:v>
                </c:pt>
                <c:pt idx="8">
                  <c:v>24.1</c:v>
                </c:pt>
                <c:pt idx="9">
                  <c:v>25.5</c:v>
                </c:pt>
                <c:pt idx="10">
                  <c:v>26.1</c:v>
                </c:pt>
                <c:pt idx="11">
                  <c:v>28.9</c:v>
                </c:pt>
                <c:pt idx="12">
                  <c:v>26</c:v>
                </c:pt>
                <c:pt idx="13">
                  <c:v>28</c:v>
                </c:pt>
                <c:pt idx="14">
                  <c:v>27.4</c:v>
                </c:pt>
                <c:pt idx="15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3D8-4010-B6EC-133421AE70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6861312"/>
        <c:axId val="106862848"/>
      </c:lineChart>
      <c:catAx>
        <c:axId val="1068613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06862848"/>
        <c:crosses val="autoZero"/>
        <c:auto val="1"/>
        <c:lblAlgn val="ctr"/>
        <c:lblOffset val="100"/>
        <c:noMultiLvlLbl val="0"/>
      </c:catAx>
      <c:valAx>
        <c:axId val="106862848"/>
        <c:scaling>
          <c:orientation val="minMax"/>
          <c:max val="70"/>
          <c:min val="0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106861312"/>
        <c:crosses val="autoZero"/>
        <c:crossBetween val="between"/>
        <c:majorUnit val="10"/>
        <c:minorUnit val="2"/>
      </c:valAx>
    </c:plotArea>
    <c:legend>
      <c:legendPos val="r"/>
      <c:layout>
        <c:manualLayout>
          <c:xMode val="edge"/>
          <c:yMode val="edge"/>
          <c:x val="0.68925862954412875"/>
          <c:y val="0.1148480737281169"/>
          <c:w val="0.22838655752432607"/>
          <c:h val="0.45174896502562706"/>
        </c:manualLayout>
      </c:layout>
      <c:overlay val="1"/>
      <c:spPr>
        <a:ln>
          <a:solidFill>
            <a:schemeClr val="bg1"/>
          </a:solidFill>
        </a:ln>
      </c:spPr>
      <c:txPr>
        <a:bodyPr/>
        <a:lstStyle/>
        <a:p>
          <a:pPr>
            <a:defRPr sz="1400"/>
          </a:pPr>
          <a:endParaRPr lang="nb-NO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nb-NO"/>
    </a:p>
  </c:txPr>
  <c:externalData r:id="rId2">
    <c:autoUpdate val="0"/>
  </c:externalData>
</c:chartSpace>
</file>

<file path=ppt/charts/chart9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2697582505127493"/>
          <c:y val="4.7944696675071119E-2"/>
          <c:w val="0.54694801389771786"/>
          <c:h val="0.890170788005154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Mann</c:v>
                </c:pt>
              </c:strCache>
            </c:strRef>
          </c:tx>
          <c:spPr>
            <a:solidFill>
              <a:srgbClr val="00B0F0"/>
            </a:solidFill>
            <a:ln w="12700">
              <a:noFill/>
              <a:prstDash val="solid"/>
            </a:ln>
          </c:spPr>
          <c:invertIfNegative val="0"/>
          <c:dLbls>
            <c:numFmt formatCode="#,##0" sourceLinked="0"/>
            <c:spPr>
              <a:noFill/>
              <a:ln w="25399">
                <a:noFill/>
              </a:ln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N$1</c:f>
              <c:strCache>
                <c:ptCount val="13"/>
                <c:pt idx="0">
                  <c:v>Konkurrere/måle krefter</c:v>
                </c:pt>
                <c:pt idx="1">
                  <c:v>Gir spenning/utfordringer</c:v>
                </c:pt>
                <c:pt idx="2">
                  <c:v>Hensyn til utseendet</c:v>
                </c:pt>
                <c:pt idx="3">
                  <c:v>Være sammen med venner</c:v>
                </c:pt>
                <c:pt idx="4">
                  <c:v>Bygge opp etter sykdom/skade/barsel</c:v>
                </c:pt>
                <c:pt idx="5">
                  <c:v>Synes jeg bør</c:v>
                </c:pt>
                <c:pt idx="6">
                  <c:v>Oppleve sosialt fellesskap</c:v>
                </c:pt>
                <c:pt idx="7">
                  <c:v>Holde vekten nede</c:v>
                </c:pt>
                <c:pt idx="8">
                  <c:v>Gir bedre selvtillit</c:v>
                </c:pt>
                <c:pt idx="9">
                  <c:v>Ha det gøy/moro</c:v>
                </c:pt>
                <c:pt idx="10">
                  <c:v>Gir avstressing/avkobling</c:v>
                </c:pt>
                <c:pt idx="11">
                  <c:v>Forebygger helseplager</c:v>
                </c:pt>
                <c:pt idx="12">
                  <c:v>Gir fysisk og mentalt overskudd</c:v>
                </c:pt>
              </c:strCache>
            </c:strRef>
          </c:cat>
          <c:val>
            <c:numRef>
              <c:f>Sheet1!$B$3:$N$3</c:f>
              <c:numCache>
                <c:formatCode>0</c:formatCode>
                <c:ptCount val="13"/>
                <c:pt idx="0">
                  <c:v>9.1999999999999993</c:v>
                </c:pt>
                <c:pt idx="1">
                  <c:v>17.579999999999998</c:v>
                </c:pt>
                <c:pt idx="2">
                  <c:v>13.89</c:v>
                </c:pt>
                <c:pt idx="3">
                  <c:v>17.079999999999998</c:v>
                </c:pt>
                <c:pt idx="4">
                  <c:v>15.07</c:v>
                </c:pt>
                <c:pt idx="5">
                  <c:v>21.22</c:v>
                </c:pt>
                <c:pt idx="6">
                  <c:v>23.53</c:v>
                </c:pt>
                <c:pt idx="7">
                  <c:v>27.03</c:v>
                </c:pt>
                <c:pt idx="8">
                  <c:v>26.47</c:v>
                </c:pt>
                <c:pt idx="9">
                  <c:v>34.79</c:v>
                </c:pt>
                <c:pt idx="10">
                  <c:v>40.630000000000003</c:v>
                </c:pt>
                <c:pt idx="11">
                  <c:v>56.21</c:v>
                </c:pt>
                <c:pt idx="12">
                  <c:v>58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A1-4946-995E-8C236AE46DEB}"/>
            </c:ext>
          </c:extLst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Kvinne</c:v>
                </c:pt>
              </c:strCache>
            </c:strRef>
          </c:tx>
          <c:spPr>
            <a:solidFill>
              <a:srgbClr val="FF66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N$1</c:f>
              <c:strCache>
                <c:ptCount val="13"/>
                <c:pt idx="0">
                  <c:v>Konkurrere/måle krefter</c:v>
                </c:pt>
                <c:pt idx="1">
                  <c:v>Gir spenning/utfordringer</c:v>
                </c:pt>
                <c:pt idx="2">
                  <c:v>Hensyn til utseendet</c:v>
                </c:pt>
                <c:pt idx="3">
                  <c:v>Være sammen med venner</c:v>
                </c:pt>
                <c:pt idx="4">
                  <c:v>Bygge opp etter sykdom/skade/barsel</c:v>
                </c:pt>
                <c:pt idx="5">
                  <c:v>Synes jeg bør</c:v>
                </c:pt>
                <c:pt idx="6">
                  <c:v>Oppleve sosialt fellesskap</c:v>
                </c:pt>
                <c:pt idx="7">
                  <c:v>Holde vekten nede</c:v>
                </c:pt>
                <c:pt idx="8">
                  <c:v>Gir bedre selvtillit</c:v>
                </c:pt>
                <c:pt idx="9">
                  <c:v>Ha det gøy/moro</c:v>
                </c:pt>
                <c:pt idx="10">
                  <c:v>Gir avstressing/avkobling</c:v>
                </c:pt>
                <c:pt idx="11">
                  <c:v>Forebygger helseplager</c:v>
                </c:pt>
                <c:pt idx="12">
                  <c:v>Gir fysisk og mentalt overskudd</c:v>
                </c:pt>
              </c:strCache>
            </c:strRef>
          </c:cat>
          <c:val>
            <c:numRef>
              <c:f>Sheet1!$B$4:$N$4</c:f>
              <c:numCache>
                <c:formatCode>0</c:formatCode>
                <c:ptCount val="13"/>
                <c:pt idx="0">
                  <c:v>4.8899999999999997</c:v>
                </c:pt>
                <c:pt idx="1">
                  <c:v>13.52</c:v>
                </c:pt>
                <c:pt idx="2">
                  <c:v>17.48</c:v>
                </c:pt>
                <c:pt idx="3">
                  <c:v>16.63</c:v>
                </c:pt>
                <c:pt idx="4">
                  <c:v>23.23</c:v>
                </c:pt>
                <c:pt idx="5">
                  <c:v>27.15</c:v>
                </c:pt>
                <c:pt idx="6">
                  <c:v>25.14</c:v>
                </c:pt>
                <c:pt idx="7">
                  <c:v>27.09</c:v>
                </c:pt>
                <c:pt idx="8">
                  <c:v>34.11</c:v>
                </c:pt>
                <c:pt idx="9">
                  <c:v>33.11</c:v>
                </c:pt>
                <c:pt idx="10">
                  <c:v>49.99</c:v>
                </c:pt>
                <c:pt idx="11">
                  <c:v>67.56</c:v>
                </c:pt>
                <c:pt idx="12">
                  <c:v>66.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7A-4BA0-9B8B-EC75EC010CAA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06159104"/>
        <c:axId val="106177280"/>
      </c:barChart>
      <c:catAx>
        <c:axId val="1061591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77280"/>
        <c:crosses val="autoZero"/>
        <c:auto val="1"/>
        <c:lblAlgn val="ctr"/>
        <c:lblOffset val="100"/>
        <c:noMultiLvlLbl val="0"/>
      </c:catAx>
      <c:valAx>
        <c:axId val="106177280"/>
        <c:scaling>
          <c:orientation val="minMax"/>
          <c:max val="100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59104"/>
        <c:crosses val="autoZero"/>
        <c:crossBetween val="between"/>
        <c:majorUnit val="2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88590930581416394"/>
          <c:y val="0.41932833428549099"/>
          <c:w val="6.6557200827591409E-2"/>
          <c:h val="9.4693397772310756E-2"/>
        </c:manualLayout>
      </c:layout>
      <c:overlay val="0"/>
      <c:spPr>
        <a:noFill/>
        <a:ln w="3175">
          <a:noFill/>
          <a:prstDash val="solid"/>
        </a:ln>
      </c:sp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Arial"/>
          <a:cs typeface="Arial" panose="020B0604020202020204" pitchFamily="34" charset="0"/>
        </a:defRPr>
      </a:pPr>
      <a:endParaRPr lang="nb-NO"/>
    </a:p>
  </c:txPr>
  <c:externalData r:id="rId2">
    <c:autoUpdate val="0"/>
  </c:externalData>
  <c:userShapes r:id="rId3"/>
</c:chartSpace>
</file>

<file path=ppt/charts/chart9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2697582505127493"/>
          <c:y val="4.7944696675071119E-2"/>
          <c:w val="0.54694801389771786"/>
          <c:h val="0.890170788005154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5</c:f>
              <c:strCache>
                <c:ptCount val="1"/>
                <c:pt idx="0">
                  <c:v>60+</c:v>
                </c:pt>
              </c:strCache>
            </c:strRef>
          </c:tx>
          <c:spPr>
            <a:solidFill>
              <a:srgbClr val="D35C09">
                <a:lumMod val="20000"/>
                <a:lumOff val="80000"/>
              </a:srgbClr>
            </a:solidFill>
            <a:ln w="12700">
              <a:noFill/>
              <a:prstDash val="solid"/>
            </a:ln>
          </c:spPr>
          <c:invertIfNegative val="0"/>
          <c:dLbls>
            <c:numFmt formatCode="#,##0" sourceLinked="0"/>
            <c:spPr>
              <a:noFill/>
              <a:ln w="25399">
                <a:noFill/>
              </a:ln>
            </c:spPr>
            <c:txPr>
              <a:bodyPr/>
              <a:lstStyle/>
              <a:p>
                <a:pPr>
                  <a:defRPr sz="800" b="0"/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N$1</c:f>
              <c:strCache>
                <c:ptCount val="13"/>
                <c:pt idx="0">
                  <c:v>Bygge opp etter sykdom/skade/barsel</c:v>
                </c:pt>
                <c:pt idx="1">
                  <c:v>Konkurrere/måle krefter</c:v>
                </c:pt>
                <c:pt idx="2">
                  <c:v>Holde vekten nede</c:v>
                </c:pt>
                <c:pt idx="3">
                  <c:v>Være sammen med venner</c:v>
                </c:pt>
                <c:pt idx="4">
                  <c:v>Oppleve sosialt fellesskap</c:v>
                </c:pt>
                <c:pt idx="5">
                  <c:v>Gir spenning/utfordringer</c:v>
                </c:pt>
                <c:pt idx="6">
                  <c:v>Hensyn til utseendet</c:v>
                </c:pt>
                <c:pt idx="7">
                  <c:v>Synes jeg bør</c:v>
                </c:pt>
                <c:pt idx="8">
                  <c:v>Gir bedre selvtillit</c:v>
                </c:pt>
                <c:pt idx="9">
                  <c:v>Gir avstressing/avkobling</c:v>
                </c:pt>
                <c:pt idx="10">
                  <c:v>Ha det gøy/moro</c:v>
                </c:pt>
                <c:pt idx="11">
                  <c:v>Forebygger helseplager</c:v>
                </c:pt>
                <c:pt idx="12">
                  <c:v>Gir fysisk og mentalt overskudd</c:v>
                </c:pt>
              </c:strCache>
            </c:strRef>
          </c:cat>
          <c:val>
            <c:numRef>
              <c:f>Sheet1!$B$5:$N$5</c:f>
              <c:numCache>
                <c:formatCode>0</c:formatCode>
                <c:ptCount val="13"/>
                <c:pt idx="0">
                  <c:v>19.16</c:v>
                </c:pt>
                <c:pt idx="1">
                  <c:v>2.71</c:v>
                </c:pt>
                <c:pt idx="2">
                  <c:v>18.53</c:v>
                </c:pt>
                <c:pt idx="3">
                  <c:v>15.14</c:v>
                </c:pt>
                <c:pt idx="4">
                  <c:v>21.47</c:v>
                </c:pt>
                <c:pt idx="5">
                  <c:v>6.69</c:v>
                </c:pt>
                <c:pt idx="6">
                  <c:v>3.59</c:v>
                </c:pt>
                <c:pt idx="7">
                  <c:v>16.28</c:v>
                </c:pt>
                <c:pt idx="8">
                  <c:v>13.37</c:v>
                </c:pt>
                <c:pt idx="9">
                  <c:v>29.1</c:v>
                </c:pt>
                <c:pt idx="10">
                  <c:v>20.05</c:v>
                </c:pt>
                <c:pt idx="11">
                  <c:v>58.09</c:v>
                </c:pt>
                <c:pt idx="12">
                  <c:v>55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A1-4946-995E-8C236AE46DEB}"/>
            </c:ext>
          </c:extLst>
        </c:ser>
        <c:ser>
          <c:idx val="1"/>
          <c:order val="1"/>
          <c:tx>
            <c:strRef>
              <c:f>Sheet1!$A$6</c:f>
              <c:strCache>
                <c:ptCount val="1"/>
                <c:pt idx="0">
                  <c:v>40-59 år</c:v>
                </c:pt>
              </c:strCache>
            </c:strRef>
          </c:tx>
          <c:spPr>
            <a:solidFill>
              <a:sysClr val="window" lastClr="FFFFFF">
                <a:lumMod val="85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 b="0"/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N$1</c:f>
              <c:strCache>
                <c:ptCount val="13"/>
                <c:pt idx="0">
                  <c:v>Bygge opp etter sykdom/skade/barsel</c:v>
                </c:pt>
                <c:pt idx="1">
                  <c:v>Konkurrere/måle krefter</c:v>
                </c:pt>
                <c:pt idx="2">
                  <c:v>Holde vekten nede</c:v>
                </c:pt>
                <c:pt idx="3">
                  <c:v>Være sammen med venner</c:v>
                </c:pt>
                <c:pt idx="4">
                  <c:v>Oppleve sosialt fellesskap</c:v>
                </c:pt>
                <c:pt idx="5">
                  <c:v>Gir spenning/utfordringer</c:v>
                </c:pt>
                <c:pt idx="6">
                  <c:v>Hensyn til utseendet</c:v>
                </c:pt>
                <c:pt idx="7">
                  <c:v>Synes jeg bør</c:v>
                </c:pt>
                <c:pt idx="8">
                  <c:v>Gir bedre selvtillit</c:v>
                </c:pt>
                <c:pt idx="9">
                  <c:v>Gir avstressing/avkobling</c:v>
                </c:pt>
                <c:pt idx="10">
                  <c:v>Ha det gøy/moro</c:v>
                </c:pt>
                <c:pt idx="11">
                  <c:v>Forebygger helseplager</c:v>
                </c:pt>
                <c:pt idx="12">
                  <c:v>Gir fysisk og mentalt overskudd</c:v>
                </c:pt>
              </c:strCache>
            </c:strRef>
          </c:cat>
          <c:val>
            <c:numRef>
              <c:f>Sheet1!$B$6:$N$6</c:f>
              <c:numCache>
                <c:formatCode>0</c:formatCode>
                <c:ptCount val="13"/>
                <c:pt idx="0">
                  <c:v>19.47</c:v>
                </c:pt>
                <c:pt idx="1">
                  <c:v>4.29</c:v>
                </c:pt>
                <c:pt idx="2">
                  <c:v>31.06</c:v>
                </c:pt>
                <c:pt idx="3">
                  <c:v>15.14</c:v>
                </c:pt>
                <c:pt idx="4">
                  <c:v>23.07</c:v>
                </c:pt>
                <c:pt idx="5">
                  <c:v>11.33</c:v>
                </c:pt>
                <c:pt idx="6">
                  <c:v>10.01</c:v>
                </c:pt>
                <c:pt idx="7">
                  <c:v>20.37</c:v>
                </c:pt>
                <c:pt idx="8">
                  <c:v>26.26</c:v>
                </c:pt>
                <c:pt idx="9">
                  <c:v>49.41</c:v>
                </c:pt>
                <c:pt idx="10">
                  <c:v>34.15</c:v>
                </c:pt>
                <c:pt idx="11">
                  <c:v>66.97</c:v>
                </c:pt>
                <c:pt idx="12">
                  <c:v>65.15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7A-4BA0-9B8B-EC75EC010CAA}"/>
            </c:ext>
          </c:extLst>
        </c:ser>
        <c:ser>
          <c:idx val="2"/>
          <c:order val="2"/>
          <c:tx>
            <c:strRef>
              <c:f>Sheet1!$A$7</c:f>
              <c:strCache>
                <c:ptCount val="1"/>
                <c:pt idx="0">
                  <c:v>25-39 år</c:v>
                </c:pt>
              </c:strCache>
            </c:strRef>
          </c:tx>
          <c:spPr>
            <a:solidFill>
              <a:sysClr val="window" lastClr="FFFFFF">
                <a:lumMod val="50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N$1</c:f>
              <c:strCache>
                <c:ptCount val="13"/>
                <c:pt idx="0">
                  <c:v>Bygge opp etter sykdom/skade/barsel</c:v>
                </c:pt>
                <c:pt idx="1">
                  <c:v>Konkurrere/måle krefter</c:v>
                </c:pt>
                <c:pt idx="2">
                  <c:v>Holde vekten nede</c:v>
                </c:pt>
                <c:pt idx="3">
                  <c:v>Være sammen med venner</c:v>
                </c:pt>
                <c:pt idx="4">
                  <c:v>Oppleve sosialt fellesskap</c:v>
                </c:pt>
                <c:pt idx="5">
                  <c:v>Gir spenning/utfordringer</c:v>
                </c:pt>
                <c:pt idx="6">
                  <c:v>Hensyn til utseendet</c:v>
                </c:pt>
                <c:pt idx="7">
                  <c:v>Synes jeg bør</c:v>
                </c:pt>
                <c:pt idx="8">
                  <c:v>Gir bedre selvtillit</c:v>
                </c:pt>
                <c:pt idx="9">
                  <c:v>Gir avstressing/avkobling</c:v>
                </c:pt>
                <c:pt idx="10">
                  <c:v>Ha det gøy/moro</c:v>
                </c:pt>
                <c:pt idx="11">
                  <c:v>Forebygger helseplager</c:v>
                </c:pt>
                <c:pt idx="12">
                  <c:v>Gir fysisk og mentalt overskudd</c:v>
                </c:pt>
              </c:strCache>
            </c:strRef>
          </c:cat>
          <c:val>
            <c:numRef>
              <c:f>Sheet1!$B$7:$N$7</c:f>
              <c:numCache>
                <c:formatCode>0</c:formatCode>
                <c:ptCount val="13"/>
                <c:pt idx="0">
                  <c:v>20.16</c:v>
                </c:pt>
                <c:pt idx="1">
                  <c:v>8.07</c:v>
                </c:pt>
                <c:pt idx="2">
                  <c:v>32.28</c:v>
                </c:pt>
                <c:pt idx="3">
                  <c:v>15.12</c:v>
                </c:pt>
                <c:pt idx="4">
                  <c:v>23.02</c:v>
                </c:pt>
                <c:pt idx="5">
                  <c:v>19.47</c:v>
                </c:pt>
                <c:pt idx="6">
                  <c:v>23.21</c:v>
                </c:pt>
                <c:pt idx="7">
                  <c:v>29.44</c:v>
                </c:pt>
                <c:pt idx="8">
                  <c:v>42.7</c:v>
                </c:pt>
                <c:pt idx="9">
                  <c:v>54.94</c:v>
                </c:pt>
                <c:pt idx="10">
                  <c:v>39.06</c:v>
                </c:pt>
                <c:pt idx="11">
                  <c:v>64.36</c:v>
                </c:pt>
                <c:pt idx="12">
                  <c:v>69.20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1C-4E2A-9D3F-DC3A1D07CED0}"/>
            </c:ext>
          </c:extLst>
        </c:ser>
        <c:ser>
          <c:idx val="3"/>
          <c:order val="3"/>
          <c:tx>
            <c:strRef>
              <c:f>Sheet1!$A$8</c:f>
              <c:strCache>
                <c:ptCount val="1"/>
                <c:pt idx="0">
                  <c:v>15-24 år</c:v>
                </c:pt>
              </c:strCache>
            </c:strRef>
          </c:tx>
          <c:spPr>
            <a:solidFill>
              <a:srgbClr val="22222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>
                    <a:solidFill>
                      <a:schemeClr val="bg1"/>
                    </a:solidFill>
                  </a:defRPr>
                </a:pPr>
                <a:endParaRPr lang="nb-N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N$1</c:f>
              <c:strCache>
                <c:ptCount val="13"/>
                <c:pt idx="0">
                  <c:v>Bygge opp etter sykdom/skade/barsel</c:v>
                </c:pt>
                <c:pt idx="1">
                  <c:v>Konkurrere/måle krefter</c:v>
                </c:pt>
                <c:pt idx="2">
                  <c:v>Holde vekten nede</c:v>
                </c:pt>
                <c:pt idx="3">
                  <c:v>Være sammen med venner</c:v>
                </c:pt>
                <c:pt idx="4">
                  <c:v>Oppleve sosialt fellesskap</c:v>
                </c:pt>
                <c:pt idx="5">
                  <c:v>Gir spenning/utfordringer</c:v>
                </c:pt>
                <c:pt idx="6">
                  <c:v>Hensyn til utseendet</c:v>
                </c:pt>
                <c:pt idx="7">
                  <c:v>Synes jeg bør</c:v>
                </c:pt>
                <c:pt idx="8">
                  <c:v>Gir bedre selvtillit</c:v>
                </c:pt>
                <c:pt idx="9">
                  <c:v>Gir avstressing/avkobling</c:v>
                </c:pt>
                <c:pt idx="10">
                  <c:v>Ha det gøy/moro</c:v>
                </c:pt>
                <c:pt idx="11">
                  <c:v>Forebygger helseplager</c:v>
                </c:pt>
                <c:pt idx="12">
                  <c:v>Gir fysisk og mentalt overskudd</c:v>
                </c:pt>
              </c:strCache>
            </c:strRef>
          </c:cat>
          <c:val>
            <c:numRef>
              <c:f>Sheet1!$B$8:$N$8</c:f>
              <c:numCache>
                <c:formatCode>0</c:formatCode>
                <c:ptCount val="13"/>
                <c:pt idx="0">
                  <c:v>16.68</c:v>
                </c:pt>
                <c:pt idx="1">
                  <c:v>19.36</c:v>
                </c:pt>
                <c:pt idx="2">
                  <c:v>25.64</c:v>
                </c:pt>
                <c:pt idx="3">
                  <c:v>26.56</c:v>
                </c:pt>
                <c:pt idx="4">
                  <c:v>34.49</c:v>
                </c:pt>
                <c:pt idx="5">
                  <c:v>34.61</c:v>
                </c:pt>
                <c:pt idx="6">
                  <c:v>37.81</c:v>
                </c:pt>
                <c:pt idx="7">
                  <c:v>38.28</c:v>
                </c:pt>
                <c:pt idx="8">
                  <c:v>49.7</c:v>
                </c:pt>
                <c:pt idx="9">
                  <c:v>50.47</c:v>
                </c:pt>
                <c:pt idx="10">
                  <c:v>50.84</c:v>
                </c:pt>
                <c:pt idx="11">
                  <c:v>53.76</c:v>
                </c:pt>
                <c:pt idx="12">
                  <c:v>61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1C-4E2A-9D3F-DC3A1D07CED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06159104"/>
        <c:axId val="106177280"/>
      </c:barChart>
      <c:catAx>
        <c:axId val="1061591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77280"/>
        <c:crosses val="autoZero"/>
        <c:auto val="1"/>
        <c:lblAlgn val="ctr"/>
        <c:lblOffset val="100"/>
        <c:noMultiLvlLbl val="0"/>
      </c:catAx>
      <c:valAx>
        <c:axId val="106177280"/>
        <c:scaling>
          <c:orientation val="minMax"/>
          <c:max val="100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59104"/>
        <c:crosses val="autoZero"/>
        <c:crossBetween val="between"/>
        <c:majorUnit val="2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88590930581416394"/>
          <c:y val="0.41932833428549099"/>
          <c:w val="7.6078121248796246E-2"/>
          <c:h val="0.18938679554462151"/>
        </c:manualLayout>
      </c:layout>
      <c:overlay val="0"/>
      <c:spPr>
        <a:noFill/>
        <a:ln w="3175">
          <a:noFill/>
          <a:prstDash val="solid"/>
        </a:ln>
      </c:sp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Arial"/>
          <a:cs typeface="Arial" panose="020B0604020202020204" pitchFamily="34" charset="0"/>
        </a:defRPr>
      </a:pPr>
      <a:endParaRPr lang="nb-NO"/>
    </a:p>
  </c:txPr>
  <c:externalData r:id="rId2">
    <c:autoUpdate val="0"/>
  </c:externalData>
  <c:userShapes r:id="rId3"/>
</c:chartSpace>
</file>

<file path=ppt/charts/chart9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1983873809341029"/>
          <c:y val="4.794468650795948E-2"/>
          <c:w val="0.54694801389771786"/>
          <c:h val="0.890170788005154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talt</c:v>
                </c:pt>
              </c:strCache>
            </c:strRef>
          </c:tx>
          <c:spPr>
            <a:solidFill>
              <a:srgbClr val="E87722"/>
            </a:solidFill>
            <a:ln w="12700">
              <a:noFill/>
              <a:prstDash val="solid"/>
            </a:ln>
          </c:spPr>
          <c:invertIfNegative val="0"/>
          <c:dLbls>
            <c:numFmt formatCode="#,##0" sourceLinked="0"/>
            <c:spPr>
              <a:noFill/>
              <a:ln w="25399">
                <a:noFill/>
              </a:ln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M$1</c:f>
              <c:strCache>
                <c:ptCount val="12"/>
                <c:pt idx="0">
                  <c:v>For mye / tøff konkurranse</c:v>
                </c:pt>
                <c:pt idx="1">
                  <c:v>Krever for mye frivillig arbeid rundt tilbudet</c:v>
                </c:pt>
                <c:pt idx="2">
                  <c:v>Mangel på gode instruktører / trenere</c:v>
                </c:pt>
                <c:pt idx="3">
                  <c:v>Mangler / har for dårlig utstyr</c:v>
                </c:pt>
                <c:pt idx="4">
                  <c:v>Vanskelig å komme til egnede idrettsanlegg</c:v>
                </c:pt>
                <c:pt idx="5">
                  <c:v>Har varige skader / fysisk handikap</c:v>
                </c:pt>
                <c:pt idx="6">
                  <c:v>For dyrt / har ikke råd</c:v>
                </c:pt>
                <c:pt idx="7">
                  <c:v>Trening / aktiviteter foregår på uegnede tidspunkt</c:v>
                </c:pt>
                <c:pt idx="8">
                  <c:v>Savner et godt miljø</c:v>
                </c:pt>
                <c:pt idx="9">
                  <c:v>Kjedelig</c:v>
                </c:pt>
                <c:pt idx="10">
                  <c:v>For slitsomt / krever for mye / orker ikke</c:v>
                </c:pt>
                <c:pt idx="11">
                  <c:v>Har ikke tid / tar for mye tid</c:v>
                </c:pt>
              </c:strCache>
            </c:strRef>
          </c:cat>
          <c:val>
            <c:numRef>
              <c:f>Sheet1!$B$2:$M$2</c:f>
              <c:numCache>
                <c:formatCode>General</c:formatCode>
                <c:ptCount val="12"/>
                <c:pt idx="0">
                  <c:v>7.36</c:v>
                </c:pt>
                <c:pt idx="1">
                  <c:v>7.86</c:v>
                </c:pt>
                <c:pt idx="2">
                  <c:v>9.11</c:v>
                </c:pt>
                <c:pt idx="3">
                  <c:v>13.82</c:v>
                </c:pt>
                <c:pt idx="4">
                  <c:v>14.89</c:v>
                </c:pt>
                <c:pt idx="5">
                  <c:v>21.12</c:v>
                </c:pt>
                <c:pt idx="6">
                  <c:v>22.56</c:v>
                </c:pt>
                <c:pt idx="7">
                  <c:v>24.63</c:v>
                </c:pt>
                <c:pt idx="8">
                  <c:v>25.3</c:v>
                </c:pt>
                <c:pt idx="9">
                  <c:v>29.76</c:v>
                </c:pt>
                <c:pt idx="10">
                  <c:v>40.299999999999997</c:v>
                </c:pt>
                <c:pt idx="11">
                  <c:v>5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A1-4946-995E-8C236AE46D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06159104"/>
        <c:axId val="106177280"/>
      </c:barChart>
      <c:catAx>
        <c:axId val="1061591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77280"/>
        <c:crosses val="autoZero"/>
        <c:auto val="1"/>
        <c:lblAlgn val="ctr"/>
        <c:lblOffset val="100"/>
        <c:noMultiLvlLbl val="0"/>
      </c:catAx>
      <c:valAx>
        <c:axId val="106177280"/>
        <c:scaling>
          <c:orientation val="minMax"/>
          <c:max val="100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59104"/>
        <c:crosses val="autoZero"/>
        <c:crossBetween val="between"/>
        <c:majorUnit val="2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4332749925144508"/>
          <c:y val="0.41932841592854619"/>
          <c:w val="0.1093931978833232"/>
          <c:h val="0.14868894879154013"/>
        </c:manualLayout>
      </c:layout>
      <c:overlay val="0"/>
      <c:spPr>
        <a:noFill/>
        <a:ln w="3175">
          <a:noFill/>
          <a:prstDash val="solid"/>
        </a:ln>
      </c:sp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Arial"/>
          <a:cs typeface="Arial" panose="020B0604020202020204" pitchFamily="34" charset="0"/>
        </a:defRPr>
      </a:pPr>
      <a:endParaRPr lang="nb-NO"/>
    </a:p>
  </c:txPr>
  <c:externalData r:id="rId2">
    <c:autoUpdate val="0"/>
  </c:externalData>
  <c:userShapes r:id="rId3"/>
</c:chartSpace>
</file>

<file path=ppt/charts/chart9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23287269015098974"/>
          <c:y val="8.4996780424983903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8.40560163780944E-2"/>
          <c:y val="4.7141270895548877E-2"/>
          <c:w val="0.61099401874445791"/>
          <c:h val="0.822321202202604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For slitsomt/ krever for mye/ orker ikke</c:v>
                </c:pt>
              </c:strCache>
            </c:strRef>
          </c:tx>
          <c:spPr>
            <a:ln w="28575">
              <a:solidFill>
                <a:srgbClr val="007681"/>
              </a:solidFill>
            </a:ln>
          </c:spPr>
          <c:invertIfNegative val="0"/>
          <c:dLbls>
            <c:dLbl>
              <c:idx val="0"/>
              <c:layout>
                <c:manualLayout>
                  <c:x val="-2.5048064452566204E-5"/>
                  <c:y val="1.73867191263041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FF7-4CB6-99E0-C2BBAF7E7CE4}"/>
                </c:ext>
              </c:extLst>
            </c:dLbl>
            <c:dLbl>
              <c:idx val="1"/>
              <c:layout>
                <c:manualLayout>
                  <c:x val="-1.2032347998139918E-3"/>
                  <c:y val="4.31433192550866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FF7-4CB6-99E0-C2BBAF7E7CE4}"/>
                </c:ext>
              </c:extLst>
            </c:dLbl>
            <c:dLbl>
              <c:idx val="2"/>
              <c:layout>
                <c:manualLayout>
                  <c:x val="-1.2032347998140135E-3"/>
                  <c:y val="1.73867191263041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BFF7-4CB6-99E0-C2BBAF7E7CE4}"/>
                </c:ext>
              </c:extLst>
            </c:dLbl>
            <c:dLbl>
              <c:idx val="3"/>
              <c:layout>
                <c:manualLayout>
                  <c:x val="-1.2032347998140135E-3"/>
                  <c:y val="1.73867191263036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BFF7-4CB6-99E0-C2BBAF7E7CE4}"/>
                </c:ext>
              </c:extLst>
            </c:dLbl>
            <c:dLbl>
              <c:idx val="4"/>
              <c:layout>
                <c:manualLayout>
                  <c:x val="5.9697886945282784E-4"/>
                  <c:y val="4.31433192550866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BFF7-4CB6-99E0-C2BBAF7E7CE4}"/>
                </c:ext>
              </c:extLst>
            </c:dLbl>
            <c:dLbl>
              <c:idx val="5"/>
              <c:layout>
                <c:manualLayout>
                  <c:x val="-1.2032347998140566E-3"/>
                  <c:y val="1.73867191263036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BFF7-4CB6-99E0-C2BBAF7E7CE4}"/>
                </c:ext>
              </c:extLst>
            </c:dLbl>
            <c:dLbl>
              <c:idx val="6"/>
              <c:layout>
                <c:manualLayout>
                  <c:x val="-1.2032347998140135E-3"/>
                  <c:y val="-3.412648113126232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BFF7-4CB6-99E0-C2BBAF7E7CE4}"/>
                </c:ext>
              </c:extLst>
            </c:dLbl>
            <c:dLbl>
              <c:idx val="7"/>
              <c:layout>
                <c:manualLayout>
                  <c:x val="3.5095121416317755E-3"/>
                  <c:y val="-5.988308126004532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BFF7-4CB6-99E0-C2BBAF7E7CE4}"/>
                </c:ext>
              </c:extLst>
            </c:dLbl>
            <c:dLbl>
              <c:idx val="8"/>
              <c:layout>
                <c:manualLayout>
                  <c:x val="-2.2264946180058847E-4"/>
                  <c:y val="-8.563968138882832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E8B-4B89-995E-ECCE14987B7E}"/>
                </c:ext>
              </c:extLst>
            </c:dLbl>
            <c:dLbl>
              <c:idx val="9"/>
              <c:layout>
                <c:manualLayout>
                  <c:x val="0"/>
                  <c:y val="-2.060528010302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7EA-48F3-BA67-E40D4BD80F2C}"/>
                </c:ext>
              </c:extLst>
            </c:dLbl>
            <c:dLbl>
              <c:idx val="10"/>
              <c:layout>
                <c:manualLayout>
                  <c:x val="1.1781867353614472E-3"/>
                  <c:y val="-2.06052801030264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7EA-48F3-BA67-E40D4BD80F2C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L$1</c:f>
              <c:numCache>
                <c:formatCode>General</c:formatCode>
                <c:ptCount val="11"/>
                <c:pt idx="0">
                  <c:v>1999</c:v>
                </c:pt>
                <c:pt idx="1">
                  <c:v>2001</c:v>
                </c:pt>
                <c:pt idx="2">
                  <c:v>2003</c:v>
                </c:pt>
                <c:pt idx="3">
                  <c:v>2005</c:v>
                </c:pt>
                <c:pt idx="4">
                  <c:v>2007</c:v>
                </c:pt>
                <c:pt idx="5">
                  <c:v>2009</c:v>
                </c:pt>
                <c:pt idx="6">
                  <c:v>2011</c:v>
                </c:pt>
                <c:pt idx="7">
                  <c:v>2013</c:v>
                </c:pt>
                <c:pt idx="8">
                  <c:v>2015</c:v>
                </c:pt>
                <c:pt idx="9">
                  <c:v>2017</c:v>
                </c:pt>
                <c:pt idx="10">
                  <c:v>2019</c:v>
                </c:pt>
              </c:numCache>
            </c:numRef>
          </c:cat>
          <c:val>
            <c:numRef>
              <c:f>Sheet1!$B$3:$L$3</c:f>
              <c:numCache>
                <c:formatCode>0</c:formatCode>
                <c:ptCount val="11"/>
                <c:pt idx="0">
                  <c:v>34.299999999999997</c:v>
                </c:pt>
                <c:pt idx="1">
                  <c:v>33.9</c:v>
                </c:pt>
                <c:pt idx="2">
                  <c:v>34.299999999999997</c:v>
                </c:pt>
                <c:pt idx="3">
                  <c:v>33.700000000000003</c:v>
                </c:pt>
                <c:pt idx="4">
                  <c:v>33.9</c:v>
                </c:pt>
                <c:pt idx="5">
                  <c:v>34.5</c:v>
                </c:pt>
                <c:pt idx="6">
                  <c:v>32.1</c:v>
                </c:pt>
                <c:pt idx="7">
                  <c:v>33.6</c:v>
                </c:pt>
                <c:pt idx="8">
                  <c:v>37</c:v>
                </c:pt>
                <c:pt idx="9">
                  <c:v>37.5</c:v>
                </c:pt>
                <c:pt idx="10">
                  <c:v>40.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EC-42CE-8C9C-B9974F4576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6861312"/>
        <c:axId val="106862848"/>
      </c:barChart>
      <c:catAx>
        <c:axId val="1068613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06862848"/>
        <c:crosses val="autoZero"/>
        <c:auto val="1"/>
        <c:lblAlgn val="ctr"/>
        <c:lblOffset val="100"/>
        <c:noMultiLvlLbl val="0"/>
      </c:catAx>
      <c:valAx>
        <c:axId val="106862848"/>
        <c:scaling>
          <c:orientation val="minMax"/>
          <c:max val="70"/>
          <c:min val="0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0" sourceLinked="1"/>
        <c:majorTickMark val="out"/>
        <c:minorTickMark val="none"/>
        <c:tickLblPos val="nextTo"/>
        <c:crossAx val="106861312"/>
        <c:crosses val="autoZero"/>
        <c:crossBetween val="between"/>
        <c:majorUnit val="10"/>
        <c:minorUnit val="2"/>
      </c:valAx>
    </c:plotArea>
    <c:legend>
      <c:legendPos val="r"/>
      <c:layout>
        <c:manualLayout>
          <c:xMode val="edge"/>
          <c:yMode val="edge"/>
          <c:x val="0.72932226617075213"/>
          <c:y val="0.51513200257566005"/>
          <c:w val="0.21924580092392104"/>
          <c:h val="4.3949074942580019E-2"/>
        </c:manualLayout>
      </c:layout>
      <c:overlay val="1"/>
      <c:spPr>
        <a:ln>
          <a:solidFill>
            <a:schemeClr val="bg1"/>
          </a:solidFill>
        </a:ln>
      </c:spPr>
    </c:legend>
    <c:plotVisOnly val="1"/>
    <c:dispBlanksAs val="gap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nb-NO"/>
    </a:p>
  </c:txPr>
  <c:externalData r:id="rId2">
    <c:autoUpdate val="0"/>
  </c:externalData>
</c:chartSpace>
</file>

<file path=ppt/charts/chart9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8066732867773311"/>
          <c:y val="4.7141270895548877E-2"/>
          <c:w val="0.61099401874445791"/>
          <c:h val="0.822321202202604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tal</c:v>
                </c:pt>
              </c:strCache>
            </c:strRef>
          </c:tx>
          <c:spPr>
            <a:ln w="28575">
              <a:solidFill>
                <a:srgbClr val="D35C09"/>
              </a:solidFill>
            </a:ln>
          </c:spPr>
          <c:invertIfNegative val="0"/>
          <c:dLbls>
            <c:dLbl>
              <c:idx val="8"/>
              <c:layout>
                <c:manualLayout>
                  <c:x val="-1.0281255908924385E-2"/>
                  <c:y val="-3.28396651641983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E8B-4B89-995E-ECCE14987B7E}"/>
                </c:ext>
              </c:extLst>
            </c:dLbl>
            <c:dLbl>
              <c:idx val="9"/>
              <c:layout>
                <c:manualLayout>
                  <c:x val="-2.0475135705308123E-2"/>
                  <c:y val="-2.76883451384417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7EA-48F3-BA67-E40D4BD80F2C}"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1</c:v>
                </c:pt>
                <c:pt idx="1">
                  <c:v>2013</c:v>
                </c:pt>
                <c:pt idx="2">
                  <c:v>2015</c:v>
                </c:pt>
                <c:pt idx="3">
                  <c:v>2017</c:v>
                </c:pt>
                <c:pt idx="4">
                  <c:v>2019</c:v>
                </c:pt>
              </c:numCache>
            </c:numRef>
          </c:cat>
          <c:val>
            <c:numRef>
              <c:f>Sheet1!$B$2:$F$2</c:f>
              <c:numCache>
                <c:formatCode>0</c:formatCode>
                <c:ptCount val="5"/>
                <c:pt idx="0">
                  <c:v>32.1</c:v>
                </c:pt>
                <c:pt idx="1">
                  <c:v>33.61</c:v>
                </c:pt>
                <c:pt idx="2">
                  <c:v>36.97</c:v>
                </c:pt>
                <c:pt idx="3">
                  <c:v>37.51</c:v>
                </c:pt>
                <c:pt idx="4">
                  <c:v>40.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EC-42CE-8C9C-B9974F4576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6861312"/>
        <c:axId val="106862848"/>
      </c:barChart>
      <c:lineChart>
        <c:grouping val="standard"/>
        <c:varyColors val="0"/>
        <c:ser>
          <c:idx val="4"/>
          <c:order val="1"/>
          <c:tx>
            <c:strRef>
              <c:f>Sheet1!$A$6</c:f>
              <c:strCache>
                <c:ptCount val="1"/>
                <c:pt idx="0">
                  <c:v>25-39 år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1</c:v>
                </c:pt>
                <c:pt idx="1">
                  <c:v>2013</c:v>
                </c:pt>
                <c:pt idx="2">
                  <c:v>2015</c:v>
                </c:pt>
                <c:pt idx="3">
                  <c:v>2017</c:v>
                </c:pt>
                <c:pt idx="4">
                  <c:v>2019</c:v>
                </c:pt>
              </c:numCache>
            </c:numRef>
          </c:cat>
          <c:val>
            <c:numRef>
              <c:f>Sheet1!$B$6:$F$6</c:f>
              <c:numCache>
                <c:formatCode>0</c:formatCode>
                <c:ptCount val="5"/>
                <c:pt idx="0">
                  <c:v>35.01</c:v>
                </c:pt>
                <c:pt idx="1">
                  <c:v>40.840000000000003</c:v>
                </c:pt>
                <c:pt idx="2">
                  <c:v>44</c:v>
                </c:pt>
                <c:pt idx="3">
                  <c:v>47.75</c:v>
                </c:pt>
                <c:pt idx="4">
                  <c:v>53.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362-4143-8F6C-29254CE278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861312"/>
        <c:axId val="106862848"/>
      </c:lineChart>
      <c:catAx>
        <c:axId val="1068613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06862848"/>
        <c:crosses val="autoZero"/>
        <c:auto val="1"/>
        <c:lblAlgn val="ctr"/>
        <c:lblOffset val="100"/>
        <c:noMultiLvlLbl val="0"/>
      </c:catAx>
      <c:valAx>
        <c:axId val="106862848"/>
        <c:scaling>
          <c:orientation val="minMax"/>
          <c:max val="70"/>
          <c:min val="0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0" sourceLinked="1"/>
        <c:majorTickMark val="out"/>
        <c:minorTickMark val="none"/>
        <c:tickLblPos val="nextTo"/>
        <c:crossAx val="106861312"/>
        <c:crosses val="autoZero"/>
        <c:crossBetween val="between"/>
        <c:majorUnit val="10"/>
        <c:minorUnit val="2"/>
      </c:valAx>
    </c:plotArea>
    <c:legend>
      <c:legendPos val="r"/>
      <c:layout>
        <c:manualLayout>
          <c:xMode val="edge"/>
          <c:yMode val="edge"/>
          <c:x val="0.83535907235328255"/>
          <c:y val="0.51770766258853829"/>
          <c:w val="0.12312079215709849"/>
          <c:h val="0.14486282582352672"/>
        </c:manualLayout>
      </c:layout>
      <c:overlay val="1"/>
      <c:spPr>
        <a:ln>
          <a:solidFill>
            <a:schemeClr val="bg1"/>
          </a:solidFill>
        </a:ln>
      </c:spPr>
      <c:txPr>
        <a:bodyPr/>
        <a:lstStyle/>
        <a:p>
          <a:pPr>
            <a:defRPr sz="2000"/>
          </a:pPr>
          <a:endParaRPr lang="nb-NO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nb-NO"/>
    </a:p>
  </c:txPr>
  <c:externalData r:id="rId2">
    <c:autoUpdate val="0"/>
  </c:externalData>
  <c:userShapes r:id="rId3"/>
</c:chartSpace>
</file>

<file path=ppt/charts/chart9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1983873809341029"/>
          <c:y val="4.794468650795948E-2"/>
          <c:w val="0.54694801389771786"/>
          <c:h val="0.890170788005154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talt</c:v>
                </c:pt>
              </c:strCache>
            </c:strRef>
          </c:tx>
          <c:spPr>
            <a:solidFill>
              <a:srgbClr val="E87722"/>
            </a:solidFill>
            <a:ln w="12700">
              <a:noFill/>
              <a:prstDash val="solid"/>
            </a:ln>
          </c:spPr>
          <c:invertIfNegative val="0"/>
          <c:dLbls>
            <c:numFmt formatCode="#,##0" sourceLinked="0"/>
            <c:spPr>
              <a:noFill/>
              <a:ln w="25399">
                <a:noFill/>
              </a:ln>
            </c:spPr>
            <c:txPr>
              <a:bodyPr/>
              <a:lstStyle/>
              <a:p>
                <a:pPr>
                  <a:defRPr b="0"/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M$1</c:f>
              <c:strCache>
                <c:ptCount val="12"/>
                <c:pt idx="0">
                  <c:v>Krever for mye frivillig arbeid rundt tilbudet</c:v>
                </c:pt>
                <c:pt idx="1">
                  <c:v>For mye / tøff konkurranse</c:v>
                </c:pt>
                <c:pt idx="2">
                  <c:v>Mangel på gode instruktører / trenere</c:v>
                </c:pt>
                <c:pt idx="3">
                  <c:v>Har varige skader / fysisk handikap</c:v>
                </c:pt>
                <c:pt idx="4">
                  <c:v>Vanskelig å komme til egnede idrettsanlegg</c:v>
                </c:pt>
                <c:pt idx="5">
                  <c:v>Mangler / har for dårlig utstyr</c:v>
                </c:pt>
                <c:pt idx="6">
                  <c:v>Savner et godt miljø</c:v>
                </c:pt>
                <c:pt idx="7">
                  <c:v>Trening / aktiviteter foregår på uegnede tidspunkt</c:v>
                </c:pt>
                <c:pt idx="8">
                  <c:v>Kjedelig</c:v>
                </c:pt>
                <c:pt idx="9">
                  <c:v>For dyrt / har ikke råd</c:v>
                </c:pt>
                <c:pt idx="10">
                  <c:v>For slitsomt / krever for mye / orker ikke</c:v>
                </c:pt>
                <c:pt idx="11">
                  <c:v>Har ikke tid / tar for mye tid</c:v>
                </c:pt>
              </c:strCache>
            </c:strRef>
          </c:cat>
          <c:val>
            <c:numRef>
              <c:f>Sheet1!$B$2:$M$2</c:f>
              <c:numCache>
                <c:formatCode>0</c:formatCode>
                <c:ptCount val="12"/>
                <c:pt idx="0">
                  <c:v>7.86</c:v>
                </c:pt>
                <c:pt idx="1">
                  <c:v>7.36</c:v>
                </c:pt>
                <c:pt idx="2">
                  <c:v>9.11</c:v>
                </c:pt>
                <c:pt idx="3">
                  <c:v>21.12</c:v>
                </c:pt>
                <c:pt idx="4">
                  <c:v>14.89</c:v>
                </c:pt>
                <c:pt idx="5">
                  <c:v>13.82</c:v>
                </c:pt>
                <c:pt idx="6">
                  <c:v>25.3</c:v>
                </c:pt>
                <c:pt idx="7">
                  <c:v>24.63</c:v>
                </c:pt>
                <c:pt idx="8">
                  <c:v>29.76</c:v>
                </c:pt>
                <c:pt idx="9">
                  <c:v>22.56</c:v>
                </c:pt>
                <c:pt idx="10">
                  <c:v>40.299999999999997</c:v>
                </c:pt>
                <c:pt idx="11">
                  <c:v>5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A1-4946-995E-8C236AE46DE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15-24 år</c:v>
                </c:pt>
              </c:strCache>
            </c:strRef>
          </c:tx>
          <c:spPr>
            <a:solidFill>
              <a:srgbClr val="D2D3D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M$1</c:f>
              <c:strCache>
                <c:ptCount val="12"/>
                <c:pt idx="0">
                  <c:v>Krever for mye frivillig arbeid rundt tilbudet</c:v>
                </c:pt>
                <c:pt idx="1">
                  <c:v>For mye / tøff konkurranse</c:v>
                </c:pt>
                <c:pt idx="2">
                  <c:v>Mangel på gode instruktører / trenere</c:v>
                </c:pt>
                <c:pt idx="3">
                  <c:v>Har varige skader / fysisk handikap</c:v>
                </c:pt>
                <c:pt idx="4">
                  <c:v>Vanskelig å komme til egnede idrettsanlegg</c:v>
                </c:pt>
                <c:pt idx="5">
                  <c:v>Mangler / har for dårlig utstyr</c:v>
                </c:pt>
                <c:pt idx="6">
                  <c:v>Savner et godt miljø</c:v>
                </c:pt>
                <c:pt idx="7">
                  <c:v>Trening / aktiviteter foregår på uegnede tidspunkt</c:v>
                </c:pt>
                <c:pt idx="8">
                  <c:v>Kjedelig</c:v>
                </c:pt>
                <c:pt idx="9">
                  <c:v>For dyrt / har ikke råd</c:v>
                </c:pt>
                <c:pt idx="10">
                  <c:v>For slitsomt / krever for mye / orker ikke</c:v>
                </c:pt>
                <c:pt idx="11">
                  <c:v>Har ikke tid / tar for mye tid</c:v>
                </c:pt>
              </c:strCache>
            </c:strRef>
          </c:cat>
          <c:val>
            <c:numRef>
              <c:f>Sheet1!$B$3:$M$3</c:f>
              <c:numCache>
                <c:formatCode>0</c:formatCode>
                <c:ptCount val="12"/>
                <c:pt idx="0">
                  <c:v>9.99</c:v>
                </c:pt>
                <c:pt idx="1">
                  <c:v>14.88</c:v>
                </c:pt>
                <c:pt idx="2">
                  <c:v>16.100000000000001</c:v>
                </c:pt>
                <c:pt idx="3">
                  <c:v>16.440000000000001</c:v>
                </c:pt>
                <c:pt idx="4">
                  <c:v>30.29</c:v>
                </c:pt>
                <c:pt idx="5">
                  <c:v>30.86</c:v>
                </c:pt>
                <c:pt idx="6">
                  <c:v>33.17</c:v>
                </c:pt>
                <c:pt idx="7">
                  <c:v>34.159999999999997</c:v>
                </c:pt>
                <c:pt idx="8">
                  <c:v>34.92</c:v>
                </c:pt>
                <c:pt idx="9">
                  <c:v>35.26</c:v>
                </c:pt>
                <c:pt idx="10">
                  <c:v>51.19</c:v>
                </c:pt>
                <c:pt idx="11">
                  <c:v>62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C9-45B4-A4C6-440B74AC3FB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06159104"/>
        <c:axId val="106177280"/>
      </c:barChart>
      <c:catAx>
        <c:axId val="1061591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77280"/>
        <c:crosses val="autoZero"/>
        <c:auto val="1"/>
        <c:lblAlgn val="ctr"/>
        <c:lblOffset val="100"/>
        <c:noMultiLvlLbl val="0"/>
      </c:catAx>
      <c:valAx>
        <c:axId val="106177280"/>
        <c:scaling>
          <c:orientation val="minMax"/>
          <c:max val="100"/>
        </c:scaling>
        <c:delete val="0"/>
        <c:axPos val="b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nb-NO"/>
          </a:p>
        </c:txPr>
        <c:crossAx val="106159104"/>
        <c:crosses val="autoZero"/>
        <c:crossBetween val="between"/>
        <c:majorUnit val="2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4332749925144508"/>
          <c:y val="0.41932841592854619"/>
          <c:w val="7.6078121248796246E-2"/>
          <c:h val="9.4693397772310756E-2"/>
        </c:manualLayout>
      </c:layout>
      <c:overlay val="0"/>
      <c:spPr>
        <a:noFill/>
        <a:ln w="3175">
          <a:noFill/>
          <a:prstDash val="solid"/>
        </a:ln>
      </c:sp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Arial"/>
          <a:cs typeface="Arial" panose="020B0604020202020204" pitchFamily="34" charset="0"/>
        </a:defRPr>
      </a:pPr>
      <a:endParaRPr lang="nb-NO"/>
    </a:p>
  </c:txPr>
  <c:externalData r:id="rId2">
    <c:autoUpdate val="0"/>
  </c:externalData>
  <c:userShapes r:id="rId3"/>
</c:chartSpace>
</file>

<file path=ppt/charts/chart9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 dirty="0"/>
          </a:p>
          <a:p>
            <a:pPr>
              <a:defRPr/>
            </a:pP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57799440614773046"/>
          <c:y val="1.2733228939708123E-2"/>
          <c:w val="0.26086407942009671"/>
          <c:h val="0.928418020450673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23</c:f>
              <c:strCache>
                <c:ptCount val="22"/>
                <c:pt idx="0">
                  <c:v>Ingen/Driver ikke med noe av dette</c:v>
                </c:pt>
                <c:pt idx="1">
                  <c:v>Kunstløp/ Hurtigløp på skøyter</c:v>
                </c:pt>
                <c:pt idx="2">
                  <c:v>Biljard</c:v>
                </c:pt>
                <c:pt idx="3">
                  <c:v>Frisbee/ frisbeegolf</c:v>
                </c:pt>
                <c:pt idx="4">
                  <c:v>Telemark</c:v>
                </c:pt>
                <c:pt idx="5">
                  <c:v>Bowling</c:v>
                </c:pt>
                <c:pt idx="6">
                  <c:v>Squash</c:v>
                </c:pt>
                <c:pt idx="7">
                  <c:v>Bryting/ Boksing</c:v>
                </c:pt>
                <c:pt idx="8">
                  <c:v>Golf</c:v>
                </c:pt>
                <c:pt idx="9">
                  <c:v>Badminton</c:v>
                </c:pt>
                <c:pt idx="10">
                  <c:v>Motorsport</c:v>
                </c:pt>
                <c:pt idx="11">
                  <c:v>Seiling/ Brettseiling/ Surfing/ SUP</c:v>
                </c:pt>
                <c:pt idx="12">
                  <c:v>Yoga/ Pilates</c:v>
                </c:pt>
                <c:pt idx="13">
                  <c:v>Roing/ Padling/ Kano</c:v>
                </c:pt>
                <c:pt idx="14">
                  <c:v>Snowboard</c:v>
                </c:pt>
                <c:pt idx="15">
                  <c:v>Rulleskøyter/ Inline-skøyter / rullebrett</c:v>
                </c:pt>
                <c:pt idx="16">
                  <c:v>Basketball</c:v>
                </c:pt>
                <c:pt idx="17">
                  <c:v>Volleyball</c:v>
                </c:pt>
                <c:pt idx="18">
                  <c:v>Orientering</c:v>
                </c:pt>
                <c:pt idx="19">
                  <c:v>Bordtennis</c:v>
                </c:pt>
                <c:pt idx="20">
                  <c:v>Tennis</c:v>
                </c:pt>
                <c:pt idx="21">
                  <c:v>Skyting</c:v>
                </c:pt>
              </c:strCache>
            </c:strRef>
          </c:cat>
          <c:val>
            <c:numRef>
              <c:f>'Ark1'!$B$2:$B$23</c:f>
              <c:numCache>
                <c:formatCode>General</c:formatCode>
                <c:ptCount val="22"/>
                <c:pt idx="0">
                  <c:v>10.6</c:v>
                </c:pt>
                <c:pt idx="1">
                  <c:v>0.1</c:v>
                </c:pt>
                <c:pt idx="2">
                  <c:v>0.2</c:v>
                </c:pt>
                <c:pt idx="3">
                  <c:v>0.2</c:v>
                </c:pt>
                <c:pt idx="4">
                  <c:v>0.3</c:v>
                </c:pt>
                <c:pt idx="5">
                  <c:v>0.3</c:v>
                </c:pt>
                <c:pt idx="6">
                  <c:v>0.4</c:v>
                </c:pt>
                <c:pt idx="7">
                  <c:v>0.8</c:v>
                </c:pt>
                <c:pt idx="8">
                  <c:v>0.8</c:v>
                </c:pt>
                <c:pt idx="9">
                  <c:v>0.8</c:v>
                </c:pt>
                <c:pt idx="10">
                  <c:v>0.8</c:v>
                </c:pt>
                <c:pt idx="11">
                  <c:v>0.9</c:v>
                </c:pt>
                <c:pt idx="12">
                  <c:v>0.9</c:v>
                </c:pt>
                <c:pt idx="13">
                  <c:v>1.2</c:v>
                </c:pt>
                <c:pt idx="14">
                  <c:v>1.4</c:v>
                </c:pt>
                <c:pt idx="15">
                  <c:v>1.4</c:v>
                </c:pt>
                <c:pt idx="16">
                  <c:v>1.4</c:v>
                </c:pt>
                <c:pt idx="17">
                  <c:v>1.5</c:v>
                </c:pt>
                <c:pt idx="18">
                  <c:v>1.6</c:v>
                </c:pt>
                <c:pt idx="19">
                  <c:v>1.8</c:v>
                </c:pt>
                <c:pt idx="20">
                  <c:v>1.9</c:v>
                </c:pt>
                <c:pt idx="21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1F-452C-8D1E-418A4CFFF39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1"/>
        <c:axId val="662233864"/>
        <c:axId val="662237472"/>
      </c:barChart>
      <c:catAx>
        <c:axId val="662233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2237472"/>
        <c:crosses val="autoZero"/>
        <c:auto val="1"/>
        <c:lblAlgn val="ctr"/>
        <c:lblOffset val="100"/>
        <c:noMultiLvlLbl val="0"/>
      </c:catAx>
      <c:valAx>
        <c:axId val="662237472"/>
        <c:scaling>
          <c:orientation val="minMax"/>
          <c:max val="30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662233864"/>
        <c:crosses val="autoZero"/>
        <c:crossBetween val="between"/>
        <c:majorUnit val="30"/>
      </c:valAx>
      <c:spPr>
        <a:solidFill>
          <a:schemeClr val="bg1"/>
        </a:solidFill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9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 dirty="0"/>
          </a:p>
          <a:p>
            <a:pPr>
              <a:defRPr/>
            </a:pP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0.50905612957507362"/>
          <c:y val="1.4980915378995308E-2"/>
          <c:w val="0.46424119215204923"/>
          <c:h val="0.928418020450673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4:$A$46</c:f>
              <c:strCache>
                <c:ptCount val="23"/>
                <c:pt idx="0">
                  <c:v>Sykling som trening (på vei/ i terreng/ spinning)</c:v>
                </c:pt>
                <c:pt idx="1">
                  <c:v>Bandy/ Ishockey</c:v>
                </c:pt>
                <c:pt idx="2">
                  <c:v>Innebandy</c:v>
                </c:pt>
                <c:pt idx="3">
                  <c:v>Friidrett</c:v>
                </c:pt>
                <c:pt idx="4">
                  <c:v>Klatring/ Fallskjermhopping/ Paragliding/ Hanggliding/ Kiting / Rafting/ Dykking/ Topptur</c:v>
                </c:pt>
                <c:pt idx="5">
                  <c:v>Vektløfting/ Kroppsbygging</c:v>
                </c:pt>
                <c:pt idx="6">
                  <c:v>Ridning</c:v>
                </c:pt>
                <c:pt idx="7">
                  <c:v>Judo/ Karate/ Tae kwondo o.l.</c:v>
                </c:pt>
                <c:pt idx="8">
                  <c:v>Allidrett</c:v>
                </c:pt>
                <c:pt idx="9">
                  <c:v>Løpstrening</c:v>
                </c:pt>
                <c:pt idx="10">
                  <c:v>Gymnastikk/ Jazzballett/ Aerobics/ Freestyle og andre former for gruppetrening</c:v>
                </c:pt>
                <c:pt idx="11">
                  <c:v>Slalåm/ Alpint/ Randonee</c:v>
                </c:pt>
                <c:pt idx="12">
                  <c:v>Jogging i mosjonshensikt</c:v>
                </c:pt>
                <c:pt idx="13">
                  <c:v>Dans</c:v>
                </c:pt>
                <c:pt idx="14">
                  <c:v>Turn/ Rytmisk gymnastikk</c:v>
                </c:pt>
                <c:pt idx="15">
                  <c:v>Skiturer i skog og fjell</c:v>
                </c:pt>
                <c:pt idx="16">
                  <c:v>Langrenn</c:v>
                </c:pt>
                <c:pt idx="17">
                  <c:v>Håndball</c:v>
                </c:pt>
                <c:pt idx="18">
                  <c:v>Svømming</c:v>
                </c:pt>
                <c:pt idx="19">
                  <c:v>Styrketrening</c:v>
                </c:pt>
                <c:pt idx="20">
                  <c:v>Fotturer i skog og mark, på fjell og vidde</c:v>
                </c:pt>
                <c:pt idx="21">
                  <c:v>Sykling til skole og på tur</c:v>
                </c:pt>
                <c:pt idx="22">
                  <c:v>Fotball</c:v>
                </c:pt>
              </c:strCache>
            </c:strRef>
          </c:cat>
          <c:val>
            <c:numRef>
              <c:f>'Ark1'!$B$24:$B$46</c:f>
              <c:numCache>
                <c:formatCode>General</c:formatCode>
                <c:ptCount val="23"/>
                <c:pt idx="0">
                  <c:v>2.2999999999999998</c:v>
                </c:pt>
                <c:pt idx="1">
                  <c:v>2.5</c:v>
                </c:pt>
                <c:pt idx="2">
                  <c:v>2.5</c:v>
                </c:pt>
                <c:pt idx="3">
                  <c:v>2.6</c:v>
                </c:pt>
                <c:pt idx="4">
                  <c:v>2.6</c:v>
                </c:pt>
                <c:pt idx="5">
                  <c:v>3.5</c:v>
                </c:pt>
                <c:pt idx="6">
                  <c:v>4.3</c:v>
                </c:pt>
                <c:pt idx="7">
                  <c:v>4.9000000000000004</c:v>
                </c:pt>
                <c:pt idx="8">
                  <c:v>6.7</c:v>
                </c:pt>
                <c:pt idx="9">
                  <c:v>8.5</c:v>
                </c:pt>
                <c:pt idx="10">
                  <c:v>8.6999999999999993</c:v>
                </c:pt>
                <c:pt idx="11">
                  <c:v>10.1</c:v>
                </c:pt>
                <c:pt idx="12">
                  <c:v>10.6</c:v>
                </c:pt>
                <c:pt idx="13">
                  <c:v>10.6</c:v>
                </c:pt>
                <c:pt idx="14">
                  <c:v>10.6</c:v>
                </c:pt>
                <c:pt idx="15">
                  <c:v>12.2</c:v>
                </c:pt>
                <c:pt idx="16">
                  <c:v>12.3</c:v>
                </c:pt>
                <c:pt idx="17">
                  <c:v>13.9</c:v>
                </c:pt>
                <c:pt idx="18">
                  <c:v>15.9</c:v>
                </c:pt>
                <c:pt idx="19">
                  <c:v>17.7</c:v>
                </c:pt>
                <c:pt idx="20">
                  <c:v>21.3</c:v>
                </c:pt>
                <c:pt idx="21">
                  <c:v>22.6</c:v>
                </c:pt>
                <c:pt idx="22">
                  <c:v>33.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2D-44FB-A6A5-C5579D5C8D2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1"/>
        <c:axId val="662233864"/>
        <c:axId val="662237472"/>
      </c:barChart>
      <c:catAx>
        <c:axId val="662233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662237472"/>
        <c:crosses val="autoZero"/>
        <c:auto val="1"/>
        <c:lblAlgn val="ctr"/>
        <c:lblOffset val="100"/>
        <c:noMultiLvlLbl val="0"/>
      </c:catAx>
      <c:valAx>
        <c:axId val="662237472"/>
        <c:scaling>
          <c:orientation val="minMax"/>
          <c:max val="35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662233864"/>
        <c:crosses val="autoZero"/>
        <c:crossBetween val="between"/>
        <c:majorUnit val="35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2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2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3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4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5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02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6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drawings/_rels/vmlDrawing8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638</cdr:x>
      <cdr:y>0.05408</cdr:y>
    </cdr:from>
    <cdr:to>
      <cdr:x>0.97972</cdr:x>
      <cdr:y>0.1732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225808" y="294150"/>
          <a:ext cx="2325428" cy="6480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nb-NO" sz="1400" b="1" dirty="0"/>
            <a:t>Hvilken oppfatning ligger</a:t>
          </a:r>
        </a:p>
        <a:p xmlns:a="http://schemas.openxmlformats.org/drawingml/2006/main">
          <a:r>
            <a:rPr lang="nb-NO" sz="1400" b="1" dirty="0"/>
            <a:t>nærmest din egen?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4985</cdr:x>
      <cdr:y>0.498</cdr:y>
    </cdr:from>
    <cdr:to>
      <cdr:x>0.501</cdr:x>
      <cdr:y>0.530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979002" y="2196217"/>
          <a:ext cx="19955" cy="14332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none" lIns="18288" tIns="22860" rIns="18288" bIns="22860" anchor="ctr" upright="1">
          <a:spAutoFit/>
        </a:bodyPr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nb-NO" sz="975" b="1" i="0" u="none" strike="noStrike" baseline="0" dirty="0">
              <a:solidFill>
                <a:srgbClr val="000000"/>
              </a:solidFill>
              <a:latin typeface="Calibri"/>
              <a:cs typeface="Calibri"/>
            </a:rPr>
            <a:t> </a:t>
          </a: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4985</cdr:x>
      <cdr:y>0.498</cdr:y>
    </cdr:from>
    <cdr:to>
      <cdr:x>0.501</cdr:x>
      <cdr:y>0.530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979002" y="2196217"/>
          <a:ext cx="19955" cy="14332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none" lIns="18288" tIns="22860" rIns="18288" bIns="22860" anchor="ctr" upright="1">
          <a:spAutoFit/>
        </a:bodyPr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nb-NO" sz="975" b="1" i="0" u="none" strike="noStrike" baseline="0" dirty="0">
              <a:solidFill>
                <a:srgbClr val="000000"/>
              </a:solidFill>
              <a:latin typeface="Calibri"/>
              <a:cs typeface="Calibri"/>
            </a:rPr>
            <a:t> </a:t>
          </a: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4985</cdr:x>
      <cdr:y>0.498</cdr:y>
    </cdr:from>
    <cdr:to>
      <cdr:x>0.501</cdr:x>
      <cdr:y>0.530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979002" y="2196217"/>
          <a:ext cx="19955" cy="14332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none" lIns="18288" tIns="22860" rIns="18288" bIns="22860" anchor="ctr" upright="1">
          <a:spAutoFit/>
        </a:bodyPr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nb-NO" sz="975" b="1" i="0" u="none" strike="noStrike" baseline="0" dirty="0">
              <a:solidFill>
                <a:srgbClr val="000000"/>
              </a:solidFill>
              <a:latin typeface="Calibri"/>
              <a:cs typeface="Calibri"/>
            </a:rPr>
            <a:t> </a:t>
          </a:r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4985</cdr:x>
      <cdr:y>0.498</cdr:y>
    </cdr:from>
    <cdr:to>
      <cdr:x>0.501</cdr:x>
      <cdr:y>0.530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979002" y="2196217"/>
          <a:ext cx="19955" cy="14332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none" lIns="18288" tIns="22860" rIns="18288" bIns="22860" anchor="ctr" upright="1">
          <a:spAutoFit/>
        </a:bodyPr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nb-NO" sz="975" b="1" i="0" u="none" strike="noStrike" baseline="0" dirty="0">
              <a:solidFill>
                <a:srgbClr val="000000"/>
              </a:solidFill>
              <a:latin typeface="Calibri"/>
              <a:cs typeface="Calibri"/>
            </a:rPr>
            <a:t> </a:t>
          </a:r>
        </a:p>
      </cdr:txBody>
    </cdr:sp>
  </cdr:relSizeAnchor>
</c:userShapes>
</file>

<file path=ppt/drawings/drawing14.xml><?xml version="1.0" encoding="utf-8"?>
<c:userShapes xmlns:c="http://schemas.openxmlformats.org/drawingml/2006/chart">
  <cdr:relSizeAnchor xmlns:cdr="http://schemas.openxmlformats.org/drawingml/2006/chartDrawing">
    <cdr:from>
      <cdr:x>0.4985</cdr:x>
      <cdr:y>0.498</cdr:y>
    </cdr:from>
    <cdr:to>
      <cdr:x>0.501</cdr:x>
      <cdr:y>0.530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979002" y="2196217"/>
          <a:ext cx="19955" cy="14332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none" lIns="18288" tIns="22860" rIns="18288" bIns="22860" anchor="ctr" upright="1">
          <a:spAutoFit/>
        </a:bodyPr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nb-NO" sz="975" b="1" i="0" u="none" strike="noStrike" baseline="0" dirty="0">
              <a:solidFill>
                <a:srgbClr val="000000"/>
              </a:solidFill>
              <a:latin typeface="Calibri"/>
              <a:cs typeface="Calibri"/>
            </a:rPr>
            <a:t> </a:t>
          </a:r>
        </a:p>
      </cdr:txBody>
    </cdr:sp>
  </cdr:relSizeAnchor>
</c:userShapes>
</file>

<file path=ppt/drawings/drawing15.xml><?xml version="1.0" encoding="utf-8"?>
<c:userShapes xmlns:c="http://schemas.openxmlformats.org/drawingml/2006/chart">
  <cdr:relSizeAnchor xmlns:cdr="http://schemas.openxmlformats.org/drawingml/2006/chartDrawing">
    <cdr:from>
      <cdr:x>0.4985</cdr:x>
      <cdr:y>0.498</cdr:y>
    </cdr:from>
    <cdr:to>
      <cdr:x>0.501</cdr:x>
      <cdr:y>0.530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979002" y="2196217"/>
          <a:ext cx="19955" cy="14332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none" lIns="18288" tIns="22860" rIns="18288" bIns="22860" anchor="ctr" upright="1">
          <a:spAutoFit/>
        </a:bodyPr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nb-NO" sz="975" b="1" i="0" u="none" strike="noStrike" baseline="0" dirty="0">
              <a:solidFill>
                <a:srgbClr val="000000"/>
              </a:solidFill>
              <a:latin typeface="Calibri"/>
              <a:cs typeface="Calibri"/>
            </a:rPr>
            <a:t> </a:t>
          </a:r>
        </a:p>
      </cdr:txBody>
    </cdr:sp>
  </cdr:relSizeAnchor>
</c:userShapes>
</file>

<file path=ppt/drawings/drawing16.xml><?xml version="1.0" encoding="utf-8"?>
<c:userShapes xmlns:c="http://schemas.openxmlformats.org/drawingml/2006/chart">
  <cdr:relSizeAnchor xmlns:cdr="http://schemas.openxmlformats.org/drawingml/2006/chartDrawing">
    <cdr:from>
      <cdr:x>0.21091</cdr:x>
      <cdr:y>0.06264</cdr:y>
    </cdr:from>
    <cdr:to>
      <cdr:x>0.73523</cdr:x>
      <cdr:y>0.15381</cdr:y>
    </cdr:to>
    <cdr:sp macro="" textlink="">
      <cdr:nvSpPr>
        <cdr:cNvPr id="2" name="TekstSylinder 1">
          <a:extLst xmlns:a="http://schemas.openxmlformats.org/drawingml/2006/main">
            <a:ext uri="{FF2B5EF4-FFF2-40B4-BE49-F238E27FC236}">
              <a16:creationId xmlns:a16="http://schemas.microsoft.com/office/drawing/2014/main" id="{D305D4BF-2BD5-450A-BE90-A521735C8A7C}"/>
            </a:ext>
          </a:extLst>
        </cdr:cNvPr>
        <cdr:cNvSpPr txBox="1"/>
      </cdr:nvSpPr>
      <cdr:spPr>
        <a:xfrm xmlns:a="http://schemas.openxmlformats.org/drawingml/2006/main">
          <a:off x="2273421" y="308871"/>
          <a:ext cx="5651863" cy="44953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72000" tIns="36000" rIns="72000" bIns="36000" rtlCol="0">
          <a:spAutoFit/>
        </a:bodyPr>
        <a:lstStyle xmlns:a="http://schemas.openxmlformats.org/drawingml/2006/main"/>
        <a:p xmlns:a="http://schemas.openxmlformats.org/drawingml/2006/main">
          <a:pPr>
            <a:lnSpc>
              <a:spcPct val="110000"/>
            </a:lnSpc>
            <a:spcBef>
              <a:spcPts val="2400"/>
            </a:spcBef>
            <a:buClr>
              <a:schemeClr val="bg2"/>
            </a:buClr>
          </a:pPr>
          <a:r>
            <a:rPr lang="nb-NO" sz="2400" dirty="0"/>
            <a:t>For slitsomt/krever for mye/orker ikke</a:t>
          </a:r>
        </a:p>
      </cdr:txBody>
    </cdr:sp>
  </cdr:relSizeAnchor>
</c:userShapes>
</file>

<file path=ppt/drawings/drawing17.xml><?xml version="1.0" encoding="utf-8"?>
<c:userShapes xmlns:c="http://schemas.openxmlformats.org/drawingml/2006/chart">
  <cdr:relSizeAnchor xmlns:cdr="http://schemas.openxmlformats.org/drawingml/2006/chartDrawing">
    <cdr:from>
      <cdr:x>0.4985</cdr:x>
      <cdr:y>0.498</cdr:y>
    </cdr:from>
    <cdr:to>
      <cdr:x>0.501</cdr:x>
      <cdr:y>0.530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979002" y="2196217"/>
          <a:ext cx="19955" cy="14332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none" lIns="18288" tIns="22860" rIns="18288" bIns="22860" anchor="ctr" upright="1">
          <a:spAutoFit/>
        </a:bodyPr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nb-NO" sz="975" b="1" i="0" u="none" strike="noStrike" baseline="0" dirty="0">
              <a:solidFill>
                <a:srgbClr val="000000"/>
              </a:solidFill>
              <a:latin typeface="Calibri"/>
              <a:cs typeface="Calibri"/>
            </a:rPr>
            <a:t> </a:t>
          </a:r>
        </a:p>
      </cdr:txBody>
    </cdr:sp>
  </cdr:relSizeAnchor>
</c:userShapes>
</file>

<file path=ppt/drawings/drawing18.xml><?xml version="1.0" encoding="utf-8"?>
<c:userShapes xmlns:c="http://schemas.openxmlformats.org/drawingml/2006/chart">
  <cdr:relSizeAnchor xmlns:cdr="http://schemas.openxmlformats.org/drawingml/2006/chartDrawing">
    <cdr:from>
      <cdr:x>0.4985</cdr:x>
      <cdr:y>0.498</cdr:y>
    </cdr:from>
    <cdr:to>
      <cdr:x>0.501</cdr:x>
      <cdr:y>0.530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979002" y="2196217"/>
          <a:ext cx="19955" cy="14332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none" lIns="18288" tIns="22860" rIns="18288" bIns="22860" anchor="ctr" upright="1">
          <a:spAutoFit/>
        </a:bodyPr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nb-NO" sz="975" b="1" i="0" u="none" strike="noStrike" baseline="0" dirty="0">
              <a:solidFill>
                <a:srgbClr val="000000"/>
              </a:solidFill>
              <a:latin typeface="Calibri"/>
              <a:cs typeface="Calibri"/>
            </a:rPr>
            <a:t> 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7005</cdr:x>
      <cdr:y>0.03966</cdr:y>
    </cdr:from>
    <cdr:to>
      <cdr:x>0.73433</cdr:x>
      <cdr:y>0.2205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126906" y="213825"/>
          <a:ext cx="3739486" cy="97507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nb-NO" sz="1400" dirty="0">
              <a:latin typeface="+mj-lt"/>
              <a:cs typeface="Times New Roman" panose="02020603050405020304" pitchFamily="18" charset="0"/>
            </a:rPr>
            <a:t>Innvandrere og norsk økonomi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4475</cdr:x>
      <cdr:y>0.02046</cdr:y>
    </cdr:from>
    <cdr:to>
      <cdr:x>0.7948</cdr:x>
      <cdr:y>0.0852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798464" y="109041"/>
          <a:ext cx="3585829" cy="34532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nb-NO" sz="1400" dirty="0">
              <a:solidFill>
                <a:schemeClr val="tx1"/>
              </a:solidFill>
              <a:latin typeface="+mj-lt"/>
            </a:rPr>
            <a:t>Muslimske trossamfunn i  Norge</a:t>
          </a:r>
        </a:p>
        <a:p xmlns:a="http://schemas.openxmlformats.org/drawingml/2006/main">
          <a:endParaRPr lang="nb-NO" sz="1400" dirty="0">
            <a:solidFill>
              <a:schemeClr val="tx1"/>
            </a:solidFill>
            <a:latin typeface="+mj-lt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66239</cdr:x>
      <cdr:y>0.05218</cdr:y>
    </cdr:from>
    <cdr:to>
      <cdr:x>0.76697</cdr:x>
      <cdr:y>0.2318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791944" y="26558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nb-NO" sz="1100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73333</cdr:x>
      <cdr:y>0.02648</cdr:y>
    </cdr:from>
    <cdr:to>
      <cdr:x>0.98095</cdr:x>
      <cdr:y>0.1456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544616" y="144016"/>
          <a:ext cx="1872208" cy="6480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nb-NO" sz="1400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20927</cdr:x>
      <cdr:y>0.71448</cdr:y>
    </cdr:from>
    <cdr:to>
      <cdr:x>0.24523</cdr:x>
      <cdr:y>0.76187</cdr:y>
    </cdr:to>
    <cdr:sp macro="" textlink="">
      <cdr:nvSpPr>
        <cdr:cNvPr id="2" name="TekstSylinder 1">
          <a:extLst xmlns:a="http://schemas.openxmlformats.org/drawingml/2006/main">
            <a:ext uri="{FF2B5EF4-FFF2-40B4-BE49-F238E27FC236}">
              <a16:creationId xmlns:a16="http://schemas.microsoft.com/office/drawing/2014/main" id="{79774941-2CA7-4E7C-AAED-B2922A9373AA}"/>
            </a:ext>
          </a:extLst>
        </cdr:cNvPr>
        <cdr:cNvSpPr txBox="1"/>
      </cdr:nvSpPr>
      <cdr:spPr>
        <a:xfrm xmlns:a="http://schemas.openxmlformats.org/drawingml/2006/main">
          <a:off x="1719610" y="2948094"/>
          <a:ext cx="295487" cy="1955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nb-NO" sz="700" b="0" dirty="0"/>
            <a:t>1%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26143</cdr:x>
      <cdr:y>0.02257</cdr:y>
    </cdr:from>
    <cdr:to>
      <cdr:x>0.39782</cdr:x>
      <cdr:y>0.09421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3716AC1C-B259-4922-858E-59A09EA7F018}"/>
            </a:ext>
          </a:extLst>
        </cdr:cNvPr>
        <cdr:cNvSpPr/>
      </cdr:nvSpPr>
      <cdr:spPr>
        <a:xfrm xmlns:a="http://schemas.openxmlformats.org/drawingml/2006/main">
          <a:off x="1762546" y="77550"/>
          <a:ext cx="919482" cy="2462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000" spc="120" dirty="0">
              <a:solidFill>
                <a:prstClr val="white">
                  <a:lumMod val="50000"/>
                </a:prstClr>
              </a:solidFill>
              <a:latin typeface="Arial"/>
            </a:rPr>
            <a:t>Overeager</a:t>
          </a:r>
          <a:endParaRPr lang="nb-NO" sz="1000" spc="120" dirty="0">
            <a:solidFill>
              <a:prstClr val="white">
                <a:lumMod val="50000"/>
              </a:prstClr>
            </a:solidFill>
            <a:latin typeface="Arial"/>
          </a:endParaRP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4985</cdr:x>
      <cdr:y>0.498</cdr:y>
    </cdr:from>
    <cdr:to>
      <cdr:x>0.501</cdr:x>
      <cdr:y>0.530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979002" y="2196217"/>
          <a:ext cx="19955" cy="14332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none" lIns="18288" tIns="22860" rIns="18288" bIns="22860" anchor="ctr" upright="1">
          <a:spAutoFit/>
        </a:bodyPr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nb-NO" sz="975" b="1" i="0" u="none" strike="noStrike" baseline="0" dirty="0">
              <a:solidFill>
                <a:srgbClr val="000000"/>
              </a:solidFill>
              <a:latin typeface="Calibri"/>
              <a:cs typeface="Calibri"/>
            </a:rPr>
            <a:t> 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4985</cdr:x>
      <cdr:y>0.498</cdr:y>
    </cdr:from>
    <cdr:to>
      <cdr:x>0.501</cdr:x>
      <cdr:y>0.530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979002" y="2196217"/>
          <a:ext cx="19955" cy="14332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none" lIns="18288" tIns="22860" rIns="18288" bIns="22860" anchor="ctr" upright="1">
          <a:spAutoFit/>
        </a:bodyPr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nb-NO" sz="975" b="1" i="0" u="none" strike="noStrike" baseline="0" dirty="0">
              <a:solidFill>
                <a:srgbClr val="000000"/>
              </a:solidFill>
              <a:latin typeface="Calibri"/>
              <a:cs typeface="Calibri"/>
            </a:rPr>
            <a:t> 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>
            <a:extLst>
              <a:ext uri="{FF2B5EF4-FFF2-40B4-BE49-F238E27FC236}">
                <a16:creationId xmlns:a16="http://schemas.microsoft.com/office/drawing/2014/main" id="{49B4BBBF-CA44-4467-96BF-F0F147F843F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FF16C246-8171-4C5E-9589-30CCB184E08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3E9416-1C4A-4B62-AE91-29B65BC020FF}" type="datetimeFigureOut">
              <a:rPr lang="nb-NO" smtClean="0"/>
              <a:t>01.09.2020</a:t>
            </a:fld>
            <a:endParaRPr lang="nb-NO" dirty="0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592D0767-6BE2-4AB8-AF15-C838AE80336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974D2DF-AB3E-490E-BD90-C1691D9D1CA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807AD9-51A0-4FBF-9243-48F933F8001B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52369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248245-6C07-4078-B7DA-E16FFE0B9301}" type="datetimeFigureOut">
              <a:rPr lang="nb-NO" smtClean="0"/>
              <a:t>01.09.2020</a:t>
            </a:fld>
            <a:endParaRPr lang="nb-NO" dirty="0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 dirty="0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9A41EA-8F02-45B1-A5A8-A5134A4C589E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010815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851432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65765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notater 1">
            <a:extLst>
              <a:ext uri="{FF2B5EF4-FFF2-40B4-BE49-F238E27FC236}">
                <a16:creationId xmlns:a16="http://schemas.microsoft.com/office/drawing/2014/main" id="{FF681B54-6A26-48CE-AB9B-A28F402AF67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842080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2454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96138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2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277768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28519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166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3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721523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  <a:defRPr/>
            </a:pPr>
            <a:r>
              <a:rPr lang="nb-NO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t>Forbruket av rundstykker fra bakeri /butikk og forbruket av halvstekte brødprodukter holder seg stabilt på samme nivå.</a:t>
            </a:r>
          </a:p>
          <a:p>
            <a:pPr lvl="0">
              <a:lnSpc>
                <a:spcPct val="150000"/>
              </a:lnSpc>
              <a:defRPr/>
            </a:pPr>
            <a:endParaRPr lang="nb-NO" dirty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  <a:p>
            <a:pPr lvl="0">
              <a:lnSpc>
                <a:spcPct val="150000"/>
              </a:lnSpc>
              <a:defRPr/>
            </a:pPr>
            <a:r>
              <a:rPr lang="nb-NO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t>Menn spiser oftere kjøpebrød enn kvinner, med en markant nedgang for begge kjønn.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328D23-F317-481A-B956-72F0AD3E0518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756478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328D23-F317-481A-B956-72F0AD3E0518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86034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9A41EA-8F02-45B1-A5A8-A5134A4C589E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637552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  <a:defRPr/>
            </a:pPr>
            <a:endParaRPr lang="nb-NO" dirty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  <a:p>
            <a:pPr lvl="0">
              <a:lnSpc>
                <a:spcPct val="150000"/>
              </a:lnSpc>
              <a:defRPr/>
            </a:pPr>
            <a:r>
              <a:rPr lang="nb-NO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t>Nordmenn flest identifiserer seg som altetende. </a:t>
            </a:r>
          </a:p>
          <a:p>
            <a:pPr lvl="0">
              <a:lnSpc>
                <a:spcPct val="150000"/>
              </a:lnSpc>
              <a:defRPr/>
            </a:pPr>
            <a:r>
              <a:rPr lang="nb-NO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t>Andelen som beskriver seg selv som veganere eller vegetarianere er lav og har ikke endret seg. 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328D23-F317-481A-B956-72F0AD3E0518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772145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272132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13003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4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7874873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6875" y="781050"/>
            <a:ext cx="5667375" cy="31892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11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8B7E8-C405-4882-AAD0-1D72826C463D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+mn-cs"/>
              </a:rPr>
              <a:pPr marL="0" marR="0" lvl="0" indent="0" algn="r" defTabSz="1011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009730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48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776337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9A41EA-8F02-45B1-A5A8-A5134A4C589E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26044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6875" y="781050"/>
            <a:ext cx="5667375" cy="31892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11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8B7E8-C405-4882-AAD0-1D72826C463D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+mn-cs"/>
              </a:rPr>
              <a:pPr marL="0" marR="0" lvl="0" indent="0" algn="r" defTabSz="1011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147223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5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1342266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9A41EA-8F02-45B1-A5A8-A5134A4C589E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094523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6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903631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6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077412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9A41EA-8F02-45B1-A5A8-A5134A4C589E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926734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6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550546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7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3562983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7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3842941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7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0330202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7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3863852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76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7071382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7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78883328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80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7608559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6875" y="781050"/>
            <a:ext cx="5667375" cy="31892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11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8B7E8-C405-4882-AAD0-1D72826C463D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+mn-cs"/>
              </a:rPr>
              <a:pPr marL="0" marR="0" lvl="0" indent="0" algn="r" defTabSz="1011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0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8695258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9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396879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9A41EA-8F02-45B1-A5A8-A5134A4C589E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7799388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9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93040555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9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451629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9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67939531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9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9059538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6875" y="781050"/>
            <a:ext cx="5667375" cy="31892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11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8B7E8-C405-4882-AAD0-1D72826C463D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+mn-cs"/>
              </a:rPr>
              <a:pPr marL="0" marR="0" lvl="0" indent="0" algn="r" defTabSz="1011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161883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9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2515982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98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98492948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9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80088709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100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8071442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6875" y="781050"/>
            <a:ext cx="5667375" cy="31892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11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8B7E8-C405-4882-AAD0-1D72826C463D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+mn-cs"/>
              </a:rPr>
              <a:pPr marL="0" marR="0" lvl="0" indent="0" algn="r" defTabSz="1011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1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08400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9A41EA-8F02-45B1-A5A8-A5134A4C589E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860966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10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43250553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9A41EA-8F02-45B1-A5A8-A5134A4C589E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3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96512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A41EA-8F02-45B1-A5A8-A5134A4C589E}" type="slidenum">
              <a:rPr lang="nb-NO" smtClean="0"/>
              <a:t>10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57705562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6875" y="781050"/>
            <a:ext cx="5667375" cy="31892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11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8B7E8-C405-4882-AAD0-1D72826C463D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+mn-cs"/>
              </a:rPr>
              <a:pPr marL="0" marR="0" lvl="0" indent="0" algn="r" defTabSz="1011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8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665755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9A41EA-8F02-45B1-A5A8-A5134A4C589E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9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447840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6875" y="781050"/>
            <a:ext cx="5667375" cy="31892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11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8B7E8-C405-4882-AAD0-1D72826C463D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+mn-cs"/>
              </a:rPr>
              <a:pPr marL="0" marR="0" lvl="0" indent="0" algn="r" defTabSz="1011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5586471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9A41EA-8F02-45B1-A5A8-A5134A4C589E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6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6211930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78611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8995675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6894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6E3524-17C8-4066-B47A-939E47622A9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2312739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notater 1">
            <a:extLst>
              <a:ext uri="{FF2B5EF4-FFF2-40B4-BE49-F238E27FC236}">
                <a16:creationId xmlns:a16="http://schemas.microsoft.com/office/drawing/2014/main" id="{0DCDDD02-0A23-42D0-9547-AF7FAE6797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719592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6E3524-17C8-4066-B47A-939E47622A9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4339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8DE85F-A49F-4D4C-8D78-799212E249B2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2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53844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image" Target="../media/image2.png"/><Relationship Id="rId2" Type="http://schemas.openxmlformats.org/officeDocument/2006/relationships/tags" Target="../tags/tag166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1000.xml.rels><?xml version="1.0" encoding="UTF-8" standalone="yes"?>
<Relationships xmlns="http://schemas.openxmlformats.org/package/2006/relationships"><Relationship Id="rId3" Type="http://schemas.openxmlformats.org/officeDocument/2006/relationships/tags" Target="../tags/tag1335.xml"/><Relationship Id="rId2" Type="http://schemas.openxmlformats.org/officeDocument/2006/relationships/tags" Target="../tags/tag1334.xml"/><Relationship Id="rId1" Type="http://schemas.openxmlformats.org/officeDocument/2006/relationships/vmlDrawing" Target="../drawings/vmlDrawing6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01.xml.rels><?xml version="1.0" encoding="UTF-8" standalone="yes"?>
<Relationships xmlns="http://schemas.openxmlformats.org/package/2006/relationships"><Relationship Id="rId3" Type="http://schemas.openxmlformats.org/officeDocument/2006/relationships/tags" Target="../tags/tag1337.xml"/><Relationship Id="rId2" Type="http://schemas.openxmlformats.org/officeDocument/2006/relationships/tags" Target="../tags/tag1336.xml"/><Relationship Id="rId1" Type="http://schemas.openxmlformats.org/officeDocument/2006/relationships/vmlDrawing" Target="../drawings/vmlDrawing6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02.xml.rels><?xml version="1.0" encoding="UTF-8" standalone="yes"?>
<Relationships xmlns="http://schemas.openxmlformats.org/package/2006/relationships"><Relationship Id="rId3" Type="http://schemas.openxmlformats.org/officeDocument/2006/relationships/tags" Target="../tags/tag1339.xml"/><Relationship Id="rId7" Type="http://schemas.openxmlformats.org/officeDocument/2006/relationships/image" Target="../media/image3.emf"/><Relationship Id="rId2" Type="http://schemas.openxmlformats.org/officeDocument/2006/relationships/tags" Target="../tags/tag1338.xml"/><Relationship Id="rId1" Type="http://schemas.openxmlformats.org/officeDocument/2006/relationships/vmlDrawing" Target="../drawings/vmlDrawing6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03.xml.rels><?xml version="1.0" encoding="UTF-8" standalone="yes"?>
<Relationships xmlns="http://schemas.openxmlformats.org/package/2006/relationships"><Relationship Id="rId3" Type="http://schemas.openxmlformats.org/officeDocument/2006/relationships/tags" Target="../tags/tag1341.xml"/><Relationship Id="rId7" Type="http://schemas.openxmlformats.org/officeDocument/2006/relationships/image" Target="../media/image3.emf"/><Relationship Id="rId2" Type="http://schemas.openxmlformats.org/officeDocument/2006/relationships/tags" Target="../tags/tag1340.xml"/><Relationship Id="rId1" Type="http://schemas.openxmlformats.org/officeDocument/2006/relationships/vmlDrawing" Target="../drawings/vmlDrawing6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04.xml.rels><?xml version="1.0" encoding="UTF-8" standalone="yes"?>
<Relationships xmlns="http://schemas.openxmlformats.org/package/2006/relationships"><Relationship Id="rId3" Type="http://schemas.openxmlformats.org/officeDocument/2006/relationships/tags" Target="../tags/tag1343.xml"/><Relationship Id="rId7" Type="http://schemas.openxmlformats.org/officeDocument/2006/relationships/image" Target="../media/image3.emf"/><Relationship Id="rId2" Type="http://schemas.openxmlformats.org/officeDocument/2006/relationships/tags" Target="../tags/tag1342.xml"/><Relationship Id="rId1" Type="http://schemas.openxmlformats.org/officeDocument/2006/relationships/vmlDrawing" Target="../drawings/vmlDrawing6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05.xml.rels><?xml version="1.0" encoding="UTF-8" standalone="yes"?>
<Relationships xmlns="http://schemas.openxmlformats.org/package/2006/relationships"><Relationship Id="rId3" Type="http://schemas.openxmlformats.org/officeDocument/2006/relationships/tags" Target="../tags/tag1345.xml"/><Relationship Id="rId7" Type="http://schemas.openxmlformats.org/officeDocument/2006/relationships/image" Target="../media/image3.emf"/><Relationship Id="rId2" Type="http://schemas.openxmlformats.org/officeDocument/2006/relationships/tags" Target="../tags/tag1344.xml"/><Relationship Id="rId1" Type="http://schemas.openxmlformats.org/officeDocument/2006/relationships/vmlDrawing" Target="../drawings/vmlDrawing6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06.xml.rels><?xml version="1.0" encoding="UTF-8" standalone="yes"?>
<Relationships xmlns="http://schemas.openxmlformats.org/package/2006/relationships"><Relationship Id="rId3" Type="http://schemas.openxmlformats.org/officeDocument/2006/relationships/tags" Target="../tags/tag1347.xml"/><Relationship Id="rId7" Type="http://schemas.openxmlformats.org/officeDocument/2006/relationships/image" Target="../media/image2.png"/><Relationship Id="rId2" Type="http://schemas.openxmlformats.org/officeDocument/2006/relationships/tags" Target="../tags/tag1346.xml"/><Relationship Id="rId1" Type="http://schemas.openxmlformats.org/officeDocument/2006/relationships/vmlDrawing" Target="../drawings/vmlDrawing6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49.xml"/><Relationship Id="rId7" Type="http://schemas.openxmlformats.org/officeDocument/2006/relationships/image" Target="../media/image9.emf"/><Relationship Id="rId2" Type="http://schemas.openxmlformats.org/officeDocument/2006/relationships/tags" Target="../tags/tag1348.xml"/><Relationship Id="rId1" Type="http://schemas.openxmlformats.org/officeDocument/2006/relationships/vmlDrawing" Target="../drawings/vmlDrawing6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51.xml"/><Relationship Id="rId7" Type="http://schemas.openxmlformats.org/officeDocument/2006/relationships/image" Target="../media/image9.emf"/><Relationship Id="rId2" Type="http://schemas.openxmlformats.org/officeDocument/2006/relationships/tags" Target="../tags/tag1350.xml"/><Relationship Id="rId1" Type="http://schemas.openxmlformats.org/officeDocument/2006/relationships/vmlDrawing" Target="../drawings/vmlDrawing6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53.xml"/><Relationship Id="rId7" Type="http://schemas.openxmlformats.org/officeDocument/2006/relationships/image" Target="../media/image9.emf"/><Relationship Id="rId2" Type="http://schemas.openxmlformats.org/officeDocument/2006/relationships/tags" Target="../tags/tag1352.xml"/><Relationship Id="rId1" Type="http://schemas.openxmlformats.org/officeDocument/2006/relationships/vmlDrawing" Target="../drawings/vmlDrawing6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image" Target="../media/image2.png"/><Relationship Id="rId2" Type="http://schemas.openxmlformats.org/officeDocument/2006/relationships/tags" Target="../tags/tag16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10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55.xml"/><Relationship Id="rId7" Type="http://schemas.openxmlformats.org/officeDocument/2006/relationships/image" Target="../media/image9.emf"/><Relationship Id="rId2" Type="http://schemas.openxmlformats.org/officeDocument/2006/relationships/tags" Target="../tags/tag1354.xml"/><Relationship Id="rId1" Type="http://schemas.openxmlformats.org/officeDocument/2006/relationships/vmlDrawing" Target="../drawings/vmlDrawing6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57.xml"/><Relationship Id="rId7" Type="http://schemas.openxmlformats.org/officeDocument/2006/relationships/image" Target="../media/image9.emf"/><Relationship Id="rId2" Type="http://schemas.openxmlformats.org/officeDocument/2006/relationships/tags" Target="../tags/tag1356.xml"/><Relationship Id="rId1" Type="http://schemas.openxmlformats.org/officeDocument/2006/relationships/vmlDrawing" Target="../drawings/vmlDrawing6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12.xml.rels><?xml version="1.0" encoding="UTF-8" standalone="yes"?>
<Relationships xmlns="http://schemas.openxmlformats.org/package/2006/relationships"><Relationship Id="rId3" Type="http://schemas.openxmlformats.org/officeDocument/2006/relationships/tags" Target="../tags/tag1359.xml"/><Relationship Id="rId7" Type="http://schemas.openxmlformats.org/officeDocument/2006/relationships/image" Target="../media/image9.emf"/><Relationship Id="rId2" Type="http://schemas.openxmlformats.org/officeDocument/2006/relationships/tags" Target="../tags/tag1358.xml"/><Relationship Id="rId1" Type="http://schemas.openxmlformats.org/officeDocument/2006/relationships/vmlDrawing" Target="../drawings/vmlDrawing6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13.xml.rels><?xml version="1.0" encoding="UTF-8" standalone="yes"?>
<Relationships xmlns="http://schemas.openxmlformats.org/package/2006/relationships"><Relationship Id="rId3" Type="http://schemas.openxmlformats.org/officeDocument/2006/relationships/tags" Target="../tags/tag1361.xml"/><Relationship Id="rId7" Type="http://schemas.openxmlformats.org/officeDocument/2006/relationships/image" Target="../media/image9.emf"/><Relationship Id="rId2" Type="http://schemas.openxmlformats.org/officeDocument/2006/relationships/tags" Target="../tags/tag1360.xml"/><Relationship Id="rId1" Type="http://schemas.openxmlformats.org/officeDocument/2006/relationships/vmlDrawing" Target="../drawings/vmlDrawing6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14.xml.rels><?xml version="1.0" encoding="UTF-8" standalone="yes"?>
<Relationships xmlns="http://schemas.openxmlformats.org/package/2006/relationships"><Relationship Id="rId3" Type="http://schemas.openxmlformats.org/officeDocument/2006/relationships/tags" Target="../tags/tag1363.xml"/><Relationship Id="rId7" Type="http://schemas.openxmlformats.org/officeDocument/2006/relationships/image" Target="../media/image2.png"/><Relationship Id="rId2" Type="http://schemas.openxmlformats.org/officeDocument/2006/relationships/tags" Target="../tags/tag1362.xml"/><Relationship Id="rId1" Type="http://schemas.openxmlformats.org/officeDocument/2006/relationships/vmlDrawing" Target="../drawings/vmlDrawing7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65.xml"/><Relationship Id="rId7" Type="http://schemas.openxmlformats.org/officeDocument/2006/relationships/image" Target="../media/image1.emf"/><Relationship Id="rId2" Type="http://schemas.openxmlformats.org/officeDocument/2006/relationships/tags" Target="../tags/tag1364.xml"/><Relationship Id="rId1" Type="http://schemas.openxmlformats.org/officeDocument/2006/relationships/vmlDrawing" Target="../drawings/vmlDrawing701.vml"/><Relationship Id="rId6" Type="http://schemas.openxmlformats.org/officeDocument/2006/relationships/oleObject" Target="../embeddings/oleObject31.bin"/><Relationship Id="rId5" Type="http://schemas.openxmlformats.org/officeDocument/2006/relationships/image" Target="../media/image10.emf"/><Relationship Id="rId4" Type="http://schemas.openxmlformats.org/officeDocument/2006/relationships/slideMaster" Target="../slideMasters/slideMaster13.xml"/></Relationships>
</file>

<file path=ppt/slideLayouts/_rels/slideLayout10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67.xml"/><Relationship Id="rId7" Type="http://schemas.openxmlformats.org/officeDocument/2006/relationships/image" Target="../media/image10.emf"/><Relationship Id="rId2" Type="http://schemas.openxmlformats.org/officeDocument/2006/relationships/tags" Target="../tags/tag1366.xml"/><Relationship Id="rId1" Type="http://schemas.openxmlformats.org/officeDocument/2006/relationships/vmlDrawing" Target="../drawings/vmlDrawing7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69.xml"/><Relationship Id="rId7" Type="http://schemas.openxmlformats.org/officeDocument/2006/relationships/image" Target="../media/image10.emf"/><Relationship Id="rId2" Type="http://schemas.openxmlformats.org/officeDocument/2006/relationships/tags" Target="../tags/tag1368.xml"/><Relationship Id="rId1" Type="http://schemas.openxmlformats.org/officeDocument/2006/relationships/vmlDrawing" Target="../drawings/vmlDrawing7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71.xml"/><Relationship Id="rId7" Type="http://schemas.openxmlformats.org/officeDocument/2006/relationships/image" Target="../media/image10.emf"/><Relationship Id="rId2" Type="http://schemas.openxmlformats.org/officeDocument/2006/relationships/tags" Target="../tags/tag1370.xml"/><Relationship Id="rId1" Type="http://schemas.openxmlformats.org/officeDocument/2006/relationships/vmlDrawing" Target="../drawings/vmlDrawing7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73.xml"/><Relationship Id="rId7" Type="http://schemas.openxmlformats.org/officeDocument/2006/relationships/image" Target="../media/image10.emf"/><Relationship Id="rId2" Type="http://schemas.openxmlformats.org/officeDocument/2006/relationships/tags" Target="../tags/tag1372.xml"/><Relationship Id="rId1" Type="http://schemas.openxmlformats.org/officeDocument/2006/relationships/vmlDrawing" Target="../drawings/vmlDrawing7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0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375.xml"/><Relationship Id="rId7" Type="http://schemas.openxmlformats.org/officeDocument/2006/relationships/image" Target="../media/image9.emf"/><Relationship Id="rId2" Type="http://schemas.openxmlformats.org/officeDocument/2006/relationships/tags" Target="../tags/tag1374.xml"/><Relationship Id="rId1" Type="http://schemas.openxmlformats.org/officeDocument/2006/relationships/vmlDrawing" Target="../drawings/vmlDrawing7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21.xml.rels><?xml version="1.0" encoding="UTF-8" standalone="yes"?>
<Relationships xmlns="http://schemas.openxmlformats.org/package/2006/relationships"><Relationship Id="rId3" Type="http://schemas.openxmlformats.org/officeDocument/2006/relationships/tags" Target="../tags/tag1377.xml"/><Relationship Id="rId7" Type="http://schemas.openxmlformats.org/officeDocument/2006/relationships/image" Target="../media/image10.emf"/><Relationship Id="rId2" Type="http://schemas.openxmlformats.org/officeDocument/2006/relationships/tags" Target="../tags/tag1376.xml"/><Relationship Id="rId1" Type="http://schemas.openxmlformats.org/officeDocument/2006/relationships/vmlDrawing" Target="../drawings/vmlDrawing7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22.xml.rels><?xml version="1.0" encoding="UTF-8" standalone="yes"?>
<Relationships xmlns="http://schemas.openxmlformats.org/package/2006/relationships"><Relationship Id="rId3" Type="http://schemas.openxmlformats.org/officeDocument/2006/relationships/tags" Target="../tags/tag1379.xml"/><Relationship Id="rId7" Type="http://schemas.openxmlformats.org/officeDocument/2006/relationships/image" Target="../media/image2.png"/><Relationship Id="rId2" Type="http://schemas.openxmlformats.org/officeDocument/2006/relationships/tags" Target="../tags/tag1378.xml"/><Relationship Id="rId1" Type="http://schemas.openxmlformats.org/officeDocument/2006/relationships/vmlDrawing" Target="../drawings/vmlDrawing7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381.xml"/><Relationship Id="rId7" Type="http://schemas.openxmlformats.org/officeDocument/2006/relationships/image" Target="../media/image2.png"/><Relationship Id="rId2" Type="http://schemas.openxmlformats.org/officeDocument/2006/relationships/tags" Target="../tags/tag1380.xml"/><Relationship Id="rId1" Type="http://schemas.openxmlformats.org/officeDocument/2006/relationships/vmlDrawing" Target="../drawings/vmlDrawing7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83.xml"/><Relationship Id="rId7" Type="http://schemas.openxmlformats.org/officeDocument/2006/relationships/image" Target="../media/image10.emf"/><Relationship Id="rId2" Type="http://schemas.openxmlformats.org/officeDocument/2006/relationships/tags" Target="../tags/tag1382.xml"/><Relationship Id="rId1" Type="http://schemas.openxmlformats.org/officeDocument/2006/relationships/vmlDrawing" Target="../drawings/vmlDrawing7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85.xml"/><Relationship Id="rId7" Type="http://schemas.openxmlformats.org/officeDocument/2006/relationships/image" Target="../media/image10.emf"/><Relationship Id="rId2" Type="http://schemas.openxmlformats.org/officeDocument/2006/relationships/tags" Target="../tags/tag1384.xml"/><Relationship Id="rId1" Type="http://schemas.openxmlformats.org/officeDocument/2006/relationships/vmlDrawing" Target="../drawings/vmlDrawing7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87.xml"/><Relationship Id="rId7" Type="http://schemas.openxmlformats.org/officeDocument/2006/relationships/image" Target="../media/image10.emf"/><Relationship Id="rId2" Type="http://schemas.openxmlformats.org/officeDocument/2006/relationships/tags" Target="../tags/tag1386.xml"/><Relationship Id="rId1" Type="http://schemas.openxmlformats.org/officeDocument/2006/relationships/vmlDrawing" Target="../drawings/vmlDrawing7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89.xml"/><Relationship Id="rId7" Type="http://schemas.openxmlformats.org/officeDocument/2006/relationships/image" Target="../media/image10.emf"/><Relationship Id="rId2" Type="http://schemas.openxmlformats.org/officeDocument/2006/relationships/tags" Target="../tags/tag1388.xml"/><Relationship Id="rId1" Type="http://schemas.openxmlformats.org/officeDocument/2006/relationships/vmlDrawing" Target="../drawings/vmlDrawing7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28.xml.rels><?xml version="1.0" encoding="UTF-8" standalone="yes"?>
<Relationships xmlns="http://schemas.openxmlformats.org/package/2006/relationships"><Relationship Id="rId3" Type="http://schemas.openxmlformats.org/officeDocument/2006/relationships/tags" Target="../tags/tag1391.xml"/><Relationship Id="rId7" Type="http://schemas.openxmlformats.org/officeDocument/2006/relationships/image" Target="../media/image10.emf"/><Relationship Id="rId2" Type="http://schemas.openxmlformats.org/officeDocument/2006/relationships/tags" Target="../tags/tag1390.xml"/><Relationship Id="rId1" Type="http://schemas.openxmlformats.org/officeDocument/2006/relationships/vmlDrawing" Target="../drawings/vmlDrawing7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29.xml.rels><?xml version="1.0" encoding="UTF-8" standalone="yes"?>
<Relationships xmlns="http://schemas.openxmlformats.org/package/2006/relationships"><Relationship Id="rId3" Type="http://schemas.openxmlformats.org/officeDocument/2006/relationships/tags" Target="../tags/tag1393.xml"/><Relationship Id="rId7" Type="http://schemas.openxmlformats.org/officeDocument/2006/relationships/image" Target="../media/image10.emf"/><Relationship Id="rId2" Type="http://schemas.openxmlformats.org/officeDocument/2006/relationships/tags" Target="../tags/tag1392.xml"/><Relationship Id="rId1" Type="http://schemas.openxmlformats.org/officeDocument/2006/relationships/vmlDrawing" Target="../drawings/vmlDrawing7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030.xml.rels><?xml version="1.0" encoding="UTF-8" standalone="yes"?>
<Relationships xmlns="http://schemas.openxmlformats.org/package/2006/relationships"><Relationship Id="rId3" Type="http://schemas.openxmlformats.org/officeDocument/2006/relationships/tags" Target="../tags/tag1395.xml"/><Relationship Id="rId7" Type="http://schemas.openxmlformats.org/officeDocument/2006/relationships/image" Target="../media/image2.png"/><Relationship Id="rId2" Type="http://schemas.openxmlformats.org/officeDocument/2006/relationships/tags" Target="../tags/tag1394.xml"/><Relationship Id="rId1" Type="http://schemas.openxmlformats.org/officeDocument/2006/relationships/vmlDrawing" Target="../drawings/vmlDrawing7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397.xml"/><Relationship Id="rId7" Type="http://schemas.openxmlformats.org/officeDocument/2006/relationships/image" Target="../media/image2.png"/><Relationship Id="rId2" Type="http://schemas.openxmlformats.org/officeDocument/2006/relationships/tags" Target="../tags/tag1396.xml"/><Relationship Id="rId1" Type="http://schemas.openxmlformats.org/officeDocument/2006/relationships/vmlDrawing" Target="../drawings/vmlDrawing7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99.xml"/><Relationship Id="rId7" Type="http://schemas.openxmlformats.org/officeDocument/2006/relationships/image" Target="../media/image10.emf"/><Relationship Id="rId2" Type="http://schemas.openxmlformats.org/officeDocument/2006/relationships/tags" Target="../tags/tag1398.xml"/><Relationship Id="rId1" Type="http://schemas.openxmlformats.org/officeDocument/2006/relationships/vmlDrawing" Target="../drawings/vmlDrawing7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01.xml"/><Relationship Id="rId7" Type="http://schemas.openxmlformats.org/officeDocument/2006/relationships/image" Target="../media/image10.emf"/><Relationship Id="rId2" Type="http://schemas.openxmlformats.org/officeDocument/2006/relationships/tags" Target="../tags/tag1400.xml"/><Relationship Id="rId1" Type="http://schemas.openxmlformats.org/officeDocument/2006/relationships/vmlDrawing" Target="../drawings/vmlDrawing7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03.xml"/><Relationship Id="rId7" Type="http://schemas.openxmlformats.org/officeDocument/2006/relationships/image" Target="../media/image10.emf"/><Relationship Id="rId2" Type="http://schemas.openxmlformats.org/officeDocument/2006/relationships/tags" Target="../tags/tag1402.xml"/><Relationship Id="rId1" Type="http://schemas.openxmlformats.org/officeDocument/2006/relationships/vmlDrawing" Target="../drawings/vmlDrawing7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05.xml"/><Relationship Id="rId7" Type="http://schemas.openxmlformats.org/officeDocument/2006/relationships/image" Target="../media/image10.emf"/><Relationship Id="rId2" Type="http://schemas.openxmlformats.org/officeDocument/2006/relationships/tags" Target="../tags/tag1404.xml"/><Relationship Id="rId1" Type="http://schemas.openxmlformats.org/officeDocument/2006/relationships/vmlDrawing" Target="../drawings/vmlDrawing7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36.xml.rels><?xml version="1.0" encoding="UTF-8" standalone="yes"?>
<Relationships xmlns="http://schemas.openxmlformats.org/package/2006/relationships"><Relationship Id="rId3" Type="http://schemas.openxmlformats.org/officeDocument/2006/relationships/tags" Target="../tags/tag1407.xml"/><Relationship Id="rId7" Type="http://schemas.openxmlformats.org/officeDocument/2006/relationships/image" Target="../media/image10.emf"/><Relationship Id="rId2" Type="http://schemas.openxmlformats.org/officeDocument/2006/relationships/tags" Target="../tags/tag1406.xml"/><Relationship Id="rId1" Type="http://schemas.openxmlformats.org/officeDocument/2006/relationships/vmlDrawing" Target="../drawings/vmlDrawing7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37.xml.rels><?xml version="1.0" encoding="UTF-8" standalone="yes"?>
<Relationships xmlns="http://schemas.openxmlformats.org/package/2006/relationships"><Relationship Id="rId3" Type="http://schemas.openxmlformats.org/officeDocument/2006/relationships/tags" Target="../tags/tag1409.xml"/><Relationship Id="rId7" Type="http://schemas.openxmlformats.org/officeDocument/2006/relationships/image" Target="../media/image10.emf"/><Relationship Id="rId2" Type="http://schemas.openxmlformats.org/officeDocument/2006/relationships/tags" Target="../tags/tag1408.xml"/><Relationship Id="rId1" Type="http://schemas.openxmlformats.org/officeDocument/2006/relationships/vmlDrawing" Target="../drawings/vmlDrawing7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38.xml.rels><?xml version="1.0" encoding="UTF-8" standalone="yes"?>
<Relationships xmlns="http://schemas.openxmlformats.org/package/2006/relationships"><Relationship Id="rId3" Type="http://schemas.openxmlformats.org/officeDocument/2006/relationships/tags" Target="../tags/tag1411.xml"/><Relationship Id="rId2" Type="http://schemas.openxmlformats.org/officeDocument/2006/relationships/tags" Target="../tags/tag1410.xml"/><Relationship Id="rId1" Type="http://schemas.openxmlformats.org/officeDocument/2006/relationships/vmlDrawing" Target="../drawings/vmlDrawing7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3.xml"/></Relationships>
</file>

<file path=ppt/slideLayouts/_rels/slideLayout10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13.xml"/><Relationship Id="rId7" Type="http://schemas.openxmlformats.org/officeDocument/2006/relationships/image" Target="../media/image11.emf"/><Relationship Id="rId2" Type="http://schemas.openxmlformats.org/officeDocument/2006/relationships/tags" Target="../tags/tag1412.xml"/><Relationship Id="rId1" Type="http://schemas.openxmlformats.org/officeDocument/2006/relationships/vmlDrawing" Target="../drawings/vmlDrawing7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3.xml"/><Relationship Id="rId9" Type="http://schemas.openxmlformats.org/officeDocument/2006/relationships/image" Target="../media/image12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7" Type="http://schemas.openxmlformats.org/officeDocument/2006/relationships/image" Target="../media/image3.emf"/><Relationship Id="rId2" Type="http://schemas.openxmlformats.org/officeDocument/2006/relationships/tags" Target="../tags/tag174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0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15.xml"/><Relationship Id="rId7" Type="http://schemas.openxmlformats.org/officeDocument/2006/relationships/image" Target="../media/image11.emf"/><Relationship Id="rId2" Type="http://schemas.openxmlformats.org/officeDocument/2006/relationships/tags" Target="../tags/tag1414.xml"/><Relationship Id="rId1" Type="http://schemas.openxmlformats.org/officeDocument/2006/relationships/vmlDrawing" Target="../drawings/vmlDrawing726.vml"/><Relationship Id="rId6" Type="http://schemas.openxmlformats.org/officeDocument/2006/relationships/image" Target="../media/image1.emf"/><Relationship Id="rId11" Type="http://schemas.openxmlformats.org/officeDocument/2006/relationships/image" Target="../media/image14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13.xml"/><Relationship Id="rId9" Type="http://schemas.openxmlformats.org/officeDocument/2006/relationships/image" Target="../media/image13.emf"/></Relationships>
</file>

<file path=ppt/slideLayouts/_rels/slideLayout10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17.xml"/><Relationship Id="rId7" Type="http://schemas.openxmlformats.org/officeDocument/2006/relationships/image" Target="../media/image11.emf"/><Relationship Id="rId2" Type="http://schemas.openxmlformats.org/officeDocument/2006/relationships/tags" Target="../tags/tag1416.xml"/><Relationship Id="rId1" Type="http://schemas.openxmlformats.org/officeDocument/2006/relationships/vmlDrawing" Target="../drawings/vmlDrawing7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3.xml"/><Relationship Id="rId9" Type="http://schemas.openxmlformats.org/officeDocument/2006/relationships/image" Target="../media/image12.emf"/></Relationships>
</file>

<file path=ppt/slideLayouts/_rels/slideLayout10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19.xml"/><Relationship Id="rId7" Type="http://schemas.openxmlformats.org/officeDocument/2006/relationships/image" Target="../media/image11.emf"/><Relationship Id="rId2" Type="http://schemas.openxmlformats.org/officeDocument/2006/relationships/tags" Target="../tags/tag1418.xml"/><Relationship Id="rId1" Type="http://schemas.openxmlformats.org/officeDocument/2006/relationships/vmlDrawing" Target="../drawings/vmlDrawing728.vml"/><Relationship Id="rId6" Type="http://schemas.openxmlformats.org/officeDocument/2006/relationships/image" Target="../media/image1.emf"/><Relationship Id="rId11" Type="http://schemas.openxmlformats.org/officeDocument/2006/relationships/image" Target="../media/image13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3.xml"/><Relationship Id="rId9" Type="http://schemas.openxmlformats.org/officeDocument/2006/relationships/image" Target="../media/image12.emf"/></Relationships>
</file>

<file path=ppt/slideLayouts/_rels/slideLayout10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21.xml"/><Relationship Id="rId7" Type="http://schemas.openxmlformats.org/officeDocument/2006/relationships/image" Target="../media/image11.emf"/><Relationship Id="rId2" Type="http://schemas.openxmlformats.org/officeDocument/2006/relationships/tags" Target="../tags/tag1420.xml"/><Relationship Id="rId1" Type="http://schemas.openxmlformats.org/officeDocument/2006/relationships/vmlDrawing" Target="../drawings/vmlDrawing7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3.xml"/><Relationship Id="rId9" Type="http://schemas.openxmlformats.org/officeDocument/2006/relationships/image" Target="../media/image12.emf"/></Relationships>
</file>

<file path=ppt/slideLayouts/_rels/slideLayout10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23.xml"/><Relationship Id="rId7" Type="http://schemas.openxmlformats.org/officeDocument/2006/relationships/image" Target="../media/image11.emf"/><Relationship Id="rId2" Type="http://schemas.openxmlformats.org/officeDocument/2006/relationships/tags" Target="../tags/tag1422.xml"/><Relationship Id="rId1" Type="http://schemas.openxmlformats.org/officeDocument/2006/relationships/vmlDrawing" Target="../drawings/vmlDrawing7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3.xml"/><Relationship Id="rId9" Type="http://schemas.openxmlformats.org/officeDocument/2006/relationships/image" Target="../media/image12.emf"/></Relationships>
</file>

<file path=ppt/slideLayouts/_rels/slideLayout10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25.xml"/><Relationship Id="rId7" Type="http://schemas.openxmlformats.org/officeDocument/2006/relationships/image" Target="../media/image11.emf"/><Relationship Id="rId2" Type="http://schemas.openxmlformats.org/officeDocument/2006/relationships/tags" Target="../tags/tag1424.xml"/><Relationship Id="rId1" Type="http://schemas.openxmlformats.org/officeDocument/2006/relationships/vmlDrawing" Target="../drawings/vmlDrawing7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3.xml"/><Relationship Id="rId9" Type="http://schemas.openxmlformats.org/officeDocument/2006/relationships/image" Target="../media/image12.emf"/></Relationships>
</file>

<file path=ppt/slideLayouts/_rels/slideLayout10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27.xml"/><Relationship Id="rId7" Type="http://schemas.openxmlformats.org/officeDocument/2006/relationships/image" Target="../media/image11.emf"/><Relationship Id="rId2" Type="http://schemas.openxmlformats.org/officeDocument/2006/relationships/tags" Target="../tags/tag1426.xml"/><Relationship Id="rId1" Type="http://schemas.openxmlformats.org/officeDocument/2006/relationships/vmlDrawing" Target="../drawings/vmlDrawing7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3.xml"/><Relationship Id="rId9" Type="http://schemas.openxmlformats.org/officeDocument/2006/relationships/image" Target="../media/image12.emf"/></Relationships>
</file>

<file path=ppt/slideLayouts/_rels/slideLayout10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29.xml"/><Relationship Id="rId7" Type="http://schemas.openxmlformats.org/officeDocument/2006/relationships/image" Target="../media/image11.emf"/><Relationship Id="rId2" Type="http://schemas.openxmlformats.org/officeDocument/2006/relationships/tags" Target="../tags/tag1428.xml"/><Relationship Id="rId1" Type="http://schemas.openxmlformats.org/officeDocument/2006/relationships/vmlDrawing" Target="../drawings/vmlDrawing7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3.xml"/><Relationship Id="rId9" Type="http://schemas.openxmlformats.org/officeDocument/2006/relationships/image" Target="../media/image12.emf"/></Relationships>
</file>

<file path=ppt/slideLayouts/_rels/slideLayout10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31.xml"/><Relationship Id="rId7" Type="http://schemas.openxmlformats.org/officeDocument/2006/relationships/image" Target="../media/image11.emf"/><Relationship Id="rId2" Type="http://schemas.openxmlformats.org/officeDocument/2006/relationships/tags" Target="../tags/tag1430.xml"/><Relationship Id="rId1" Type="http://schemas.openxmlformats.org/officeDocument/2006/relationships/vmlDrawing" Target="../drawings/vmlDrawing7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3.xml"/><Relationship Id="rId9" Type="http://schemas.openxmlformats.org/officeDocument/2006/relationships/image" Target="../media/image14.emf"/></Relationships>
</file>

<file path=ppt/slideLayouts/_rels/slideLayout10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33.xml"/><Relationship Id="rId7" Type="http://schemas.openxmlformats.org/officeDocument/2006/relationships/image" Target="../media/image11.emf"/><Relationship Id="rId2" Type="http://schemas.openxmlformats.org/officeDocument/2006/relationships/tags" Target="../tags/tag1432.xml"/><Relationship Id="rId1" Type="http://schemas.openxmlformats.org/officeDocument/2006/relationships/vmlDrawing" Target="../drawings/vmlDrawing7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3.xml"/><Relationship Id="rId9" Type="http://schemas.openxmlformats.org/officeDocument/2006/relationships/image" Target="../media/image12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7" Type="http://schemas.openxmlformats.org/officeDocument/2006/relationships/image" Target="../media/image3.emf"/><Relationship Id="rId2" Type="http://schemas.openxmlformats.org/officeDocument/2006/relationships/tags" Target="../tags/tag176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0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35.xml"/><Relationship Id="rId7" Type="http://schemas.openxmlformats.org/officeDocument/2006/relationships/image" Target="../media/image11.emf"/><Relationship Id="rId2" Type="http://schemas.openxmlformats.org/officeDocument/2006/relationships/tags" Target="../tags/tag1434.xml"/><Relationship Id="rId1" Type="http://schemas.openxmlformats.org/officeDocument/2006/relationships/vmlDrawing" Target="../drawings/vmlDrawing7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3.xml"/><Relationship Id="rId9" Type="http://schemas.openxmlformats.org/officeDocument/2006/relationships/image" Target="../media/image14.emf"/></Relationships>
</file>

<file path=ppt/slideLayouts/_rels/slideLayout1051.xml.rels><?xml version="1.0" encoding="UTF-8" standalone="yes"?>
<Relationships xmlns="http://schemas.openxmlformats.org/package/2006/relationships"><Relationship Id="rId3" Type="http://schemas.openxmlformats.org/officeDocument/2006/relationships/tags" Target="../tags/tag1437.xml"/><Relationship Id="rId2" Type="http://schemas.openxmlformats.org/officeDocument/2006/relationships/tags" Target="../tags/tag1436.xml"/><Relationship Id="rId1" Type="http://schemas.openxmlformats.org/officeDocument/2006/relationships/vmlDrawing" Target="../drawings/vmlDrawing7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3.xml"/></Relationships>
</file>

<file path=ppt/slideLayouts/_rels/slideLayout1052.xml.rels><?xml version="1.0" encoding="UTF-8" standalone="yes"?>
<Relationships xmlns="http://schemas.openxmlformats.org/package/2006/relationships"><Relationship Id="rId3" Type="http://schemas.openxmlformats.org/officeDocument/2006/relationships/tags" Target="../tags/tag1439.xml"/><Relationship Id="rId2" Type="http://schemas.openxmlformats.org/officeDocument/2006/relationships/tags" Target="../tags/tag1438.xml"/><Relationship Id="rId1" Type="http://schemas.openxmlformats.org/officeDocument/2006/relationships/vmlDrawing" Target="../drawings/vmlDrawing7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3.xml"/></Relationships>
</file>

<file path=ppt/slideLayouts/_rels/slideLayout1053.xml.rels><?xml version="1.0" encoding="UTF-8" standalone="yes"?>
<Relationships xmlns="http://schemas.openxmlformats.org/package/2006/relationships"><Relationship Id="rId3" Type="http://schemas.openxmlformats.org/officeDocument/2006/relationships/tags" Target="../tags/tag1441.xml"/><Relationship Id="rId2" Type="http://schemas.openxmlformats.org/officeDocument/2006/relationships/tags" Target="../tags/tag1440.xml"/><Relationship Id="rId1" Type="http://schemas.openxmlformats.org/officeDocument/2006/relationships/vmlDrawing" Target="../drawings/vmlDrawing7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3.xml"/></Relationships>
</file>

<file path=ppt/slideLayouts/_rels/slideLayout10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tags" Target="../tags/tag1443.xml"/><Relationship Id="rId7" Type="http://schemas.openxmlformats.org/officeDocument/2006/relationships/image" Target="../media/image15.png"/><Relationship Id="rId2" Type="http://schemas.openxmlformats.org/officeDocument/2006/relationships/tags" Target="../tags/tag1442.xml"/><Relationship Id="rId1" Type="http://schemas.openxmlformats.org/officeDocument/2006/relationships/vmlDrawing" Target="../drawings/vmlDrawing7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3.xml"/></Relationships>
</file>

<file path=ppt/slideLayouts/_rels/slideLayout1055.xml.rels><?xml version="1.0" encoding="UTF-8" standalone="yes"?>
<Relationships xmlns="http://schemas.openxmlformats.org/package/2006/relationships"><Relationship Id="rId3" Type="http://schemas.openxmlformats.org/officeDocument/2006/relationships/tags" Target="../tags/tag1445.xml"/><Relationship Id="rId2" Type="http://schemas.openxmlformats.org/officeDocument/2006/relationships/tags" Target="../tags/tag1444.xml"/><Relationship Id="rId1" Type="http://schemas.openxmlformats.org/officeDocument/2006/relationships/vmlDrawing" Target="../drawings/vmlDrawing7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10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7" Type="http://schemas.openxmlformats.org/officeDocument/2006/relationships/image" Target="../media/image3.emf"/><Relationship Id="rId2" Type="http://schemas.openxmlformats.org/officeDocument/2006/relationships/tags" Target="../tags/tag178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0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tags" Target="../tags/tag1447.xml"/><Relationship Id="rId7" Type="http://schemas.openxmlformats.org/officeDocument/2006/relationships/image" Target="../media/image15.png"/><Relationship Id="rId2" Type="http://schemas.openxmlformats.org/officeDocument/2006/relationships/tags" Target="../tags/tag1446.xml"/><Relationship Id="rId1" Type="http://schemas.openxmlformats.org/officeDocument/2006/relationships/vmlDrawing" Target="../drawings/vmlDrawing7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3.xml"/></Relationships>
</file>

<file path=ppt/slideLayouts/_rels/slideLayout10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tags" Target="../tags/tag1449.xml"/><Relationship Id="rId7" Type="http://schemas.openxmlformats.org/officeDocument/2006/relationships/image" Target="../media/image15.png"/><Relationship Id="rId2" Type="http://schemas.openxmlformats.org/officeDocument/2006/relationships/tags" Target="../tags/tag1448.xml"/><Relationship Id="rId1" Type="http://schemas.openxmlformats.org/officeDocument/2006/relationships/vmlDrawing" Target="../drawings/vmlDrawing7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3.xml"/></Relationships>
</file>

<file path=ppt/slideLayouts/_rels/slideLayout1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7" Type="http://schemas.openxmlformats.org/officeDocument/2006/relationships/image" Target="../media/image3.emf"/><Relationship Id="rId2" Type="http://schemas.openxmlformats.org/officeDocument/2006/relationships/tags" Target="../tags/tag180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0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.png"/><Relationship Id="rId2" Type="http://schemas.openxmlformats.org/officeDocument/2006/relationships/tags" Target="../tags/tag1450.xml"/><Relationship Id="rId1" Type="http://schemas.openxmlformats.org/officeDocument/2006/relationships/vmlDrawing" Target="../drawings/vmlDrawing74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10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.png"/><Relationship Id="rId2" Type="http://schemas.openxmlformats.org/officeDocument/2006/relationships/tags" Target="../tags/tag1451.xml"/><Relationship Id="rId1" Type="http://schemas.openxmlformats.org/officeDocument/2006/relationships/vmlDrawing" Target="../drawings/vmlDrawing74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10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3.xml"/><Relationship Id="rId7" Type="http://schemas.microsoft.com/office/2007/relationships/hdphoto" Target="../media/hdphoto1.wdp"/><Relationship Id="rId2" Type="http://schemas.openxmlformats.org/officeDocument/2006/relationships/tags" Target="../tags/tag1452.xml"/><Relationship Id="rId1" Type="http://schemas.openxmlformats.org/officeDocument/2006/relationships/vmlDrawing" Target="../drawings/vmlDrawing746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Relationship Id="rId9" Type="http://schemas.openxmlformats.org/officeDocument/2006/relationships/image" Target="../media/image2.png"/></Relationships>
</file>

<file path=ppt/slideLayouts/_rels/slideLayout10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56.xml"/><Relationship Id="rId7" Type="http://schemas.openxmlformats.org/officeDocument/2006/relationships/image" Target="../media/image4.png"/><Relationship Id="rId2" Type="http://schemas.openxmlformats.org/officeDocument/2006/relationships/tags" Target="../tags/tag1455.xml"/><Relationship Id="rId1" Type="http://schemas.openxmlformats.org/officeDocument/2006/relationships/vmlDrawing" Target="../drawings/vmlDrawing7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3.bin"/><Relationship Id="rId4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7" Type="http://schemas.openxmlformats.org/officeDocument/2006/relationships/image" Target="../media/image2.png"/><Relationship Id="rId2" Type="http://schemas.openxmlformats.org/officeDocument/2006/relationships/tags" Target="../tags/tag182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080.xml.rels><?xml version="1.0" encoding="UTF-8" standalone="yes"?>
<Relationships xmlns="http://schemas.openxmlformats.org/package/2006/relationships"><Relationship Id="rId3" Type="http://schemas.openxmlformats.org/officeDocument/2006/relationships/tags" Target="../tags/tag1458.xml"/><Relationship Id="rId2" Type="http://schemas.openxmlformats.org/officeDocument/2006/relationships/tags" Target="../tags/tag1457.xml"/><Relationship Id="rId1" Type="http://schemas.openxmlformats.org/officeDocument/2006/relationships/vmlDrawing" Target="../drawings/vmlDrawing7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0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60.xml"/><Relationship Id="rId7" Type="http://schemas.openxmlformats.org/officeDocument/2006/relationships/image" Target="../media/image1.emf"/><Relationship Id="rId2" Type="http://schemas.openxmlformats.org/officeDocument/2006/relationships/tags" Target="../tags/tag1459.xml"/><Relationship Id="rId1" Type="http://schemas.openxmlformats.org/officeDocument/2006/relationships/vmlDrawing" Target="../drawings/vmlDrawing750.vml"/><Relationship Id="rId6" Type="http://schemas.openxmlformats.org/officeDocument/2006/relationships/oleObject" Target="../embeddings/oleObject155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14.xml"/></Relationships>
</file>

<file path=ppt/slideLayouts/_rels/slideLayout10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461.xml"/><Relationship Id="rId1" Type="http://schemas.openxmlformats.org/officeDocument/2006/relationships/vmlDrawing" Target="../drawings/vmlDrawing75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6.bin"/></Relationships>
</file>

<file path=ppt/slideLayouts/_rels/slideLayout1083.xml.rels><?xml version="1.0" encoding="UTF-8" standalone="yes"?>
<Relationships xmlns="http://schemas.openxmlformats.org/package/2006/relationships"><Relationship Id="rId3" Type="http://schemas.openxmlformats.org/officeDocument/2006/relationships/tags" Target="../tags/tag1463.xml"/><Relationship Id="rId7" Type="http://schemas.openxmlformats.org/officeDocument/2006/relationships/image" Target="../media/image2.png"/><Relationship Id="rId2" Type="http://schemas.openxmlformats.org/officeDocument/2006/relationships/tags" Target="../tags/tag1462.xml"/><Relationship Id="rId1" Type="http://schemas.openxmlformats.org/officeDocument/2006/relationships/vmlDrawing" Target="../drawings/vmlDrawing7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7.bin"/><Relationship Id="rId4" Type="http://schemas.openxmlformats.org/officeDocument/2006/relationships/slideMaster" Target="../slideMasters/slideMaster14.xml"/></Relationships>
</file>

<file path=ppt/slideLayouts/_rels/slideLayout1084.xml.rels><?xml version="1.0" encoding="UTF-8" standalone="yes"?>
<Relationships xmlns="http://schemas.openxmlformats.org/package/2006/relationships"><Relationship Id="rId3" Type="http://schemas.openxmlformats.org/officeDocument/2006/relationships/tags" Target="../tags/tag1465.xml"/><Relationship Id="rId7" Type="http://schemas.openxmlformats.org/officeDocument/2006/relationships/image" Target="../media/image6.png"/><Relationship Id="rId2" Type="http://schemas.openxmlformats.org/officeDocument/2006/relationships/tags" Target="../tags/tag1464.xml"/><Relationship Id="rId1" Type="http://schemas.openxmlformats.org/officeDocument/2006/relationships/vmlDrawing" Target="../drawings/vmlDrawing7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8.bin"/><Relationship Id="rId4" Type="http://schemas.openxmlformats.org/officeDocument/2006/relationships/slideMaster" Target="../slideMasters/slideMaster14.xml"/></Relationships>
</file>

<file path=ppt/slideLayouts/_rels/slideLayout10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67.xml"/><Relationship Id="rId7" Type="http://schemas.openxmlformats.org/officeDocument/2006/relationships/image" Target="../media/image1.emf"/><Relationship Id="rId2" Type="http://schemas.openxmlformats.org/officeDocument/2006/relationships/tags" Target="../tags/tag1466.xml"/><Relationship Id="rId1" Type="http://schemas.openxmlformats.org/officeDocument/2006/relationships/vmlDrawing" Target="../drawings/vmlDrawing754.vml"/><Relationship Id="rId6" Type="http://schemas.openxmlformats.org/officeDocument/2006/relationships/oleObject" Target="../embeddings/oleObject159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14.xml"/></Relationships>
</file>

<file path=ppt/slideLayouts/_rels/slideLayout10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4.xml"/></Relationships>
</file>

<file path=ppt/slideLayouts/_rels/slideLayout1087.xml.rels><?xml version="1.0" encoding="UTF-8" standalone="yes"?>
<Relationships xmlns="http://schemas.openxmlformats.org/package/2006/relationships"><Relationship Id="rId3" Type="http://schemas.openxmlformats.org/officeDocument/2006/relationships/tags" Target="../tags/tag1469.xml"/><Relationship Id="rId2" Type="http://schemas.openxmlformats.org/officeDocument/2006/relationships/tags" Target="../tags/tag1468.xml"/><Relationship Id="rId1" Type="http://schemas.openxmlformats.org/officeDocument/2006/relationships/vmlDrawing" Target="../drawings/vmlDrawing7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0.bin"/><Relationship Id="rId4" Type="http://schemas.openxmlformats.org/officeDocument/2006/relationships/slideMaster" Target="../slideMasters/slideMaster14.xml"/></Relationships>
</file>

<file path=ppt/slideLayouts/_rels/slideLayout1088.xml.rels><?xml version="1.0" encoding="UTF-8" standalone="yes"?>
<Relationships xmlns="http://schemas.openxmlformats.org/package/2006/relationships"><Relationship Id="rId3" Type="http://schemas.openxmlformats.org/officeDocument/2006/relationships/tags" Target="../tags/tag1471.xml"/><Relationship Id="rId7" Type="http://schemas.openxmlformats.org/officeDocument/2006/relationships/image" Target="../media/image2.png"/><Relationship Id="rId2" Type="http://schemas.openxmlformats.org/officeDocument/2006/relationships/tags" Target="../tags/tag1470.xml"/><Relationship Id="rId1" Type="http://schemas.openxmlformats.org/officeDocument/2006/relationships/vmlDrawing" Target="../drawings/vmlDrawing7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7.bin"/><Relationship Id="rId4" Type="http://schemas.openxmlformats.org/officeDocument/2006/relationships/slideMaster" Target="../slideMasters/slideMaster14.xml"/></Relationships>
</file>

<file path=ppt/slideLayouts/_rels/slideLayout1089.xml.rels><?xml version="1.0" encoding="UTF-8" standalone="yes"?>
<Relationships xmlns="http://schemas.openxmlformats.org/package/2006/relationships"><Relationship Id="rId3" Type="http://schemas.openxmlformats.org/officeDocument/2006/relationships/tags" Target="../tags/tag1473.xml"/><Relationship Id="rId7" Type="http://schemas.openxmlformats.org/officeDocument/2006/relationships/image" Target="../media/image2.png"/><Relationship Id="rId2" Type="http://schemas.openxmlformats.org/officeDocument/2006/relationships/tags" Target="../tags/tag1472.xml"/><Relationship Id="rId1" Type="http://schemas.openxmlformats.org/officeDocument/2006/relationships/vmlDrawing" Target="../drawings/vmlDrawing7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7.bin"/><Relationship Id="rId4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85.xml"/><Relationship Id="rId7" Type="http://schemas.openxmlformats.org/officeDocument/2006/relationships/image" Target="../media/image9.emf"/><Relationship Id="rId2" Type="http://schemas.openxmlformats.org/officeDocument/2006/relationships/tags" Target="../tags/tag184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090.xml.rels><?xml version="1.0" encoding="UTF-8" standalone="yes"?>
<Relationships xmlns="http://schemas.openxmlformats.org/package/2006/relationships"><Relationship Id="rId3" Type="http://schemas.openxmlformats.org/officeDocument/2006/relationships/tags" Target="../tags/tag1475.xml"/><Relationship Id="rId7" Type="http://schemas.openxmlformats.org/officeDocument/2006/relationships/image" Target="../media/image2.png"/><Relationship Id="rId2" Type="http://schemas.openxmlformats.org/officeDocument/2006/relationships/tags" Target="../tags/tag1474.xml"/><Relationship Id="rId1" Type="http://schemas.openxmlformats.org/officeDocument/2006/relationships/vmlDrawing" Target="../drawings/vmlDrawing7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7.bin"/><Relationship Id="rId4" Type="http://schemas.openxmlformats.org/officeDocument/2006/relationships/slideMaster" Target="../slideMasters/slideMaster14.xml"/></Relationships>
</file>

<file path=ppt/slideLayouts/_rels/slideLayout1091.xml.rels><?xml version="1.0" encoding="UTF-8" standalone="yes"?>
<Relationships xmlns="http://schemas.openxmlformats.org/package/2006/relationships"><Relationship Id="rId3" Type="http://schemas.openxmlformats.org/officeDocument/2006/relationships/tags" Target="../tags/tag1477.xml"/><Relationship Id="rId7" Type="http://schemas.openxmlformats.org/officeDocument/2006/relationships/image" Target="../media/image2.png"/><Relationship Id="rId2" Type="http://schemas.openxmlformats.org/officeDocument/2006/relationships/tags" Target="../tags/tag1476.xml"/><Relationship Id="rId1" Type="http://schemas.openxmlformats.org/officeDocument/2006/relationships/vmlDrawing" Target="../drawings/vmlDrawing7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7.bin"/><Relationship Id="rId4" Type="http://schemas.openxmlformats.org/officeDocument/2006/relationships/slideMaster" Target="../slideMasters/slideMaster14.xml"/></Relationships>
</file>

<file path=ppt/slideLayouts/_rels/slideLayout1092.xml.rels><?xml version="1.0" encoding="UTF-8" standalone="yes"?>
<Relationships xmlns="http://schemas.openxmlformats.org/package/2006/relationships"><Relationship Id="rId3" Type="http://schemas.openxmlformats.org/officeDocument/2006/relationships/tags" Target="../tags/tag1479.xml"/><Relationship Id="rId2" Type="http://schemas.openxmlformats.org/officeDocument/2006/relationships/tags" Target="../tags/tag1478.xml"/><Relationship Id="rId1" Type="http://schemas.openxmlformats.org/officeDocument/2006/relationships/vmlDrawing" Target="../drawings/vmlDrawing7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093.xml.rels><?xml version="1.0" encoding="UTF-8" standalone="yes"?>
<Relationships xmlns="http://schemas.openxmlformats.org/package/2006/relationships"><Relationship Id="rId3" Type="http://schemas.openxmlformats.org/officeDocument/2006/relationships/tags" Target="../tags/tag1481.xml"/><Relationship Id="rId2" Type="http://schemas.openxmlformats.org/officeDocument/2006/relationships/tags" Target="../tags/tag1480.xml"/><Relationship Id="rId1" Type="http://schemas.openxmlformats.org/officeDocument/2006/relationships/vmlDrawing" Target="../drawings/vmlDrawing7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094.xml.rels><?xml version="1.0" encoding="UTF-8" standalone="yes"?>
<Relationships xmlns="http://schemas.openxmlformats.org/package/2006/relationships"><Relationship Id="rId3" Type="http://schemas.openxmlformats.org/officeDocument/2006/relationships/tags" Target="../tags/tag1483.xml"/><Relationship Id="rId7" Type="http://schemas.openxmlformats.org/officeDocument/2006/relationships/image" Target="../media/image3.emf"/><Relationship Id="rId2" Type="http://schemas.openxmlformats.org/officeDocument/2006/relationships/tags" Target="../tags/tag1482.xml"/><Relationship Id="rId1" Type="http://schemas.openxmlformats.org/officeDocument/2006/relationships/vmlDrawing" Target="../drawings/vmlDrawing7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095.xml.rels><?xml version="1.0" encoding="UTF-8" standalone="yes"?>
<Relationships xmlns="http://schemas.openxmlformats.org/package/2006/relationships"><Relationship Id="rId3" Type="http://schemas.openxmlformats.org/officeDocument/2006/relationships/tags" Target="../tags/tag1485.xml"/><Relationship Id="rId7" Type="http://schemas.openxmlformats.org/officeDocument/2006/relationships/image" Target="../media/image3.emf"/><Relationship Id="rId2" Type="http://schemas.openxmlformats.org/officeDocument/2006/relationships/tags" Target="../tags/tag1484.xml"/><Relationship Id="rId1" Type="http://schemas.openxmlformats.org/officeDocument/2006/relationships/vmlDrawing" Target="../drawings/vmlDrawing7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096.xml.rels><?xml version="1.0" encoding="UTF-8" standalone="yes"?>
<Relationships xmlns="http://schemas.openxmlformats.org/package/2006/relationships"><Relationship Id="rId3" Type="http://schemas.openxmlformats.org/officeDocument/2006/relationships/tags" Target="../tags/tag1487.xml"/><Relationship Id="rId7" Type="http://schemas.openxmlformats.org/officeDocument/2006/relationships/image" Target="../media/image3.emf"/><Relationship Id="rId2" Type="http://schemas.openxmlformats.org/officeDocument/2006/relationships/tags" Target="../tags/tag1486.xml"/><Relationship Id="rId1" Type="http://schemas.openxmlformats.org/officeDocument/2006/relationships/vmlDrawing" Target="../drawings/vmlDrawing7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097.xml.rels><?xml version="1.0" encoding="UTF-8" standalone="yes"?>
<Relationships xmlns="http://schemas.openxmlformats.org/package/2006/relationships"><Relationship Id="rId3" Type="http://schemas.openxmlformats.org/officeDocument/2006/relationships/tags" Target="../tags/tag1489.xml"/><Relationship Id="rId7" Type="http://schemas.openxmlformats.org/officeDocument/2006/relationships/image" Target="../media/image3.emf"/><Relationship Id="rId2" Type="http://schemas.openxmlformats.org/officeDocument/2006/relationships/tags" Target="../tags/tag1488.xml"/><Relationship Id="rId1" Type="http://schemas.openxmlformats.org/officeDocument/2006/relationships/vmlDrawing" Target="../drawings/vmlDrawing7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098.xml.rels><?xml version="1.0" encoding="UTF-8" standalone="yes"?>
<Relationships xmlns="http://schemas.openxmlformats.org/package/2006/relationships"><Relationship Id="rId3" Type="http://schemas.openxmlformats.org/officeDocument/2006/relationships/tags" Target="../tags/tag1491.xml"/><Relationship Id="rId7" Type="http://schemas.openxmlformats.org/officeDocument/2006/relationships/image" Target="../media/image2.png"/><Relationship Id="rId2" Type="http://schemas.openxmlformats.org/officeDocument/2006/relationships/tags" Target="../tags/tag1490.xml"/><Relationship Id="rId1" Type="http://schemas.openxmlformats.org/officeDocument/2006/relationships/vmlDrawing" Target="../drawings/vmlDrawing7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0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93.xml"/><Relationship Id="rId7" Type="http://schemas.openxmlformats.org/officeDocument/2006/relationships/image" Target="../media/image9.emf"/><Relationship Id="rId2" Type="http://schemas.openxmlformats.org/officeDocument/2006/relationships/tags" Target="../tags/tag1492.xml"/><Relationship Id="rId1" Type="http://schemas.openxmlformats.org/officeDocument/2006/relationships/vmlDrawing" Target="../drawings/vmlDrawing7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87.xml"/><Relationship Id="rId7" Type="http://schemas.openxmlformats.org/officeDocument/2006/relationships/image" Target="../media/image9.emf"/><Relationship Id="rId2" Type="http://schemas.openxmlformats.org/officeDocument/2006/relationships/tags" Target="../tags/tag186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95.xml"/><Relationship Id="rId7" Type="http://schemas.openxmlformats.org/officeDocument/2006/relationships/image" Target="../media/image9.emf"/><Relationship Id="rId2" Type="http://schemas.openxmlformats.org/officeDocument/2006/relationships/tags" Target="../tags/tag1494.xml"/><Relationship Id="rId1" Type="http://schemas.openxmlformats.org/officeDocument/2006/relationships/vmlDrawing" Target="../drawings/vmlDrawing7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97.xml"/><Relationship Id="rId7" Type="http://schemas.openxmlformats.org/officeDocument/2006/relationships/image" Target="../media/image9.emf"/><Relationship Id="rId2" Type="http://schemas.openxmlformats.org/officeDocument/2006/relationships/tags" Target="../tags/tag1496.xml"/><Relationship Id="rId1" Type="http://schemas.openxmlformats.org/officeDocument/2006/relationships/vmlDrawing" Target="../drawings/vmlDrawing7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99.xml"/><Relationship Id="rId7" Type="http://schemas.openxmlformats.org/officeDocument/2006/relationships/image" Target="../media/image9.emf"/><Relationship Id="rId2" Type="http://schemas.openxmlformats.org/officeDocument/2006/relationships/tags" Target="../tags/tag1498.xml"/><Relationship Id="rId1" Type="http://schemas.openxmlformats.org/officeDocument/2006/relationships/vmlDrawing" Target="../drawings/vmlDrawing7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01.xml"/><Relationship Id="rId7" Type="http://schemas.openxmlformats.org/officeDocument/2006/relationships/image" Target="../media/image9.emf"/><Relationship Id="rId2" Type="http://schemas.openxmlformats.org/officeDocument/2006/relationships/tags" Target="../tags/tag1500.xml"/><Relationship Id="rId1" Type="http://schemas.openxmlformats.org/officeDocument/2006/relationships/vmlDrawing" Target="../drawings/vmlDrawing7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04.xml.rels><?xml version="1.0" encoding="UTF-8" standalone="yes"?>
<Relationships xmlns="http://schemas.openxmlformats.org/package/2006/relationships"><Relationship Id="rId3" Type="http://schemas.openxmlformats.org/officeDocument/2006/relationships/tags" Target="../tags/tag1503.xml"/><Relationship Id="rId7" Type="http://schemas.openxmlformats.org/officeDocument/2006/relationships/image" Target="../media/image9.emf"/><Relationship Id="rId2" Type="http://schemas.openxmlformats.org/officeDocument/2006/relationships/tags" Target="../tags/tag1502.xml"/><Relationship Id="rId1" Type="http://schemas.openxmlformats.org/officeDocument/2006/relationships/vmlDrawing" Target="../drawings/vmlDrawing7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05.xml.rels><?xml version="1.0" encoding="UTF-8" standalone="yes"?>
<Relationships xmlns="http://schemas.openxmlformats.org/package/2006/relationships"><Relationship Id="rId3" Type="http://schemas.openxmlformats.org/officeDocument/2006/relationships/tags" Target="../tags/tag1505.xml"/><Relationship Id="rId7" Type="http://schemas.openxmlformats.org/officeDocument/2006/relationships/image" Target="../media/image9.emf"/><Relationship Id="rId2" Type="http://schemas.openxmlformats.org/officeDocument/2006/relationships/tags" Target="../tags/tag1504.xml"/><Relationship Id="rId1" Type="http://schemas.openxmlformats.org/officeDocument/2006/relationships/vmlDrawing" Target="../drawings/vmlDrawing7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06.xml.rels><?xml version="1.0" encoding="UTF-8" standalone="yes"?>
<Relationships xmlns="http://schemas.openxmlformats.org/package/2006/relationships"><Relationship Id="rId3" Type="http://schemas.openxmlformats.org/officeDocument/2006/relationships/tags" Target="../tags/tag1507.xml"/><Relationship Id="rId7" Type="http://schemas.openxmlformats.org/officeDocument/2006/relationships/image" Target="../media/image2.png"/><Relationship Id="rId2" Type="http://schemas.openxmlformats.org/officeDocument/2006/relationships/tags" Target="../tags/tag1506.xml"/><Relationship Id="rId1" Type="http://schemas.openxmlformats.org/officeDocument/2006/relationships/vmlDrawing" Target="../drawings/vmlDrawing7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09.xml"/><Relationship Id="rId7" Type="http://schemas.openxmlformats.org/officeDocument/2006/relationships/image" Target="../media/image1.emf"/><Relationship Id="rId2" Type="http://schemas.openxmlformats.org/officeDocument/2006/relationships/tags" Target="../tags/tag1508.xml"/><Relationship Id="rId1" Type="http://schemas.openxmlformats.org/officeDocument/2006/relationships/vmlDrawing" Target="../drawings/vmlDrawing775.vml"/><Relationship Id="rId6" Type="http://schemas.openxmlformats.org/officeDocument/2006/relationships/oleObject" Target="../embeddings/oleObject154.bin"/><Relationship Id="rId5" Type="http://schemas.openxmlformats.org/officeDocument/2006/relationships/image" Target="../media/image10.emf"/><Relationship Id="rId4" Type="http://schemas.openxmlformats.org/officeDocument/2006/relationships/slideMaster" Target="../slideMasters/slideMaster14.xml"/></Relationships>
</file>

<file path=ppt/slideLayouts/_rels/slideLayout1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11.xml"/><Relationship Id="rId7" Type="http://schemas.openxmlformats.org/officeDocument/2006/relationships/image" Target="../media/image10.emf"/><Relationship Id="rId2" Type="http://schemas.openxmlformats.org/officeDocument/2006/relationships/tags" Target="../tags/tag1510.xml"/><Relationship Id="rId1" Type="http://schemas.openxmlformats.org/officeDocument/2006/relationships/vmlDrawing" Target="../drawings/vmlDrawing7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13.xml"/><Relationship Id="rId7" Type="http://schemas.openxmlformats.org/officeDocument/2006/relationships/image" Target="../media/image10.emf"/><Relationship Id="rId2" Type="http://schemas.openxmlformats.org/officeDocument/2006/relationships/tags" Target="../tags/tag1512.xml"/><Relationship Id="rId1" Type="http://schemas.openxmlformats.org/officeDocument/2006/relationships/vmlDrawing" Target="../drawings/vmlDrawing7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89.xml"/><Relationship Id="rId7" Type="http://schemas.openxmlformats.org/officeDocument/2006/relationships/image" Target="../media/image9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15.xml"/><Relationship Id="rId7" Type="http://schemas.openxmlformats.org/officeDocument/2006/relationships/image" Target="../media/image10.emf"/><Relationship Id="rId2" Type="http://schemas.openxmlformats.org/officeDocument/2006/relationships/tags" Target="../tags/tag1514.xml"/><Relationship Id="rId1" Type="http://schemas.openxmlformats.org/officeDocument/2006/relationships/vmlDrawing" Target="../drawings/vmlDrawing7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17.xml"/><Relationship Id="rId7" Type="http://schemas.openxmlformats.org/officeDocument/2006/relationships/image" Target="../media/image10.emf"/><Relationship Id="rId2" Type="http://schemas.openxmlformats.org/officeDocument/2006/relationships/tags" Target="../tags/tag1516.xml"/><Relationship Id="rId1" Type="http://schemas.openxmlformats.org/officeDocument/2006/relationships/vmlDrawing" Target="../drawings/vmlDrawing7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519.xml"/><Relationship Id="rId7" Type="http://schemas.openxmlformats.org/officeDocument/2006/relationships/image" Target="../media/image9.emf"/><Relationship Id="rId2" Type="http://schemas.openxmlformats.org/officeDocument/2006/relationships/tags" Target="../tags/tag1518.xml"/><Relationship Id="rId1" Type="http://schemas.openxmlformats.org/officeDocument/2006/relationships/vmlDrawing" Target="../drawings/vmlDrawing7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13.xml.rels><?xml version="1.0" encoding="UTF-8" standalone="yes"?>
<Relationships xmlns="http://schemas.openxmlformats.org/package/2006/relationships"><Relationship Id="rId3" Type="http://schemas.openxmlformats.org/officeDocument/2006/relationships/tags" Target="../tags/tag1521.xml"/><Relationship Id="rId7" Type="http://schemas.openxmlformats.org/officeDocument/2006/relationships/image" Target="../media/image10.emf"/><Relationship Id="rId2" Type="http://schemas.openxmlformats.org/officeDocument/2006/relationships/tags" Target="../tags/tag1520.xml"/><Relationship Id="rId1" Type="http://schemas.openxmlformats.org/officeDocument/2006/relationships/vmlDrawing" Target="../drawings/vmlDrawing7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14.xml.rels><?xml version="1.0" encoding="UTF-8" standalone="yes"?>
<Relationships xmlns="http://schemas.openxmlformats.org/package/2006/relationships"><Relationship Id="rId3" Type="http://schemas.openxmlformats.org/officeDocument/2006/relationships/tags" Target="../tags/tag1523.xml"/><Relationship Id="rId7" Type="http://schemas.openxmlformats.org/officeDocument/2006/relationships/image" Target="../media/image2.png"/><Relationship Id="rId2" Type="http://schemas.openxmlformats.org/officeDocument/2006/relationships/tags" Target="../tags/tag1522.xml"/><Relationship Id="rId1" Type="http://schemas.openxmlformats.org/officeDocument/2006/relationships/vmlDrawing" Target="../drawings/vmlDrawing7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525.xml"/><Relationship Id="rId7" Type="http://schemas.openxmlformats.org/officeDocument/2006/relationships/image" Target="../media/image2.png"/><Relationship Id="rId2" Type="http://schemas.openxmlformats.org/officeDocument/2006/relationships/tags" Target="../tags/tag1524.xml"/><Relationship Id="rId1" Type="http://schemas.openxmlformats.org/officeDocument/2006/relationships/vmlDrawing" Target="../drawings/vmlDrawing7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27.xml"/><Relationship Id="rId7" Type="http://schemas.openxmlformats.org/officeDocument/2006/relationships/image" Target="../media/image10.emf"/><Relationship Id="rId2" Type="http://schemas.openxmlformats.org/officeDocument/2006/relationships/tags" Target="../tags/tag1526.xml"/><Relationship Id="rId1" Type="http://schemas.openxmlformats.org/officeDocument/2006/relationships/vmlDrawing" Target="../drawings/vmlDrawing7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29.xml"/><Relationship Id="rId7" Type="http://schemas.openxmlformats.org/officeDocument/2006/relationships/image" Target="../media/image10.emf"/><Relationship Id="rId2" Type="http://schemas.openxmlformats.org/officeDocument/2006/relationships/tags" Target="../tags/tag1528.xml"/><Relationship Id="rId1" Type="http://schemas.openxmlformats.org/officeDocument/2006/relationships/vmlDrawing" Target="../drawings/vmlDrawing7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31.xml"/><Relationship Id="rId7" Type="http://schemas.openxmlformats.org/officeDocument/2006/relationships/image" Target="../media/image10.emf"/><Relationship Id="rId2" Type="http://schemas.openxmlformats.org/officeDocument/2006/relationships/tags" Target="../tags/tag1530.xml"/><Relationship Id="rId1" Type="http://schemas.openxmlformats.org/officeDocument/2006/relationships/vmlDrawing" Target="../drawings/vmlDrawing7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33.xml"/><Relationship Id="rId7" Type="http://schemas.openxmlformats.org/officeDocument/2006/relationships/image" Target="../media/image10.emf"/><Relationship Id="rId2" Type="http://schemas.openxmlformats.org/officeDocument/2006/relationships/tags" Target="../tags/tag1532.xml"/><Relationship Id="rId1" Type="http://schemas.openxmlformats.org/officeDocument/2006/relationships/vmlDrawing" Target="../drawings/vmlDrawing7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1.xml"/><Relationship Id="rId7" Type="http://schemas.openxmlformats.org/officeDocument/2006/relationships/image" Target="../media/image9.emf"/><Relationship Id="rId2" Type="http://schemas.openxmlformats.org/officeDocument/2006/relationships/tags" Target="../tags/tag190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120.xml.rels><?xml version="1.0" encoding="UTF-8" standalone="yes"?>
<Relationships xmlns="http://schemas.openxmlformats.org/package/2006/relationships"><Relationship Id="rId3" Type="http://schemas.openxmlformats.org/officeDocument/2006/relationships/tags" Target="../tags/tag1535.xml"/><Relationship Id="rId7" Type="http://schemas.openxmlformats.org/officeDocument/2006/relationships/image" Target="../media/image10.emf"/><Relationship Id="rId2" Type="http://schemas.openxmlformats.org/officeDocument/2006/relationships/tags" Target="../tags/tag1534.xml"/><Relationship Id="rId1" Type="http://schemas.openxmlformats.org/officeDocument/2006/relationships/vmlDrawing" Target="../drawings/vmlDrawing7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21.xml.rels><?xml version="1.0" encoding="UTF-8" standalone="yes"?>
<Relationships xmlns="http://schemas.openxmlformats.org/package/2006/relationships"><Relationship Id="rId3" Type="http://schemas.openxmlformats.org/officeDocument/2006/relationships/tags" Target="../tags/tag1537.xml"/><Relationship Id="rId7" Type="http://schemas.openxmlformats.org/officeDocument/2006/relationships/image" Target="../media/image10.emf"/><Relationship Id="rId2" Type="http://schemas.openxmlformats.org/officeDocument/2006/relationships/tags" Target="../tags/tag1536.xml"/><Relationship Id="rId1" Type="http://schemas.openxmlformats.org/officeDocument/2006/relationships/vmlDrawing" Target="../drawings/vmlDrawing7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22.xml.rels><?xml version="1.0" encoding="UTF-8" standalone="yes"?>
<Relationships xmlns="http://schemas.openxmlformats.org/package/2006/relationships"><Relationship Id="rId3" Type="http://schemas.openxmlformats.org/officeDocument/2006/relationships/tags" Target="../tags/tag1539.xml"/><Relationship Id="rId7" Type="http://schemas.openxmlformats.org/officeDocument/2006/relationships/image" Target="../media/image2.png"/><Relationship Id="rId2" Type="http://schemas.openxmlformats.org/officeDocument/2006/relationships/tags" Target="../tags/tag1538.xml"/><Relationship Id="rId1" Type="http://schemas.openxmlformats.org/officeDocument/2006/relationships/vmlDrawing" Target="../drawings/vmlDrawing7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541.xml"/><Relationship Id="rId7" Type="http://schemas.openxmlformats.org/officeDocument/2006/relationships/image" Target="../media/image2.png"/><Relationship Id="rId2" Type="http://schemas.openxmlformats.org/officeDocument/2006/relationships/tags" Target="../tags/tag1540.xml"/><Relationship Id="rId1" Type="http://schemas.openxmlformats.org/officeDocument/2006/relationships/vmlDrawing" Target="../drawings/vmlDrawing7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43.xml"/><Relationship Id="rId7" Type="http://schemas.openxmlformats.org/officeDocument/2006/relationships/image" Target="../media/image10.emf"/><Relationship Id="rId2" Type="http://schemas.openxmlformats.org/officeDocument/2006/relationships/tags" Target="../tags/tag1542.xml"/><Relationship Id="rId1" Type="http://schemas.openxmlformats.org/officeDocument/2006/relationships/vmlDrawing" Target="../drawings/vmlDrawing7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45.xml"/><Relationship Id="rId7" Type="http://schemas.openxmlformats.org/officeDocument/2006/relationships/image" Target="../media/image10.emf"/><Relationship Id="rId2" Type="http://schemas.openxmlformats.org/officeDocument/2006/relationships/tags" Target="../tags/tag1544.xml"/><Relationship Id="rId1" Type="http://schemas.openxmlformats.org/officeDocument/2006/relationships/vmlDrawing" Target="../drawings/vmlDrawing7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47.xml"/><Relationship Id="rId7" Type="http://schemas.openxmlformats.org/officeDocument/2006/relationships/image" Target="../media/image10.emf"/><Relationship Id="rId2" Type="http://schemas.openxmlformats.org/officeDocument/2006/relationships/tags" Target="../tags/tag1546.xml"/><Relationship Id="rId1" Type="http://schemas.openxmlformats.org/officeDocument/2006/relationships/vmlDrawing" Target="../drawings/vmlDrawing7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49.xml"/><Relationship Id="rId7" Type="http://schemas.openxmlformats.org/officeDocument/2006/relationships/image" Target="../media/image10.emf"/><Relationship Id="rId2" Type="http://schemas.openxmlformats.org/officeDocument/2006/relationships/tags" Target="../tags/tag1548.xml"/><Relationship Id="rId1" Type="http://schemas.openxmlformats.org/officeDocument/2006/relationships/vmlDrawing" Target="../drawings/vmlDrawing7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28.xml.rels><?xml version="1.0" encoding="UTF-8" standalone="yes"?>
<Relationships xmlns="http://schemas.openxmlformats.org/package/2006/relationships"><Relationship Id="rId3" Type="http://schemas.openxmlformats.org/officeDocument/2006/relationships/tags" Target="../tags/tag1551.xml"/><Relationship Id="rId7" Type="http://schemas.openxmlformats.org/officeDocument/2006/relationships/image" Target="../media/image10.emf"/><Relationship Id="rId2" Type="http://schemas.openxmlformats.org/officeDocument/2006/relationships/tags" Target="../tags/tag1550.xml"/><Relationship Id="rId1" Type="http://schemas.openxmlformats.org/officeDocument/2006/relationships/vmlDrawing" Target="../drawings/vmlDrawing7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29.xml.rels><?xml version="1.0" encoding="UTF-8" standalone="yes"?>
<Relationships xmlns="http://schemas.openxmlformats.org/package/2006/relationships"><Relationship Id="rId3" Type="http://schemas.openxmlformats.org/officeDocument/2006/relationships/tags" Target="../tags/tag1553.xml"/><Relationship Id="rId7" Type="http://schemas.openxmlformats.org/officeDocument/2006/relationships/image" Target="../media/image10.emf"/><Relationship Id="rId2" Type="http://schemas.openxmlformats.org/officeDocument/2006/relationships/tags" Target="../tags/tag1552.xml"/><Relationship Id="rId1" Type="http://schemas.openxmlformats.org/officeDocument/2006/relationships/vmlDrawing" Target="../drawings/vmlDrawing7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3.xml"/><Relationship Id="rId7" Type="http://schemas.openxmlformats.org/officeDocument/2006/relationships/image" Target="../media/image9.emf"/><Relationship Id="rId2" Type="http://schemas.openxmlformats.org/officeDocument/2006/relationships/tags" Target="../tags/tag192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130.xml.rels><?xml version="1.0" encoding="UTF-8" standalone="yes"?>
<Relationships xmlns="http://schemas.openxmlformats.org/package/2006/relationships"><Relationship Id="rId3" Type="http://schemas.openxmlformats.org/officeDocument/2006/relationships/tags" Target="../tags/tag1555.xml"/><Relationship Id="rId2" Type="http://schemas.openxmlformats.org/officeDocument/2006/relationships/tags" Target="../tags/tag1554.xml"/><Relationship Id="rId1" Type="http://schemas.openxmlformats.org/officeDocument/2006/relationships/vmlDrawing" Target="../drawings/vmlDrawing7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14.xml"/></Relationships>
</file>

<file path=ppt/slideLayouts/_rels/slideLayout11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57.xml"/><Relationship Id="rId7" Type="http://schemas.openxmlformats.org/officeDocument/2006/relationships/image" Target="../media/image11.emf"/><Relationship Id="rId2" Type="http://schemas.openxmlformats.org/officeDocument/2006/relationships/tags" Target="../tags/tag1556.xml"/><Relationship Id="rId1" Type="http://schemas.openxmlformats.org/officeDocument/2006/relationships/vmlDrawing" Target="../drawings/vmlDrawing7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4.xml"/><Relationship Id="rId9" Type="http://schemas.openxmlformats.org/officeDocument/2006/relationships/image" Target="../media/image12.emf"/></Relationships>
</file>

<file path=ppt/slideLayouts/_rels/slideLayout1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59.xml"/><Relationship Id="rId7" Type="http://schemas.openxmlformats.org/officeDocument/2006/relationships/image" Target="../media/image11.emf"/><Relationship Id="rId2" Type="http://schemas.openxmlformats.org/officeDocument/2006/relationships/tags" Target="../tags/tag1558.xml"/><Relationship Id="rId1" Type="http://schemas.openxmlformats.org/officeDocument/2006/relationships/vmlDrawing" Target="../drawings/vmlDrawing800.vml"/><Relationship Id="rId6" Type="http://schemas.openxmlformats.org/officeDocument/2006/relationships/image" Target="../media/image1.emf"/><Relationship Id="rId11" Type="http://schemas.openxmlformats.org/officeDocument/2006/relationships/image" Target="../media/image14.emf"/><Relationship Id="rId5" Type="http://schemas.openxmlformats.org/officeDocument/2006/relationships/oleObject" Target="../embeddings/oleObject161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14.xml"/><Relationship Id="rId9" Type="http://schemas.openxmlformats.org/officeDocument/2006/relationships/image" Target="../media/image13.emf"/></Relationships>
</file>

<file path=ppt/slideLayouts/_rels/slideLayout1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61.xml"/><Relationship Id="rId7" Type="http://schemas.openxmlformats.org/officeDocument/2006/relationships/image" Target="../media/image11.emf"/><Relationship Id="rId2" Type="http://schemas.openxmlformats.org/officeDocument/2006/relationships/tags" Target="../tags/tag1560.xml"/><Relationship Id="rId1" Type="http://schemas.openxmlformats.org/officeDocument/2006/relationships/vmlDrawing" Target="../drawings/vmlDrawing8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4.xml"/><Relationship Id="rId9" Type="http://schemas.openxmlformats.org/officeDocument/2006/relationships/image" Target="../media/image12.emf"/></Relationships>
</file>

<file path=ppt/slideLayouts/_rels/slideLayout1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63.xml"/><Relationship Id="rId7" Type="http://schemas.openxmlformats.org/officeDocument/2006/relationships/image" Target="../media/image11.emf"/><Relationship Id="rId2" Type="http://schemas.openxmlformats.org/officeDocument/2006/relationships/tags" Target="../tags/tag1562.xml"/><Relationship Id="rId1" Type="http://schemas.openxmlformats.org/officeDocument/2006/relationships/vmlDrawing" Target="../drawings/vmlDrawing802.vml"/><Relationship Id="rId6" Type="http://schemas.openxmlformats.org/officeDocument/2006/relationships/image" Target="../media/image1.emf"/><Relationship Id="rId11" Type="http://schemas.openxmlformats.org/officeDocument/2006/relationships/image" Target="../media/image13.emf"/><Relationship Id="rId5" Type="http://schemas.openxmlformats.org/officeDocument/2006/relationships/oleObject" Target="../embeddings/oleObject161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4.xml"/><Relationship Id="rId9" Type="http://schemas.openxmlformats.org/officeDocument/2006/relationships/image" Target="../media/image12.emf"/></Relationships>
</file>

<file path=ppt/slideLayouts/_rels/slideLayout1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65.xml"/><Relationship Id="rId7" Type="http://schemas.openxmlformats.org/officeDocument/2006/relationships/image" Target="../media/image11.emf"/><Relationship Id="rId2" Type="http://schemas.openxmlformats.org/officeDocument/2006/relationships/tags" Target="../tags/tag1564.xml"/><Relationship Id="rId1" Type="http://schemas.openxmlformats.org/officeDocument/2006/relationships/vmlDrawing" Target="../drawings/vmlDrawing8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14.xml"/><Relationship Id="rId9" Type="http://schemas.openxmlformats.org/officeDocument/2006/relationships/image" Target="../media/image12.emf"/></Relationships>
</file>

<file path=ppt/slideLayouts/_rels/slideLayout1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67.xml"/><Relationship Id="rId7" Type="http://schemas.openxmlformats.org/officeDocument/2006/relationships/image" Target="../media/image11.emf"/><Relationship Id="rId2" Type="http://schemas.openxmlformats.org/officeDocument/2006/relationships/tags" Target="../tags/tag1566.xml"/><Relationship Id="rId1" Type="http://schemas.openxmlformats.org/officeDocument/2006/relationships/vmlDrawing" Target="../drawings/vmlDrawing8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4.xml"/><Relationship Id="rId9" Type="http://schemas.openxmlformats.org/officeDocument/2006/relationships/image" Target="../media/image12.emf"/></Relationships>
</file>

<file path=ppt/slideLayouts/_rels/slideLayout1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69.xml"/><Relationship Id="rId7" Type="http://schemas.openxmlformats.org/officeDocument/2006/relationships/image" Target="../media/image11.emf"/><Relationship Id="rId2" Type="http://schemas.openxmlformats.org/officeDocument/2006/relationships/tags" Target="../tags/tag1568.xml"/><Relationship Id="rId1" Type="http://schemas.openxmlformats.org/officeDocument/2006/relationships/vmlDrawing" Target="../drawings/vmlDrawing8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14.xml"/><Relationship Id="rId9" Type="http://schemas.openxmlformats.org/officeDocument/2006/relationships/image" Target="../media/image12.emf"/></Relationships>
</file>

<file path=ppt/slideLayouts/_rels/slideLayout1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71.xml"/><Relationship Id="rId7" Type="http://schemas.openxmlformats.org/officeDocument/2006/relationships/image" Target="../media/image11.emf"/><Relationship Id="rId2" Type="http://schemas.openxmlformats.org/officeDocument/2006/relationships/tags" Target="../tags/tag1570.xml"/><Relationship Id="rId1" Type="http://schemas.openxmlformats.org/officeDocument/2006/relationships/vmlDrawing" Target="../drawings/vmlDrawing8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4.xml"/><Relationship Id="rId9" Type="http://schemas.openxmlformats.org/officeDocument/2006/relationships/image" Target="../media/image12.emf"/></Relationships>
</file>

<file path=ppt/slideLayouts/_rels/slideLayout1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73.xml"/><Relationship Id="rId7" Type="http://schemas.openxmlformats.org/officeDocument/2006/relationships/image" Target="../media/image11.emf"/><Relationship Id="rId2" Type="http://schemas.openxmlformats.org/officeDocument/2006/relationships/tags" Target="../tags/tag1572.xml"/><Relationship Id="rId1" Type="http://schemas.openxmlformats.org/officeDocument/2006/relationships/vmlDrawing" Target="../drawings/vmlDrawing8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4.xml"/><Relationship Id="rId9" Type="http://schemas.openxmlformats.org/officeDocument/2006/relationships/image" Target="../media/image12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7" Type="http://schemas.openxmlformats.org/officeDocument/2006/relationships/image" Target="../media/image9.emf"/><Relationship Id="rId2" Type="http://schemas.openxmlformats.org/officeDocument/2006/relationships/tags" Target="../tags/tag194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75.xml"/><Relationship Id="rId7" Type="http://schemas.openxmlformats.org/officeDocument/2006/relationships/image" Target="../media/image11.emf"/><Relationship Id="rId2" Type="http://schemas.openxmlformats.org/officeDocument/2006/relationships/tags" Target="../tags/tag1574.xml"/><Relationship Id="rId1" Type="http://schemas.openxmlformats.org/officeDocument/2006/relationships/vmlDrawing" Target="../drawings/vmlDrawing8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4.xml"/><Relationship Id="rId9" Type="http://schemas.openxmlformats.org/officeDocument/2006/relationships/image" Target="../media/image14.emf"/></Relationships>
</file>

<file path=ppt/slideLayouts/_rels/slideLayout1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77.xml"/><Relationship Id="rId7" Type="http://schemas.openxmlformats.org/officeDocument/2006/relationships/image" Target="../media/image11.emf"/><Relationship Id="rId2" Type="http://schemas.openxmlformats.org/officeDocument/2006/relationships/tags" Target="../tags/tag1576.xml"/><Relationship Id="rId1" Type="http://schemas.openxmlformats.org/officeDocument/2006/relationships/vmlDrawing" Target="../drawings/vmlDrawing8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14.xml"/><Relationship Id="rId9" Type="http://schemas.openxmlformats.org/officeDocument/2006/relationships/image" Target="../media/image12.emf"/></Relationships>
</file>

<file path=ppt/slideLayouts/_rels/slideLayout1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579.xml"/><Relationship Id="rId7" Type="http://schemas.openxmlformats.org/officeDocument/2006/relationships/image" Target="../media/image11.emf"/><Relationship Id="rId2" Type="http://schemas.openxmlformats.org/officeDocument/2006/relationships/tags" Target="../tags/tag1578.xml"/><Relationship Id="rId1" Type="http://schemas.openxmlformats.org/officeDocument/2006/relationships/vmlDrawing" Target="../drawings/vmlDrawing8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14.xml"/><Relationship Id="rId9" Type="http://schemas.openxmlformats.org/officeDocument/2006/relationships/image" Target="../media/image14.emf"/></Relationships>
</file>

<file path=ppt/slideLayouts/_rels/slideLayout1143.xml.rels><?xml version="1.0" encoding="UTF-8" standalone="yes"?>
<Relationships xmlns="http://schemas.openxmlformats.org/package/2006/relationships"><Relationship Id="rId3" Type="http://schemas.openxmlformats.org/officeDocument/2006/relationships/tags" Target="../tags/tag1581.xml"/><Relationship Id="rId2" Type="http://schemas.openxmlformats.org/officeDocument/2006/relationships/tags" Target="../tags/tag1580.xml"/><Relationship Id="rId1" Type="http://schemas.openxmlformats.org/officeDocument/2006/relationships/vmlDrawing" Target="../drawings/vmlDrawing8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14.xml"/></Relationships>
</file>

<file path=ppt/slideLayouts/_rels/slideLayout1144.xml.rels><?xml version="1.0" encoding="UTF-8" standalone="yes"?>
<Relationships xmlns="http://schemas.openxmlformats.org/package/2006/relationships"><Relationship Id="rId3" Type="http://schemas.openxmlformats.org/officeDocument/2006/relationships/tags" Target="../tags/tag1583.xml"/><Relationship Id="rId2" Type="http://schemas.openxmlformats.org/officeDocument/2006/relationships/tags" Target="../tags/tag1582.xml"/><Relationship Id="rId1" Type="http://schemas.openxmlformats.org/officeDocument/2006/relationships/vmlDrawing" Target="../drawings/vmlDrawing8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14.xml"/></Relationships>
</file>

<file path=ppt/slideLayouts/_rels/slideLayout1145.xml.rels><?xml version="1.0" encoding="UTF-8" standalone="yes"?>
<Relationships xmlns="http://schemas.openxmlformats.org/package/2006/relationships"><Relationship Id="rId3" Type="http://schemas.openxmlformats.org/officeDocument/2006/relationships/tags" Target="../tags/tag1585.xml"/><Relationship Id="rId2" Type="http://schemas.openxmlformats.org/officeDocument/2006/relationships/tags" Target="../tags/tag1584.xml"/><Relationship Id="rId1" Type="http://schemas.openxmlformats.org/officeDocument/2006/relationships/vmlDrawing" Target="../drawings/vmlDrawing8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14.xml"/></Relationships>
</file>

<file path=ppt/slideLayouts/_rels/slideLayout1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tags" Target="../tags/tag1587.xml"/><Relationship Id="rId7" Type="http://schemas.openxmlformats.org/officeDocument/2006/relationships/image" Target="../media/image29.png"/><Relationship Id="rId2" Type="http://schemas.openxmlformats.org/officeDocument/2006/relationships/tags" Target="../tags/tag1586.xml"/><Relationship Id="rId1" Type="http://schemas.openxmlformats.org/officeDocument/2006/relationships/vmlDrawing" Target="../drawings/vmlDrawing8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14.xml"/></Relationships>
</file>

<file path=ppt/slideLayouts/_rels/slideLayout1147.xml.rels><?xml version="1.0" encoding="UTF-8" standalone="yes"?>
<Relationships xmlns="http://schemas.openxmlformats.org/package/2006/relationships"><Relationship Id="rId3" Type="http://schemas.openxmlformats.org/officeDocument/2006/relationships/tags" Target="../tags/tag1589.xml"/><Relationship Id="rId2" Type="http://schemas.openxmlformats.org/officeDocument/2006/relationships/tags" Target="../tags/tag1588.xml"/><Relationship Id="rId1" Type="http://schemas.openxmlformats.org/officeDocument/2006/relationships/vmlDrawing" Target="../drawings/vmlDrawing8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14.xml"/></Relationships>
</file>

<file path=ppt/slideLayouts/_rels/slideLayout1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7" Type="http://schemas.openxmlformats.org/officeDocument/2006/relationships/image" Target="../media/image9.emf"/><Relationship Id="rId2" Type="http://schemas.openxmlformats.org/officeDocument/2006/relationships/tags" Target="../tags/tag196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tags" Target="../tags/tag1591.xml"/><Relationship Id="rId7" Type="http://schemas.openxmlformats.org/officeDocument/2006/relationships/image" Target="../media/image29.png"/><Relationship Id="rId2" Type="http://schemas.openxmlformats.org/officeDocument/2006/relationships/tags" Target="../tags/tag1590.xml"/><Relationship Id="rId1" Type="http://schemas.openxmlformats.org/officeDocument/2006/relationships/vmlDrawing" Target="../drawings/vmlDrawing8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2.bin"/><Relationship Id="rId4" Type="http://schemas.openxmlformats.org/officeDocument/2006/relationships/slideMaster" Target="../slideMasters/slideMaster14.xml"/></Relationships>
</file>

<file path=ppt/slideLayouts/_rels/slideLayout11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tags" Target="../tags/tag1593.xml"/><Relationship Id="rId7" Type="http://schemas.openxmlformats.org/officeDocument/2006/relationships/image" Target="../media/image29.png"/><Relationship Id="rId2" Type="http://schemas.openxmlformats.org/officeDocument/2006/relationships/tags" Target="../tags/tag1592.xml"/><Relationship Id="rId1" Type="http://schemas.openxmlformats.org/officeDocument/2006/relationships/vmlDrawing" Target="../drawings/vmlDrawing8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2.bin"/><Relationship Id="rId4" Type="http://schemas.openxmlformats.org/officeDocument/2006/relationships/slideMaster" Target="../slideMasters/slideMaster1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2.png"/><Relationship Id="rId2" Type="http://schemas.openxmlformats.org/officeDocument/2006/relationships/tags" Target="../tags/tag198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.png"/><Relationship Id="rId2" Type="http://schemas.openxmlformats.org/officeDocument/2006/relationships/tags" Target="../tags/tag1594.xml"/><Relationship Id="rId1" Type="http://schemas.openxmlformats.org/officeDocument/2006/relationships/vmlDrawing" Target="../drawings/vmlDrawing81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3.bin"/></Relationships>
</file>

<file path=ppt/slideLayouts/_rels/slideLayout1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.png"/><Relationship Id="rId2" Type="http://schemas.openxmlformats.org/officeDocument/2006/relationships/tags" Target="../tags/tag1595.xml"/><Relationship Id="rId1" Type="http://schemas.openxmlformats.org/officeDocument/2006/relationships/vmlDrawing" Target="../drawings/vmlDrawing81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3.bin"/></Relationships>
</file>

<file path=ppt/slideLayouts/_rels/slideLayout1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4.xml"/><Relationship Id="rId7" Type="http://schemas.microsoft.com/office/2007/relationships/hdphoto" Target="../media/hdphoto1.wdp"/><Relationship Id="rId2" Type="http://schemas.openxmlformats.org/officeDocument/2006/relationships/tags" Target="../tags/tag1596.xml"/><Relationship Id="rId1" Type="http://schemas.openxmlformats.org/officeDocument/2006/relationships/vmlDrawing" Target="../drawings/vmlDrawing820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3.bin"/><Relationship Id="rId9" Type="http://schemas.openxmlformats.org/officeDocument/2006/relationships/image" Target="../media/image2.png"/></Relationships>
</file>

<file path=ppt/slideLayouts/_rels/slideLayout1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01.xml"/><Relationship Id="rId7" Type="http://schemas.openxmlformats.org/officeDocument/2006/relationships/image" Target="../media/image1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103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10.emf"/><Relationship Id="rId4" Type="http://schemas.openxmlformats.org/officeDocument/2006/relationships/slideMaster" Target="../slideMasters/slideMaster2.xml"/></Relationships>
</file>

<file path=ppt/slideLayouts/_rels/slideLayout1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03.xml"/><Relationship Id="rId7" Type="http://schemas.openxmlformats.org/officeDocument/2006/relationships/image" Target="../media/image10.emf"/><Relationship Id="rId2" Type="http://schemas.openxmlformats.org/officeDocument/2006/relationships/tags" Target="../tags/tag202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05.xml"/><Relationship Id="rId7" Type="http://schemas.openxmlformats.org/officeDocument/2006/relationships/image" Target="../media/image10.emf"/><Relationship Id="rId2" Type="http://schemas.openxmlformats.org/officeDocument/2006/relationships/tags" Target="../tags/tag204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07.xml"/><Relationship Id="rId7" Type="http://schemas.openxmlformats.org/officeDocument/2006/relationships/image" Target="../media/image10.emf"/><Relationship Id="rId2" Type="http://schemas.openxmlformats.org/officeDocument/2006/relationships/tags" Target="../tags/tag206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09.xml"/><Relationship Id="rId7" Type="http://schemas.openxmlformats.org/officeDocument/2006/relationships/image" Target="../media/image10.emf"/><Relationship Id="rId2" Type="http://schemas.openxmlformats.org/officeDocument/2006/relationships/tags" Target="../tags/tag20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211.xml"/><Relationship Id="rId7" Type="http://schemas.openxmlformats.org/officeDocument/2006/relationships/image" Target="../media/image9.emf"/><Relationship Id="rId2" Type="http://schemas.openxmlformats.org/officeDocument/2006/relationships/tags" Target="../tags/tag210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7" Type="http://schemas.openxmlformats.org/officeDocument/2006/relationships/image" Target="../media/image10.emf"/><Relationship Id="rId2" Type="http://schemas.openxmlformats.org/officeDocument/2006/relationships/tags" Target="../tags/tag212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7" Type="http://schemas.openxmlformats.org/officeDocument/2006/relationships/image" Target="../media/image2.png"/><Relationship Id="rId2" Type="http://schemas.openxmlformats.org/officeDocument/2006/relationships/tags" Target="../tags/tag214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217.xml"/><Relationship Id="rId7" Type="http://schemas.openxmlformats.org/officeDocument/2006/relationships/image" Target="../media/image2.png"/><Relationship Id="rId2" Type="http://schemas.openxmlformats.org/officeDocument/2006/relationships/tags" Target="../tags/tag216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9.xml"/><Relationship Id="rId7" Type="http://schemas.openxmlformats.org/officeDocument/2006/relationships/image" Target="../media/image10.emf"/><Relationship Id="rId2" Type="http://schemas.openxmlformats.org/officeDocument/2006/relationships/tags" Target="../tags/tag218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21.xml"/><Relationship Id="rId7" Type="http://schemas.openxmlformats.org/officeDocument/2006/relationships/image" Target="../media/image10.emf"/><Relationship Id="rId2" Type="http://schemas.openxmlformats.org/officeDocument/2006/relationships/tags" Target="../tags/tag220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23.xml"/><Relationship Id="rId7" Type="http://schemas.openxmlformats.org/officeDocument/2006/relationships/image" Target="../media/image10.emf"/><Relationship Id="rId2" Type="http://schemas.openxmlformats.org/officeDocument/2006/relationships/tags" Target="../tags/tag222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25.xml"/><Relationship Id="rId7" Type="http://schemas.openxmlformats.org/officeDocument/2006/relationships/image" Target="../media/image10.emf"/><Relationship Id="rId2" Type="http://schemas.openxmlformats.org/officeDocument/2006/relationships/tags" Target="../tags/tag224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7" Type="http://schemas.openxmlformats.org/officeDocument/2006/relationships/image" Target="../media/image10.emf"/><Relationship Id="rId2" Type="http://schemas.openxmlformats.org/officeDocument/2006/relationships/tags" Target="../tags/tag226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7" Type="http://schemas.openxmlformats.org/officeDocument/2006/relationships/image" Target="../media/image10.emf"/><Relationship Id="rId2" Type="http://schemas.openxmlformats.org/officeDocument/2006/relationships/tags" Target="../tags/tag228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7" Type="http://schemas.openxmlformats.org/officeDocument/2006/relationships/image" Target="../media/image2.png"/><Relationship Id="rId2" Type="http://schemas.openxmlformats.org/officeDocument/2006/relationships/tags" Target="../tags/tag230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233.xml"/><Relationship Id="rId7" Type="http://schemas.openxmlformats.org/officeDocument/2006/relationships/image" Target="../media/image2.png"/><Relationship Id="rId2" Type="http://schemas.openxmlformats.org/officeDocument/2006/relationships/tags" Target="../tags/tag232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35.xml"/><Relationship Id="rId7" Type="http://schemas.openxmlformats.org/officeDocument/2006/relationships/image" Target="../media/image10.emf"/><Relationship Id="rId2" Type="http://schemas.openxmlformats.org/officeDocument/2006/relationships/tags" Target="../tags/tag234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37.xml"/><Relationship Id="rId7" Type="http://schemas.openxmlformats.org/officeDocument/2006/relationships/image" Target="../media/image10.emf"/><Relationship Id="rId2" Type="http://schemas.openxmlformats.org/officeDocument/2006/relationships/tags" Target="../tags/tag236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39.xml"/><Relationship Id="rId7" Type="http://schemas.openxmlformats.org/officeDocument/2006/relationships/image" Target="../media/image10.emf"/><Relationship Id="rId2" Type="http://schemas.openxmlformats.org/officeDocument/2006/relationships/tags" Target="../tags/tag238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41.xml"/><Relationship Id="rId7" Type="http://schemas.openxmlformats.org/officeDocument/2006/relationships/image" Target="../media/image10.emf"/><Relationship Id="rId2" Type="http://schemas.openxmlformats.org/officeDocument/2006/relationships/tags" Target="../tags/tag240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243.xml"/><Relationship Id="rId7" Type="http://schemas.openxmlformats.org/officeDocument/2006/relationships/image" Target="../media/image10.emf"/><Relationship Id="rId2" Type="http://schemas.openxmlformats.org/officeDocument/2006/relationships/tags" Target="../tags/tag242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245.xml"/><Relationship Id="rId7" Type="http://schemas.openxmlformats.org/officeDocument/2006/relationships/image" Target="../media/image10.emf"/><Relationship Id="rId2" Type="http://schemas.openxmlformats.org/officeDocument/2006/relationships/tags" Target="../tags/tag244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49.xml"/><Relationship Id="rId7" Type="http://schemas.openxmlformats.org/officeDocument/2006/relationships/image" Target="../media/image11.emf"/><Relationship Id="rId2" Type="http://schemas.openxmlformats.org/officeDocument/2006/relationships/tags" Target="../tags/tag248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2.emf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51.xml"/><Relationship Id="rId7" Type="http://schemas.openxmlformats.org/officeDocument/2006/relationships/image" Target="../media/image11.emf"/><Relationship Id="rId2" Type="http://schemas.openxmlformats.org/officeDocument/2006/relationships/tags" Target="../tags/tag250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1.emf"/><Relationship Id="rId11" Type="http://schemas.openxmlformats.org/officeDocument/2006/relationships/image" Target="../media/image14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3.emf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53.xml"/><Relationship Id="rId7" Type="http://schemas.openxmlformats.org/officeDocument/2006/relationships/image" Target="../media/image11.emf"/><Relationship Id="rId2" Type="http://schemas.openxmlformats.org/officeDocument/2006/relationships/tags" Target="../tags/tag252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2.emf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55.xml"/><Relationship Id="rId7" Type="http://schemas.openxmlformats.org/officeDocument/2006/relationships/image" Target="../media/image11.emf"/><Relationship Id="rId2" Type="http://schemas.openxmlformats.org/officeDocument/2006/relationships/tags" Target="../tags/tag254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1.emf"/><Relationship Id="rId11" Type="http://schemas.openxmlformats.org/officeDocument/2006/relationships/image" Target="../media/image13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2.emf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57.xml"/><Relationship Id="rId7" Type="http://schemas.openxmlformats.org/officeDocument/2006/relationships/image" Target="../media/image11.emf"/><Relationship Id="rId2" Type="http://schemas.openxmlformats.org/officeDocument/2006/relationships/tags" Target="../tags/tag256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2.emf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59.xml"/><Relationship Id="rId7" Type="http://schemas.openxmlformats.org/officeDocument/2006/relationships/image" Target="../media/image11.emf"/><Relationship Id="rId2" Type="http://schemas.openxmlformats.org/officeDocument/2006/relationships/tags" Target="../tags/tag258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2.emf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61.xml"/><Relationship Id="rId7" Type="http://schemas.openxmlformats.org/officeDocument/2006/relationships/image" Target="../media/image11.emf"/><Relationship Id="rId2" Type="http://schemas.openxmlformats.org/officeDocument/2006/relationships/tags" Target="../tags/tag260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2.emf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63.xml"/><Relationship Id="rId7" Type="http://schemas.openxmlformats.org/officeDocument/2006/relationships/image" Target="../media/image11.emf"/><Relationship Id="rId2" Type="http://schemas.openxmlformats.org/officeDocument/2006/relationships/tags" Target="../tags/tag262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2.emf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65.xml"/><Relationship Id="rId7" Type="http://schemas.openxmlformats.org/officeDocument/2006/relationships/image" Target="../media/image11.emf"/><Relationship Id="rId2" Type="http://schemas.openxmlformats.org/officeDocument/2006/relationships/tags" Target="../tags/tag264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67.xml"/><Relationship Id="rId7" Type="http://schemas.openxmlformats.org/officeDocument/2006/relationships/image" Target="../media/image11.emf"/><Relationship Id="rId2" Type="http://schemas.openxmlformats.org/officeDocument/2006/relationships/tags" Target="../tags/tag266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4.emf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69.xml"/><Relationship Id="rId7" Type="http://schemas.openxmlformats.org/officeDocument/2006/relationships/image" Target="../media/image11.emf"/><Relationship Id="rId2" Type="http://schemas.openxmlformats.org/officeDocument/2006/relationships/tags" Target="../tags/tag268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2.emf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71.xml"/><Relationship Id="rId7" Type="http://schemas.openxmlformats.org/officeDocument/2006/relationships/image" Target="../media/image11.emf"/><Relationship Id="rId2" Type="http://schemas.openxmlformats.org/officeDocument/2006/relationships/tags" Target="../tags/tag270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4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275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277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279.xml"/><Relationship Id="rId7" Type="http://schemas.openxmlformats.org/officeDocument/2006/relationships/image" Target="../media/image18.png"/><Relationship Id="rId2" Type="http://schemas.openxmlformats.org/officeDocument/2006/relationships/tags" Target="../tags/tag278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3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283.xml"/><Relationship Id="rId7" Type="http://schemas.openxmlformats.org/officeDocument/2006/relationships/image" Target="../media/image18.png"/><Relationship Id="rId2" Type="http://schemas.openxmlformats.org/officeDocument/2006/relationships/tags" Target="../tags/tag282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285.xml"/><Relationship Id="rId7" Type="http://schemas.openxmlformats.org/officeDocument/2006/relationships/image" Target="../media/image18.png"/><Relationship Id="rId2" Type="http://schemas.openxmlformats.org/officeDocument/2006/relationships/tags" Target="../tags/tag284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3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86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87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1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288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2.png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4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3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2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1.xml"/><Relationship Id="rId7" Type="http://schemas.openxmlformats.org/officeDocument/2006/relationships/image" Target="../media/image9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3.xml"/><Relationship Id="rId7" Type="http://schemas.openxmlformats.org/officeDocument/2006/relationships/image" Target="../media/image9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5.xml"/><Relationship Id="rId7" Type="http://schemas.openxmlformats.org/officeDocument/2006/relationships/image" Target="../media/image9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7.xml"/><Relationship Id="rId7" Type="http://schemas.openxmlformats.org/officeDocument/2006/relationships/image" Target="../media/image9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4.png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9.xml"/><Relationship Id="rId7" Type="http://schemas.openxmlformats.org/officeDocument/2006/relationships/image" Target="../media/image9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9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tags" Target="../tags/tag290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4.png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9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2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7.xml"/><Relationship Id="rId7" Type="http://schemas.openxmlformats.org/officeDocument/2006/relationships/image" Target="../media/image1.emf"/><Relationship Id="rId2" Type="http://schemas.openxmlformats.org/officeDocument/2006/relationships/tags" Target="../tags/tag56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0.emf"/><Relationship Id="rId4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9.xml"/><Relationship Id="rId7" Type="http://schemas.openxmlformats.org/officeDocument/2006/relationships/image" Target="../media/image10.emf"/><Relationship Id="rId2" Type="http://schemas.openxmlformats.org/officeDocument/2006/relationships/tags" Target="../tags/tag5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1.xml"/><Relationship Id="rId7" Type="http://schemas.openxmlformats.org/officeDocument/2006/relationships/image" Target="../media/image10.emf"/><Relationship Id="rId2" Type="http://schemas.openxmlformats.org/officeDocument/2006/relationships/tags" Target="../tags/tag6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3.xml"/><Relationship Id="rId7" Type="http://schemas.openxmlformats.org/officeDocument/2006/relationships/image" Target="../media/image10.emf"/><Relationship Id="rId2" Type="http://schemas.openxmlformats.org/officeDocument/2006/relationships/tags" Target="../tags/tag6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5.xml"/><Relationship Id="rId7" Type="http://schemas.openxmlformats.org/officeDocument/2006/relationships/image" Target="../media/image10.emf"/><Relationship Id="rId2" Type="http://schemas.openxmlformats.org/officeDocument/2006/relationships/tags" Target="../tags/tag6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4.png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67.xml"/><Relationship Id="rId7" Type="http://schemas.openxmlformats.org/officeDocument/2006/relationships/image" Target="../media/image9.emf"/><Relationship Id="rId2" Type="http://schemas.openxmlformats.org/officeDocument/2006/relationships/tags" Target="../tags/tag6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7" Type="http://schemas.openxmlformats.org/officeDocument/2006/relationships/image" Target="../media/image2.png"/><Relationship Id="rId2" Type="http://schemas.openxmlformats.org/officeDocument/2006/relationships/tags" Target="../tags/tag291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4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7" Type="http://schemas.openxmlformats.org/officeDocument/2006/relationships/image" Target="../media/image2.png"/><Relationship Id="rId2" Type="http://schemas.openxmlformats.org/officeDocument/2006/relationships/tags" Target="../tags/tag295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10.emf"/><Relationship Id="rId2" Type="http://schemas.openxmlformats.org/officeDocument/2006/relationships/tags" Target="../tags/tag68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5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tags" Target="../tags/tag298.xml"/><Relationship Id="rId2" Type="http://schemas.openxmlformats.org/officeDocument/2006/relationships/tags" Target="../tags/tag297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5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02.xml"/><Relationship Id="rId7" Type="http://schemas.openxmlformats.org/officeDocument/2006/relationships/image" Target="../media/image4.png"/><Relationship Id="rId2" Type="http://schemas.openxmlformats.org/officeDocument/2006/relationships/tags" Target="../tags/tag301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6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tags" Target="../tags/tag304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06.xml"/><Relationship Id="rId7" Type="http://schemas.openxmlformats.org/officeDocument/2006/relationships/image" Target="../media/image1.emf"/><Relationship Id="rId2" Type="http://schemas.openxmlformats.org/officeDocument/2006/relationships/tags" Target="../tags/tag305.xml"/><Relationship Id="rId1" Type="http://schemas.openxmlformats.org/officeDocument/2006/relationships/vmlDrawing" Target="../drawings/vmlDrawing157.vml"/><Relationship Id="rId6" Type="http://schemas.openxmlformats.org/officeDocument/2006/relationships/oleObject" Target="../embeddings/oleObject32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6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7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7" Type="http://schemas.openxmlformats.org/officeDocument/2006/relationships/image" Target="../media/image2.png"/><Relationship Id="rId2" Type="http://schemas.openxmlformats.org/officeDocument/2006/relationships/tags" Target="../tags/tag308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6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tags" Target="../tags/tag311.xml"/><Relationship Id="rId7" Type="http://schemas.openxmlformats.org/officeDocument/2006/relationships/image" Target="../media/image6.png"/><Relationship Id="rId2" Type="http://schemas.openxmlformats.org/officeDocument/2006/relationships/tags" Target="../tags/tag310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6.xml"/></Relationships>
</file>

<file path=ppt/slideLayouts/_rels/slideLayout3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13.xml"/><Relationship Id="rId7" Type="http://schemas.openxmlformats.org/officeDocument/2006/relationships/image" Target="../media/image1.emf"/><Relationship Id="rId2" Type="http://schemas.openxmlformats.org/officeDocument/2006/relationships/tags" Target="../tags/tag312.xml"/><Relationship Id="rId1" Type="http://schemas.openxmlformats.org/officeDocument/2006/relationships/vmlDrawing" Target="../drawings/vmlDrawing161.v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2.png"/><Relationship Id="rId2" Type="http://schemas.openxmlformats.org/officeDocument/2006/relationships/tags" Target="../tags/tag70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6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tags" Target="../tags/tag315.xml"/><Relationship Id="rId2" Type="http://schemas.openxmlformats.org/officeDocument/2006/relationships/tags" Target="../tags/tag314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6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tags" Target="../tags/tag317.xml"/><Relationship Id="rId7" Type="http://schemas.openxmlformats.org/officeDocument/2006/relationships/image" Target="../media/image2.png"/><Relationship Id="rId2" Type="http://schemas.openxmlformats.org/officeDocument/2006/relationships/tags" Target="../tags/tag316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6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tags" Target="../tags/tag319.xml"/><Relationship Id="rId7" Type="http://schemas.openxmlformats.org/officeDocument/2006/relationships/image" Target="../media/image2.png"/><Relationship Id="rId2" Type="http://schemas.openxmlformats.org/officeDocument/2006/relationships/tags" Target="../tags/tag318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6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7" Type="http://schemas.openxmlformats.org/officeDocument/2006/relationships/image" Target="../media/image2.png"/><Relationship Id="rId2" Type="http://schemas.openxmlformats.org/officeDocument/2006/relationships/tags" Target="../tags/tag320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6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tags" Target="../tags/tag323.xml"/><Relationship Id="rId7" Type="http://schemas.openxmlformats.org/officeDocument/2006/relationships/image" Target="../media/image2.png"/><Relationship Id="rId2" Type="http://schemas.openxmlformats.org/officeDocument/2006/relationships/tags" Target="../tags/tag322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6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tags" Target="../tags/tag325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tags" Target="../tags/tag329.xml"/><Relationship Id="rId7" Type="http://schemas.openxmlformats.org/officeDocument/2006/relationships/image" Target="../media/image3.emf"/><Relationship Id="rId2" Type="http://schemas.openxmlformats.org/officeDocument/2006/relationships/tags" Target="../tags/tag328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tags" Target="../tags/tag331.xml"/><Relationship Id="rId7" Type="http://schemas.openxmlformats.org/officeDocument/2006/relationships/image" Target="../media/image3.emf"/><Relationship Id="rId2" Type="http://schemas.openxmlformats.org/officeDocument/2006/relationships/tags" Target="../tags/tag330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73.xml"/><Relationship Id="rId7" Type="http://schemas.openxmlformats.org/officeDocument/2006/relationships/image" Target="../media/image2.png"/><Relationship Id="rId2" Type="http://schemas.openxmlformats.org/officeDocument/2006/relationships/tags" Target="../tags/tag72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7" Type="http://schemas.openxmlformats.org/officeDocument/2006/relationships/image" Target="../media/image3.emf"/><Relationship Id="rId2" Type="http://schemas.openxmlformats.org/officeDocument/2006/relationships/tags" Target="../tags/tag332.xml"/><Relationship Id="rId1" Type="http://schemas.openxmlformats.org/officeDocument/2006/relationships/vmlDrawing" Target="../drawings/vmlDrawing1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tags" Target="../tags/tag335.xml"/><Relationship Id="rId7" Type="http://schemas.openxmlformats.org/officeDocument/2006/relationships/image" Target="../media/image3.emf"/><Relationship Id="rId2" Type="http://schemas.openxmlformats.org/officeDocument/2006/relationships/tags" Target="../tags/tag334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tags" Target="../tags/tag337.xml"/><Relationship Id="rId7" Type="http://schemas.openxmlformats.org/officeDocument/2006/relationships/image" Target="../media/image2.png"/><Relationship Id="rId2" Type="http://schemas.openxmlformats.org/officeDocument/2006/relationships/tags" Target="../tags/tag336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39.xml"/><Relationship Id="rId7" Type="http://schemas.openxmlformats.org/officeDocument/2006/relationships/image" Target="../media/image9.emf"/><Relationship Id="rId2" Type="http://schemas.openxmlformats.org/officeDocument/2006/relationships/tags" Target="../tags/tag338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41.xml"/><Relationship Id="rId7" Type="http://schemas.openxmlformats.org/officeDocument/2006/relationships/image" Target="../media/image9.emf"/><Relationship Id="rId2" Type="http://schemas.openxmlformats.org/officeDocument/2006/relationships/tags" Target="../tags/tag340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43.xml"/><Relationship Id="rId7" Type="http://schemas.openxmlformats.org/officeDocument/2006/relationships/image" Target="../media/image9.emf"/><Relationship Id="rId2" Type="http://schemas.openxmlformats.org/officeDocument/2006/relationships/tags" Target="../tags/tag342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45.xml"/><Relationship Id="rId7" Type="http://schemas.openxmlformats.org/officeDocument/2006/relationships/image" Target="../media/image9.emf"/><Relationship Id="rId2" Type="http://schemas.openxmlformats.org/officeDocument/2006/relationships/tags" Target="../tags/tag344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47.xml"/><Relationship Id="rId7" Type="http://schemas.openxmlformats.org/officeDocument/2006/relationships/image" Target="../media/image9.emf"/><Relationship Id="rId2" Type="http://schemas.openxmlformats.org/officeDocument/2006/relationships/tags" Target="../tags/tag346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tags" Target="../tags/tag349.xml"/><Relationship Id="rId7" Type="http://schemas.openxmlformats.org/officeDocument/2006/relationships/image" Target="../media/image9.emf"/><Relationship Id="rId2" Type="http://schemas.openxmlformats.org/officeDocument/2006/relationships/tags" Target="../tags/tag348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tags" Target="../tags/tag351.xml"/><Relationship Id="rId7" Type="http://schemas.openxmlformats.org/officeDocument/2006/relationships/image" Target="../media/image9.emf"/><Relationship Id="rId2" Type="http://schemas.openxmlformats.org/officeDocument/2006/relationships/tags" Target="../tags/tag350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5.xml"/><Relationship Id="rId7" Type="http://schemas.openxmlformats.org/officeDocument/2006/relationships/image" Target="../media/image10.emf"/><Relationship Id="rId2" Type="http://schemas.openxmlformats.org/officeDocument/2006/relationships/tags" Target="../tags/tag74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tags" Target="../tags/tag353.xml"/><Relationship Id="rId7" Type="http://schemas.openxmlformats.org/officeDocument/2006/relationships/image" Target="../media/image2.png"/><Relationship Id="rId2" Type="http://schemas.openxmlformats.org/officeDocument/2006/relationships/tags" Target="../tags/tag352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55.xml"/><Relationship Id="rId7" Type="http://schemas.openxmlformats.org/officeDocument/2006/relationships/image" Target="../media/image1.emf"/><Relationship Id="rId2" Type="http://schemas.openxmlformats.org/officeDocument/2006/relationships/tags" Target="../tags/tag354.xml"/><Relationship Id="rId1" Type="http://schemas.openxmlformats.org/officeDocument/2006/relationships/vmlDrawing" Target="../drawings/vmlDrawing182.vml"/><Relationship Id="rId6" Type="http://schemas.openxmlformats.org/officeDocument/2006/relationships/oleObject" Target="../embeddings/oleObject31.bin"/><Relationship Id="rId5" Type="http://schemas.openxmlformats.org/officeDocument/2006/relationships/image" Target="../media/image10.emf"/><Relationship Id="rId4" Type="http://schemas.openxmlformats.org/officeDocument/2006/relationships/slideMaster" Target="../slideMasters/slideMaster6.xml"/></Relationships>
</file>

<file path=ppt/slideLayouts/_rels/slideLayout3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57.xml"/><Relationship Id="rId7" Type="http://schemas.openxmlformats.org/officeDocument/2006/relationships/image" Target="../media/image10.emf"/><Relationship Id="rId2" Type="http://schemas.openxmlformats.org/officeDocument/2006/relationships/tags" Target="../tags/tag356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59.xml"/><Relationship Id="rId7" Type="http://schemas.openxmlformats.org/officeDocument/2006/relationships/image" Target="../media/image10.emf"/><Relationship Id="rId2" Type="http://schemas.openxmlformats.org/officeDocument/2006/relationships/tags" Target="../tags/tag358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61.xml"/><Relationship Id="rId7" Type="http://schemas.openxmlformats.org/officeDocument/2006/relationships/image" Target="../media/image10.emf"/><Relationship Id="rId2" Type="http://schemas.openxmlformats.org/officeDocument/2006/relationships/tags" Target="../tags/tag360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63.xml"/><Relationship Id="rId7" Type="http://schemas.openxmlformats.org/officeDocument/2006/relationships/image" Target="../media/image10.emf"/><Relationship Id="rId2" Type="http://schemas.openxmlformats.org/officeDocument/2006/relationships/tags" Target="../tags/tag362.xml"/><Relationship Id="rId1" Type="http://schemas.openxmlformats.org/officeDocument/2006/relationships/vmlDrawing" Target="../drawings/vmlDrawing1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365.xml"/><Relationship Id="rId7" Type="http://schemas.openxmlformats.org/officeDocument/2006/relationships/image" Target="../media/image9.emf"/><Relationship Id="rId2" Type="http://schemas.openxmlformats.org/officeDocument/2006/relationships/tags" Target="../tags/tag364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tags" Target="../tags/tag367.xml"/><Relationship Id="rId7" Type="http://schemas.openxmlformats.org/officeDocument/2006/relationships/image" Target="../media/image10.emf"/><Relationship Id="rId2" Type="http://schemas.openxmlformats.org/officeDocument/2006/relationships/tags" Target="../tags/tag366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tags" Target="../tags/tag369.xml"/><Relationship Id="rId7" Type="http://schemas.openxmlformats.org/officeDocument/2006/relationships/image" Target="../media/image2.png"/><Relationship Id="rId2" Type="http://schemas.openxmlformats.org/officeDocument/2006/relationships/tags" Target="../tags/tag368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371.xml"/><Relationship Id="rId7" Type="http://schemas.openxmlformats.org/officeDocument/2006/relationships/image" Target="../media/image2.png"/><Relationship Id="rId2" Type="http://schemas.openxmlformats.org/officeDocument/2006/relationships/tags" Target="../tags/tag370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7.xml"/><Relationship Id="rId7" Type="http://schemas.openxmlformats.org/officeDocument/2006/relationships/image" Target="../media/image10.emf"/><Relationship Id="rId2" Type="http://schemas.openxmlformats.org/officeDocument/2006/relationships/tags" Target="../tags/tag7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73.xml"/><Relationship Id="rId7" Type="http://schemas.openxmlformats.org/officeDocument/2006/relationships/image" Target="../media/image10.emf"/><Relationship Id="rId2" Type="http://schemas.openxmlformats.org/officeDocument/2006/relationships/tags" Target="../tags/tag372.xml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75.xml"/><Relationship Id="rId7" Type="http://schemas.openxmlformats.org/officeDocument/2006/relationships/image" Target="../media/image10.emf"/><Relationship Id="rId2" Type="http://schemas.openxmlformats.org/officeDocument/2006/relationships/tags" Target="../tags/tag374.xml"/><Relationship Id="rId1" Type="http://schemas.openxmlformats.org/officeDocument/2006/relationships/vmlDrawing" Target="../drawings/vmlDrawing1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77.xml"/><Relationship Id="rId7" Type="http://schemas.openxmlformats.org/officeDocument/2006/relationships/image" Target="../media/image10.emf"/><Relationship Id="rId2" Type="http://schemas.openxmlformats.org/officeDocument/2006/relationships/tags" Target="../tags/tag376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79.xml"/><Relationship Id="rId7" Type="http://schemas.openxmlformats.org/officeDocument/2006/relationships/image" Target="../media/image10.emf"/><Relationship Id="rId2" Type="http://schemas.openxmlformats.org/officeDocument/2006/relationships/tags" Target="../tags/tag378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tags" Target="../tags/tag381.xml"/><Relationship Id="rId7" Type="http://schemas.openxmlformats.org/officeDocument/2006/relationships/image" Target="../media/image10.emf"/><Relationship Id="rId2" Type="http://schemas.openxmlformats.org/officeDocument/2006/relationships/tags" Target="../tags/tag380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tags" Target="../tags/tag383.xml"/><Relationship Id="rId7" Type="http://schemas.openxmlformats.org/officeDocument/2006/relationships/image" Target="../media/image10.emf"/><Relationship Id="rId2" Type="http://schemas.openxmlformats.org/officeDocument/2006/relationships/tags" Target="../tags/tag382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tags" Target="../tags/tag385.xml"/><Relationship Id="rId7" Type="http://schemas.openxmlformats.org/officeDocument/2006/relationships/image" Target="../media/image2.png"/><Relationship Id="rId2" Type="http://schemas.openxmlformats.org/officeDocument/2006/relationships/tags" Target="../tags/tag384.xml"/><Relationship Id="rId1" Type="http://schemas.openxmlformats.org/officeDocument/2006/relationships/vmlDrawing" Target="../drawings/vmlDrawing1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387.xml"/><Relationship Id="rId7" Type="http://schemas.openxmlformats.org/officeDocument/2006/relationships/image" Target="../media/image2.png"/><Relationship Id="rId2" Type="http://schemas.openxmlformats.org/officeDocument/2006/relationships/tags" Target="../tags/tag386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89.xml"/><Relationship Id="rId7" Type="http://schemas.openxmlformats.org/officeDocument/2006/relationships/image" Target="../media/image10.emf"/><Relationship Id="rId2" Type="http://schemas.openxmlformats.org/officeDocument/2006/relationships/tags" Target="../tags/tag388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3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91.xml"/><Relationship Id="rId7" Type="http://schemas.openxmlformats.org/officeDocument/2006/relationships/image" Target="../media/image10.emf"/><Relationship Id="rId2" Type="http://schemas.openxmlformats.org/officeDocument/2006/relationships/tags" Target="../tags/tag390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9.xml"/><Relationship Id="rId7" Type="http://schemas.openxmlformats.org/officeDocument/2006/relationships/image" Target="../media/image10.emf"/><Relationship Id="rId2" Type="http://schemas.openxmlformats.org/officeDocument/2006/relationships/tags" Target="../tags/tag7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93.xml"/><Relationship Id="rId7" Type="http://schemas.openxmlformats.org/officeDocument/2006/relationships/image" Target="../media/image10.emf"/><Relationship Id="rId2" Type="http://schemas.openxmlformats.org/officeDocument/2006/relationships/tags" Target="../tags/tag392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4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95.xml"/><Relationship Id="rId7" Type="http://schemas.openxmlformats.org/officeDocument/2006/relationships/image" Target="../media/image10.emf"/><Relationship Id="rId2" Type="http://schemas.openxmlformats.org/officeDocument/2006/relationships/tags" Target="../tags/tag394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tags" Target="../tags/tag397.xml"/><Relationship Id="rId7" Type="http://schemas.openxmlformats.org/officeDocument/2006/relationships/image" Target="../media/image10.emf"/><Relationship Id="rId2" Type="http://schemas.openxmlformats.org/officeDocument/2006/relationships/tags" Target="../tags/tag396.xml"/><Relationship Id="rId1" Type="http://schemas.openxmlformats.org/officeDocument/2006/relationships/vmlDrawing" Target="../drawings/vmlDrawing2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tags" Target="../tags/tag399.xml"/><Relationship Id="rId7" Type="http://schemas.openxmlformats.org/officeDocument/2006/relationships/image" Target="../media/image10.emf"/><Relationship Id="rId2" Type="http://schemas.openxmlformats.org/officeDocument/2006/relationships/tags" Target="../tags/tag398.xml"/><Relationship Id="rId1" Type="http://schemas.openxmlformats.org/officeDocument/2006/relationships/vmlDrawing" Target="../drawings/vmlDrawing2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tags" Target="../tags/tag401.xml"/><Relationship Id="rId2" Type="http://schemas.openxmlformats.org/officeDocument/2006/relationships/tags" Target="../tags/tag400.xml"/><Relationship Id="rId1" Type="http://schemas.openxmlformats.org/officeDocument/2006/relationships/vmlDrawing" Target="../drawings/vmlDrawing2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/Relationships>
</file>

<file path=ppt/slideLayouts/_rels/slideLayout4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03.xml"/><Relationship Id="rId7" Type="http://schemas.openxmlformats.org/officeDocument/2006/relationships/image" Target="../media/image11.emf"/><Relationship Id="rId2" Type="http://schemas.openxmlformats.org/officeDocument/2006/relationships/tags" Target="../tags/tag402.xml"/><Relationship Id="rId1" Type="http://schemas.openxmlformats.org/officeDocument/2006/relationships/vmlDrawing" Target="../drawings/vmlDrawing2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2.emf"/></Relationships>
</file>

<file path=ppt/slideLayouts/_rels/slideLayout4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05.xml"/><Relationship Id="rId7" Type="http://schemas.openxmlformats.org/officeDocument/2006/relationships/image" Target="../media/image11.emf"/><Relationship Id="rId2" Type="http://schemas.openxmlformats.org/officeDocument/2006/relationships/tags" Target="../tags/tag404.xml"/><Relationship Id="rId1" Type="http://schemas.openxmlformats.org/officeDocument/2006/relationships/vmlDrawing" Target="../drawings/vmlDrawing207.vml"/><Relationship Id="rId6" Type="http://schemas.openxmlformats.org/officeDocument/2006/relationships/image" Target="../media/image1.emf"/><Relationship Id="rId11" Type="http://schemas.openxmlformats.org/officeDocument/2006/relationships/image" Target="../media/image14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3.emf"/></Relationships>
</file>

<file path=ppt/slideLayouts/_rels/slideLayout4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07.xml"/><Relationship Id="rId7" Type="http://schemas.openxmlformats.org/officeDocument/2006/relationships/image" Target="../media/image11.emf"/><Relationship Id="rId2" Type="http://schemas.openxmlformats.org/officeDocument/2006/relationships/tags" Target="../tags/tag406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2.emf"/></Relationships>
</file>

<file path=ppt/slideLayouts/_rels/slideLayout4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09.xml"/><Relationship Id="rId7" Type="http://schemas.openxmlformats.org/officeDocument/2006/relationships/image" Target="../media/image11.emf"/><Relationship Id="rId2" Type="http://schemas.openxmlformats.org/officeDocument/2006/relationships/tags" Target="../tags/tag408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1.emf"/><Relationship Id="rId11" Type="http://schemas.openxmlformats.org/officeDocument/2006/relationships/image" Target="../media/image13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2.emf"/></Relationships>
</file>

<file path=ppt/slideLayouts/_rels/slideLayout4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11.xml"/><Relationship Id="rId7" Type="http://schemas.openxmlformats.org/officeDocument/2006/relationships/image" Target="../media/image11.emf"/><Relationship Id="rId2" Type="http://schemas.openxmlformats.org/officeDocument/2006/relationships/tags" Target="../tags/tag410.xml"/><Relationship Id="rId1" Type="http://schemas.openxmlformats.org/officeDocument/2006/relationships/vmlDrawing" Target="../drawings/vmlDrawing2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2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1.xml"/><Relationship Id="rId7" Type="http://schemas.openxmlformats.org/officeDocument/2006/relationships/image" Target="../media/image10.emf"/><Relationship Id="rId2" Type="http://schemas.openxmlformats.org/officeDocument/2006/relationships/tags" Target="../tags/tag80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13.xml"/><Relationship Id="rId7" Type="http://schemas.openxmlformats.org/officeDocument/2006/relationships/image" Target="../media/image11.emf"/><Relationship Id="rId2" Type="http://schemas.openxmlformats.org/officeDocument/2006/relationships/tags" Target="../tags/tag412.xml"/><Relationship Id="rId1" Type="http://schemas.openxmlformats.org/officeDocument/2006/relationships/vmlDrawing" Target="../drawings/vmlDrawing2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2.emf"/></Relationships>
</file>

<file path=ppt/slideLayouts/_rels/slideLayout4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15.xml"/><Relationship Id="rId7" Type="http://schemas.openxmlformats.org/officeDocument/2006/relationships/image" Target="../media/image11.emf"/><Relationship Id="rId2" Type="http://schemas.openxmlformats.org/officeDocument/2006/relationships/tags" Target="../tags/tag414.xml"/><Relationship Id="rId1" Type="http://schemas.openxmlformats.org/officeDocument/2006/relationships/vmlDrawing" Target="../drawings/vmlDrawing2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2.emf"/></Relationships>
</file>

<file path=ppt/slideLayouts/_rels/slideLayout4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17.xml"/><Relationship Id="rId7" Type="http://schemas.openxmlformats.org/officeDocument/2006/relationships/image" Target="../media/image11.emf"/><Relationship Id="rId2" Type="http://schemas.openxmlformats.org/officeDocument/2006/relationships/tags" Target="../tags/tag416.xml"/><Relationship Id="rId1" Type="http://schemas.openxmlformats.org/officeDocument/2006/relationships/vmlDrawing" Target="../drawings/vmlDrawing2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2.emf"/></Relationships>
</file>

<file path=ppt/slideLayouts/_rels/slideLayout4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19.xml"/><Relationship Id="rId7" Type="http://schemas.openxmlformats.org/officeDocument/2006/relationships/image" Target="../media/image11.emf"/><Relationship Id="rId2" Type="http://schemas.openxmlformats.org/officeDocument/2006/relationships/tags" Target="../tags/tag418.xml"/><Relationship Id="rId1" Type="http://schemas.openxmlformats.org/officeDocument/2006/relationships/vmlDrawing" Target="../drawings/vmlDrawing2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2.emf"/></Relationships>
</file>

<file path=ppt/slideLayouts/_rels/slideLayout4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21.xml"/><Relationship Id="rId7" Type="http://schemas.openxmlformats.org/officeDocument/2006/relationships/image" Target="../media/image11.emf"/><Relationship Id="rId2" Type="http://schemas.openxmlformats.org/officeDocument/2006/relationships/tags" Target="../tags/tag420.xml"/><Relationship Id="rId1" Type="http://schemas.openxmlformats.org/officeDocument/2006/relationships/vmlDrawing" Target="../drawings/vmlDrawing2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4.emf"/></Relationships>
</file>

<file path=ppt/slideLayouts/_rels/slideLayout4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23.xml"/><Relationship Id="rId7" Type="http://schemas.openxmlformats.org/officeDocument/2006/relationships/image" Target="../media/image11.emf"/><Relationship Id="rId2" Type="http://schemas.openxmlformats.org/officeDocument/2006/relationships/tags" Target="../tags/tag422.xml"/><Relationship Id="rId1" Type="http://schemas.openxmlformats.org/officeDocument/2006/relationships/vmlDrawing" Target="../drawings/vmlDrawing2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2.emf"/></Relationships>
</file>

<file path=ppt/slideLayouts/_rels/slideLayout4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25.xml"/><Relationship Id="rId7" Type="http://schemas.openxmlformats.org/officeDocument/2006/relationships/image" Target="../media/image11.emf"/><Relationship Id="rId2" Type="http://schemas.openxmlformats.org/officeDocument/2006/relationships/tags" Target="../tags/tag424.xml"/><Relationship Id="rId1" Type="http://schemas.openxmlformats.org/officeDocument/2006/relationships/vmlDrawing" Target="../drawings/vmlDrawing2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4.emf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tags" Target="../tags/tag427.xml"/><Relationship Id="rId2" Type="http://schemas.openxmlformats.org/officeDocument/2006/relationships/tags" Target="../tags/tag426.xml"/><Relationship Id="rId1" Type="http://schemas.openxmlformats.org/officeDocument/2006/relationships/vmlDrawing" Target="../drawings/vmlDrawing2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tags" Target="../tags/tag429.xml"/><Relationship Id="rId2" Type="http://schemas.openxmlformats.org/officeDocument/2006/relationships/tags" Target="../tags/tag428.xml"/><Relationship Id="rId1" Type="http://schemas.openxmlformats.org/officeDocument/2006/relationships/vmlDrawing" Target="../drawings/vmlDrawing2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tags" Target="../tags/tag431.xml"/><Relationship Id="rId2" Type="http://schemas.openxmlformats.org/officeDocument/2006/relationships/tags" Target="../tags/tag430.xml"/><Relationship Id="rId1" Type="http://schemas.openxmlformats.org/officeDocument/2006/relationships/vmlDrawing" Target="../drawings/vmlDrawing2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10.emf"/><Relationship Id="rId2" Type="http://schemas.openxmlformats.org/officeDocument/2006/relationships/tags" Target="../tags/tag8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tags" Target="../tags/tag433.xml"/><Relationship Id="rId7" Type="http://schemas.openxmlformats.org/officeDocument/2006/relationships/image" Target="../media/image15.png"/><Relationship Id="rId2" Type="http://schemas.openxmlformats.org/officeDocument/2006/relationships/tags" Target="../tags/tag432.xml"/><Relationship Id="rId1" Type="http://schemas.openxmlformats.org/officeDocument/2006/relationships/vmlDrawing" Target="../drawings/vmlDrawing2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tags" Target="../tags/tag435.xml"/><Relationship Id="rId2" Type="http://schemas.openxmlformats.org/officeDocument/2006/relationships/tags" Target="../tags/tag434.xml"/><Relationship Id="rId1" Type="http://schemas.openxmlformats.org/officeDocument/2006/relationships/vmlDrawing" Target="../drawings/vmlDrawing2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10.emf"/><Relationship Id="rId2" Type="http://schemas.openxmlformats.org/officeDocument/2006/relationships/tags" Target="../tags/tag8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tags" Target="../tags/tag437.xml"/><Relationship Id="rId7" Type="http://schemas.openxmlformats.org/officeDocument/2006/relationships/image" Target="../media/image15.png"/><Relationship Id="rId2" Type="http://schemas.openxmlformats.org/officeDocument/2006/relationships/tags" Target="../tags/tag436.xml"/><Relationship Id="rId1" Type="http://schemas.openxmlformats.org/officeDocument/2006/relationships/vmlDrawing" Target="../drawings/vmlDrawing2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6.xml"/></Relationships>
</file>

<file path=ppt/slideLayouts/_rels/slideLayout4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tags" Target="../tags/tag439.xml"/><Relationship Id="rId7" Type="http://schemas.openxmlformats.org/officeDocument/2006/relationships/image" Target="../media/image15.png"/><Relationship Id="rId2" Type="http://schemas.openxmlformats.org/officeDocument/2006/relationships/tags" Target="../tags/tag438.xml"/><Relationship Id="rId1" Type="http://schemas.openxmlformats.org/officeDocument/2006/relationships/vmlDrawing" Target="../drawings/vmlDrawing2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6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.png"/><Relationship Id="rId2" Type="http://schemas.openxmlformats.org/officeDocument/2006/relationships/tags" Target="../tags/tag440.xml"/><Relationship Id="rId1" Type="http://schemas.openxmlformats.org/officeDocument/2006/relationships/vmlDrawing" Target="../drawings/vmlDrawing22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.png"/><Relationship Id="rId2" Type="http://schemas.openxmlformats.org/officeDocument/2006/relationships/tags" Target="../tags/tag441.xml"/><Relationship Id="rId1" Type="http://schemas.openxmlformats.org/officeDocument/2006/relationships/vmlDrawing" Target="../drawings/vmlDrawing22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6.xml"/><Relationship Id="rId7" Type="http://schemas.microsoft.com/office/2007/relationships/hdphoto" Target="../media/hdphoto1.wdp"/><Relationship Id="rId2" Type="http://schemas.openxmlformats.org/officeDocument/2006/relationships/tags" Target="../tags/tag442.xml"/><Relationship Id="rId1" Type="http://schemas.openxmlformats.org/officeDocument/2006/relationships/vmlDrawing" Target="../drawings/vmlDrawing227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Relationship Id="rId9" Type="http://schemas.openxmlformats.org/officeDocument/2006/relationships/image" Target="../media/image2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2.png"/><Relationship Id="rId2" Type="http://schemas.openxmlformats.org/officeDocument/2006/relationships/tags" Target="../tags/tag8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46.xml"/><Relationship Id="rId7" Type="http://schemas.openxmlformats.org/officeDocument/2006/relationships/image" Target="../media/image4.png"/><Relationship Id="rId2" Type="http://schemas.openxmlformats.org/officeDocument/2006/relationships/tags" Target="../tags/tag445.xml"/><Relationship Id="rId1" Type="http://schemas.openxmlformats.org/officeDocument/2006/relationships/vmlDrawing" Target="../drawings/vmlDrawing2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7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tags" Target="../tags/tag448.xml"/><Relationship Id="rId2" Type="http://schemas.openxmlformats.org/officeDocument/2006/relationships/tags" Target="../tags/tag447.xml"/><Relationship Id="rId1" Type="http://schemas.openxmlformats.org/officeDocument/2006/relationships/vmlDrawing" Target="../drawings/vmlDrawing2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50.xml"/><Relationship Id="rId7" Type="http://schemas.openxmlformats.org/officeDocument/2006/relationships/image" Target="../media/image1.emf"/><Relationship Id="rId2" Type="http://schemas.openxmlformats.org/officeDocument/2006/relationships/tags" Target="../tags/tag449.xml"/><Relationship Id="rId1" Type="http://schemas.openxmlformats.org/officeDocument/2006/relationships/vmlDrawing" Target="../drawings/vmlDrawing231.vml"/><Relationship Id="rId6" Type="http://schemas.openxmlformats.org/officeDocument/2006/relationships/oleObject" Target="../embeddings/oleObject44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7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51.xml"/><Relationship Id="rId1" Type="http://schemas.openxmlformats.org/officeDocument/2006/relationships/vmlDrawing" Target="../drawings/vmlDrawing23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tags" Target="../tags/tag453.xml"/><Relationship Id="rId7" Type="http://schemas.openxmlformats.org/officeDocument/2006/relationships/image" Target="../media/image2.png"/><Relationship Id="rId2" Type="http://schemas.openxmlformats.org/officeDocument/2006/relationships/tags" Target="../tags/tag452.xml"/><Relationship Id="rId1" Type="http://schemas.openxmlformats.org/officeDocument/2006/relationships/vmlDrawing" Target="../drawings/vmlDrawing2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89.xml"/><Relationship Id="rId7" Type="http://schemas.openxmlformats.org/officeDocument/2006/relationships/image" Target="../media/image2.png"/><Relationship Id="rId2" Type="http://schemas.openxmlformats.org/officeDocument/2006/relationships/tags" Target="../tags/tag88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tags" Target="../tags/tag455.xml"/><Relationship Id="rId7" Type="http://schemas.openxmlformats.org/officeDocument/2006/relationships/image" Target="../media/image6.png"/><Relationship Id="rId2" Type="http://schemas.openxmlformats.org/officeDocument/2006/relationships/tags" Target="../tags/tag454.xml"/><Relationship Id="rId1" Type="http://schemas.openxmlformats.org/officeDocument/2006/relationships/vmlDrawing" Target="../drawings/vmlDrawing2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7.xml"/></Relationships>
</file>

<file path=ppt/slideLayouts/_rels/slideLayout4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57.xml"/><Relationship Id="rId7" Type="http://schemas.openxmlformats.org/officeDocument/2006/relationships/image" Target="../media/image1.emf"/><Relationship Id="rId2" Type="http://schemas.openxmlformats.org/officeDocument/2006/relationships/tags" Target="../tags/tag456.xml"/><Relationship Id="rId1" Type="http://schemas.openxmlformats.org/officeDocument/2006/relationships/vmlDrawing" Target="../drawings/vmlDrawing235.vml"/><Relationship Id="rId6" Type="http://schemas.openxmlformats.org/officeDocument/2006/relationships/oleObject" Target="../embeddings/oleObject48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7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7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tags" Target="../tags/tag459.xml"/><Relationship Id="rId2" Type="http://schemas.openxmlformats.org/officeDocument/2006/relationships/tags" Target="../tags/tag458.xml"/><Relationship Id="rId1" Type="http://schemas.openxmlformats.org/officeDocument/2006/relationships/vmlDrawing" Target="../drawings/vmlDrawing2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7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tags" Target="../tags/tag461.xml"/><Relationship Id="rId7" Type="http://schemas.openxmlformats.org/officeDocument/2006/relationships/image" Target="../media/image2.png"/><Relationship Id="rId2" Type="http://schemas.openxmlformats.org/officeDocument/2006/relationships/tags" Target="../tags/tag460.xml"/><Relationship Id="rId1" Type="http://schemas.openxmlformats.org/officeDocument/2006/relationships/vmlDrawing" Target="../drawings/vmlDrawing2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7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tags" Target="../tags/tag463.xml"/><Relationship Id="rId7" Type="http://schemas.openxmlformats.org/officeDocument/2006/relationships/image" Target="../media/image2.png"/><Relationship Id="rId2" Type="http://schemas.openxmlformats.org/officeDocument/2006/relationships/tags" Target="../tags/tag462.xml"/><Relationship Id="rId1" Type="http://schemas.openxmlformats.org/officeDocument/2006/relationships/vmlDrawing" Target="../drawings/vmlDrawing2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7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tags" Target="../tags/tag465.xml"/><Relationship Id="rId7" Type="http://schemas.openxmlformats.org/officeDocument/2006/relationships/image" Target="../media/image2.png"/><Relationship Id="rId2" Type="http://schemas.openxmlformats.org/officeDocument/2006/relationships/tags" Target="../tags/tag464.xml"/><Relationship Id="rId1" Type="http://schemas.openxmlformats.org/officeDocument/2006/relationships/vmlDrawing" Target="../drawings/vmlDrawing2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7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tags" Target="../tags/tag467.xml"/><Relationship Id="rId7" Type="http://schemas.openxmlformats.org/officeDocument/2006/relationships/image" Target="../media/image2.png"/><Relationship Id="rId2" Type="http://schemas.openxmlformats.org/officeDocument/2006/relationships/tags" Target="../tags/tag466.xml"/><Relationship Id="rId1" Type="http://schemas.openxmlformats.org/officeDocument/2006/relationships/vmlDrawing" Target="../drawings/vmlDrawing2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7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tags" Target="../tags/tag469.xml"/><Relationship Id="rId2" Type="http://schemas.openxmlformats.org/officeDocument/2006/relationships/tags" Target="../tags/tag468.xml"/><Relationship Id="rId1" Type="http://schemas.openxmlformats.org/officeDocument/2006/relationships/vmlDrawing" Target="../drawings/vmlDrawing2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tags" Target="../tags/tag471.xml"/><Relationship Id="rId2" Type="http://schemas.openxmlformats.org/officeDocument/2006/relationships/tags" Target="../tags/tag470.xml"/><Relationship Id="rId1" Type="http://schemas.openxmlformats.org/officeDocument/2006/relationships/vmlDrawing" Target="../drawings/vmlDrawing2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1.xml"/><Relationship Id="rId7" Type="http://schemas.openxmlformats.org/officeDocument/2006/relationships/image" Target="../media/image10.emf"/><Relationship Id="rId2" Type="http://schemas.openxmlformats.org/officeDocument/2006/relationships/tags" Target="../tags/tag90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tags" Target="../tags/tag473.xml"/><Relationship Id="rId7" Type="http://schemas.openxmlformats.org/officeDocument/2006/relationships/image" Target="../media/image3.emf"/><Relationship Id="rId2" Type="http://schemas.openxmlformats.org/officeDocument/2006/relationships/tags" Target="../tags/tag472.xml"/><Relationship Id="rId1" Type="http://schemas.openxmlformats.org/officeDocument/2006/relationships/vmlDrawing" Target="../drawings/vmlDrawing2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tags" Target="../tags/tag475.xml"/><Relationship Id="rId7" Type="http://schemas.openxmlformats.org/officeDocument/2006/relationships/image" Target="../media/image3.emf"/><Relationship Id="rId2" Type="http://schemas.openxmlformats.org/officeDocument/2006/relationships/tags" Target="../tags/tag474.xml"/><Relationship Id="rId1" Type="http://schemas.openxmlformats.org/officeDocument/2006/relationships/vmlDrawing" Target="../drawings/vmlDrawing2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tags" Target="../tags/tag477.xml"/><Relationship Id="rId7" Type="http://schemas.openxmlformats.org/officeDocument/2006/relationships/image" Target="../media/image3.emf"/><Relationship Id="rId2" Type="http://schemas.openxmlformats.org/officeDocument/2006/relationships/tags" Target="../tags/tag476.xml"/><Relationship Id="rId1" Type="http://schemas.openxmlformats.org/officeDocument/2006/relationships/vmlDrawing" Target="../drawings/vmlDrawing2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tags" Target="../tags/tag479.xml"/><Relationship Id="rId7" Type="http://schemas.openxmlformats.org/officeDocument/2006/relationships/image" Target="../media/image3.emf"/><Relationship Id="rId2" Type="http://schemas.openxmlformats.org/officeDocument/2006/relationships/tags" Target="../tags/tag478.xml"/><Relationship Id="rId1" Type="http://schemas.openxmlformats.org/officeDocument/2006/relationships/vmlDrawing" Target="../drawings/vmlDrawing2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tags" Target="../tags/tag481.xml"/><Relationship Id="rId7" Type="http://schemas.openxmlformats.org/officeDocument/2006/relationships/image" Target="../media/image2.png"/><Relationship Id="rId2" Type="http://schemas.openxmlformats.org/officeDocument/2006/relationships/tags" Target="../tags/tag480.xml"/><Relationship Id="rId1" Type="http://schemas.openxmlformats.org/officeDocument/2006/relationships/vmlDrawing" Target="../drawings/vmlDrawing2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83.xml"/><Relationship Id="rId7" Type="http://schemas.openxmlformats.org/officeDocument/2006/relationships/image" Target="../media/image9.emf"/><Relationship Id="rId2" Type="http://schemas.openxmlformats.org/officeDocument/2006/relationships/tags" Target="../tags/tag482.xml"/><Relationship Id="rId1" Type="http://schemas.openxmlformats.org/officeDocument/2006/relationships/vmlDrawing" Target="../drawings/vmlDrawing2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85.xml"/><Relationship Id="rId7" Type="http://schemas.openxmlformats.org/officeDocument/2006/relationships/image" Target="../media/image9.emf"/><Relationship Id="rId2" Type="http://schemas.openxmlformats.org/officeDocument/2006/relationships/tags" Target="../tags/tag484.xml"/><Relationship Id="rId1" Type="http://schemas.openxmlformats.org/officeDocument/2006/relationships/vmlDrawing" Target="../drawings/vmlDrawing2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87.xml"/><Relationship Id="rId7" Type="http://schemas.openxmlformats.org/officeDocument/2006/relationships/image" Target="../media/image9.emf"/><Relationship Id="rId2" Type="http://schemas.openxmlformats.org/officeDocument/2006/relationships/tags" Target="../tags/tag486.xml"/><Relationship Id="rId1" Type="http://schemas.openxmlformats.org/officeDocument/2006/relationships/vmlDrawing" Target="../drawings/vmlDrawing2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89.xml"/><Relationship Id="rId7" Type="http://schemas.openxmlformats.org/officeDocument/2006/relationships/image" Target="../media/image9.emf"/><Relationship Id="rId2" Type="http://schemas.openxmlformats.org/officeDocument/2006/relationships/tags" Target="../tags/tag488.xml"/><Relationship Id="rId1" Type="http://schemas.openxmlformats.org/officeDocument/2006/relationships/vmlDrawing" Target="../drawings/vmlDrawing2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91.xml"/><Relationship Id="rId7" Type="http://schemas.openxmlformats.org/officeDocument/2006/relationships/image" Target="../media/image9.emf"/><Relationship Id="rId2" Type="http://schemas.openxmlformats.org/officeDocument/2006/relationships/tags" Target="../tags/tag490.xml"/><Relationship Id="rId1" Type="http://schemas.openxmlformats.org/officeDocument/2006/relationships/vmlDrawing" Target="../drawings/vmlDrawing2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3.xml"/><Relationship Id="rId7" Type="http://schemas.openxmlformats.org/officeDocument/2006/relationships/image" Target="../media/image10.emf"/><Relationship Id="rId2" Type="http://schemas.openxmlformats.org/officeDocument/2006/relationships/tags" Target="../tags/tag92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tags" Target="../tags/tag493.xml"/><Relationship Id="rId7" Type="http://schemas.openxmlformats.org/officeDocument/2006/relationships/image" Target="../media/image9.emf"/><Relationship Id="rId2" Type="http://schemas.openxmlformats.org/officeDocument/2006/relationships/tags" Target="../tags/tag492.xml"/><Relationship Id="rId1" Type="http://schemas.openxmlformats.org/officeDocument/2006/relationships/vmlDrawing" Target="../drawings/vmlDrawing2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tags" Target="../tags/tag495.xml"/><Relationship Id="rId7" Type="http://schemas.openxmlformats.org/officeDocument/2006/relationships/image" Target="../media/image9.emf"/><Relationship Id="rId2" Type="http://schemas.openxmlformats.org/officeDocument/2006/relationships/tags" Target="../tags/tag494.xml"/><Relationship Id="rId1" Type="http://schemas.openxmlformats.org/officeDocument/2006/relationships/vmlDrawing" Target="../drawings/vmlDrawing2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tags" Target="../tags/tag497.xml"/><Relationship Id="rId2" Type="http://schemas.openxmlformats.org/officeDocument/2006/relationships/tags" Target="../tags/tag496.xml"/><Relationship Id="rId1" Type="http://schemas.openxmlformats.org/officeDocument/2006/relationships/vmlDrawing" Target="../drawings/vmlDrawing2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99.xml"/><Relationship Id="rId7" Type="http://schemas.openxmlformats.org/officeDocument/2006/relationships/image" Target="../media/image1.emf"/><Relationship Id="rId2" Type="http://schemas.openxmlformats.org/officeDocument/2006/relationships/tags" Target="../tags/tag498.xml"/><Relationship Id="rId1" Type="http://schemas.openxmlformats.org/officeDocument/2006/relationships/vmlDrawing" Target="../drawings/vmlDrawing256.vml"/><Relationship Id="rId6" Type="http://schemas.openxmlformats.org/officeDocument/2006/relationships/oleObject" Target="../embeddings/oleObject43.bin"/><Relationship Id="rId5" Type="http://schemas.openxmlformats.org/officeDocument/2006/relationships/image" Target="../media/image10.emf"/><Relationship Id="rId4" Type="http://schemas.openxmlformats.org/officeDocument/2006/relationships/slideMaster" Target="../slideMasters/slideMaster7.xml"/></Relationships>
</file>

<file path=ppt/slideLayouts/_rels/slideLayout4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01.xml"/><Relationship Id="rId7" Type="http://schemas.openxmlformats.org/officeDocument/2006/relationships/image" Target="../media/image10.emf"/><Relationship Id="rId2" Type="http://schemas.openxmlformats.org/officeDocument/2006/relationships/tags" Target="../tags/tag500.xml"/><Relationship Id="rId1" Type="http://schemas.openxmlformats.org/officeDocument/2006/relationships/vmlDrawing" Target="../drawings/vmlDrawing2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03.xml"/><Relationship Id="rId7" Type="http://schemas.openxmlformats.org/officeDocument/2006/relationships/image" Target="../media/image10.emf"/><Relationship Id="rId2" Type="http://schemas.openxmlformats.org/officeDocument/2006/relationships/tags" Target="../tags/tag502.xml"/><Relationship Id="rId1" Type="http://schemas.openxmlformats.org/officeDocument/2006/relationships/vmlDrawing" Target="../drawings/vmlDrawing2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05.xml"/><Relationship Id="rId7" Type="http://schemas.openxmlformats.org/officeDocument/2006/relationships/image" Target="../media/image10.emf"/><Relationship Id="rId2" Type="http://schemas.openxmlformats.org/officeDocument/2006/relationships/tags" Target="../tags/tag504.xml"/><Relationship Id="rId1" Type="http://schemas.openxmlformats.org/officeDocument/2006/relationships/vmlDrawing" Target="../drawings/vmlDrawing2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07.xml"/><Relationship Id="rId7" Type="http://schemas.openxmlformats.org/officeDocument/2006/relationships/image" Target="../media/image10.emf"/><Relationship Id="rId2" Type="http://schemas.openxmlformats.org/officeDocument/2006/relationships/tags" Target="../tags/tag506.xml"/><Relationship Id="rId1" Type="http://schemas.openxmlformats.org/officeDocument/2006/relationships/vmlDrawing" Target="../drawings/vmlDrawing2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509.xml"/><Relationship Id="rId7" Type="http://schemas.openxmlformats.org/officeDocument/2006/relationships/image" Target="../media/image9.emf"/><Relationship Id="rId2" Type="http://schemas.openxmlformats.org/officeDocument/2006/relationships/tags" Target="../tags/tag508.xml"/><Relationship Id="rId1" Type="http://schemas.openxmlformats.org/officeDocument/2006/relationships/vmlDrawing" Target="../drawings/vmlDrawing2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tags" Target="../tags/tag511.xml"/><Relationship Id="rId7" Type="http://schemas.openxmlformats.org/officeDocument/2006/relationships/image" Target="../media/image10.emf"/><Relationship Id="rId2" Type="http://schemas.openxmlformats.org/officeDocument/2006/relationships/tags" Target="../tags/tag510.xml"/><Relationship Id="rId1" Type="http://schemas.openxmlformats.org/officeDocument/2006/relationships/vmlDrawing" Target="../drawings/vmlDrawing2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5.xml"/><Relationship Id="rId7" Type="http://schemas.openxmlformats.org/officeDocument/2006/relationships/image" Target="../media/image10.emf"/><Relationship Id="rId2" Type="http://schemas.openxmlformats.org/officeDocument/2006/relationships/tags" Target="../tags/tag94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tags" Target="../tags/tag513.xml"/><Relationship Id="rId7" Type="http://schemas.openxmlformats.org/officeDocument/2006/relationships/image" Target="../media/image2.png"/><Relationship Id="rId2" Type="http://schemas.openxmlformats.org/officeDocument/2006/relationships/tags" Target="../tags/tag512.xml"/><Relationship Id="rId1" Type="http://schemas.openxmlformats.org/officeDocument/2006/relationships/vmlDrawing" Target="../drawings/vmlDrawing2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515.xml"/><Relationship Id="rId7" Type="http://schemas.openxmlformats.org/officeDocument/2006/relationships/image" Target="../media/image2.png"/><Relationship Id="rId2" Type="http://schemas.openxmlformats.org/officeDocument/2006/relationships/tags" Target="../tags/tag514.xml"/><Relationship Id="rId1" Type="http://schemas.openxmlformats.org/officeDocument/2006/relationships/vmlDrawing" Target="../drawings/vmlDrawing2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17.xml"/><Relationship Id="rId7" Type="http://schemas.openxmlformats.org/officeDocument/2006/relationships/image" Target="../media/image10.emf"/><Relationship Id="rId2" Type="http://schemas.openxmlformats.org/officeDocument/2006/relationships/tags" Target="../tags/tag516.xml"/><Relationship Id="rId1" Type="http://schemas.openxmlformats.org/officeDocument/2006/relationships/vmlDrawing" Target="../drawings/vmlDrawing2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19.xml"/><Relationship Id="rId7" Type="http://schemas.openxmlformats.org/officeDocument/2006/relationships/image" Target="../media/image10.emf"/><Relationship Id="rId2" Type="http://schemas.openxmlformats.org/officeDocument/2006/relationships/tags" Target="../tags/tag518.xml"/><Relationship Id="rId1" Type="http://schemas.openxmlformats.org/officeDocument/2006/relationships/vmlDrawing" Target="../drawings/vmlDrawing2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21.xml"/><Relationship Id="rId7" Type="http://schemas.openxmlformats.org/officeDocument/2006/relationships/image" Target="../media/image10.emf"/><Relationship Id="rId2" Type="http://schemas.openxmlformats.org/officeDocument/2006/relationships/tags" Target="../tags/tag520.xml"/><Relationship Id="rId1" Type="http://schemas.openxmlformats.org/officeDocument/2006/relationships/vmlDrawing" Target="../drawings/vmlDrawing2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23.xml"/><Relationship Id="rId7" Type="http://schemas.openxmlformats.org/officeDocument/2006/relationships/image" Target="../media/image10.emf"/><Relationship Id="rId2" Type="http://schemas.openxmlformats.org/officeDocument/2006/relationships/tags" Target="../tags/tag522.xml"/><Relationship Id="rId1" Type="http://schemas.openxmlformats.org/officeDocument/2006/relationships/vmlDrawing" Target="../drawings/vmlDrawing2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tags" Target="../tags/tag525.xml"/><Relationship Id="rId7" Type="http://schemas.openxmlformats.org/officeDocument/2006/relationships/image" Target="../media/image10.emf"/><Relationship Id="rId2" Type="http://schemas.openxmlformats.org/officeDocument/2006/relationships/tags" Target="../tags/tag524.xml"/><Relationship Id="rId1" Type="http://schemas.openxmlformats.org/officeDocument/2006/relationships/vmlDrawing" Target="../drawings/vmlDrawing2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tags" Target="../tags/tag527.xml"/><Relationship Id="rId7" Type="http://schemas.openxmlformats.org/officeDocument/2006/relationships/image" Target="../media/image10.emf"/><Relationship Id="rId2" Type="http://schemas.openxmlformats.org/officeDocument/2006/relationships/tags" Target="../tags/tag526.xml"/><Relationship Id="rId1" Type="http://schemas.openxmlformats.org/officeDocument/2006/relationships/vmlDrawing" Target="../drawings/vmlDrawing2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tags" Target="../tags/tag529.xml"/><Relationship Id="rId7" Type="http://schemas.openxmlformats.org/officeDocument/2006/relationships/image" Target="../media/image2.png"/><Relationship Id="rId2" Type="http://schemas.openxmlformats.org/officeDocument/2006/relationships/tags" Target="../tags/tag528.xml"/><Relationship Id="rId1" Type="http://schemas.openxmlformats.org/officeDocument/2006/relationships/vmlDrawing" Target="../drawings/vmlDrawing2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531.xml"/><Relationship Id="rId7" Type="http://schemas.openxmlformats.org/officeDocument/2006/relationships/image" Target="../media/image2.png"/><Relationship Id="rId2" Type="http://schemas.openxmlformats.org/officeDocument/2006/relationships/tags" Target="../tags/tag530.xml"/><Relationship Id="rId1" Type="http://schemas.openxmlformats.org/officeDocument/2006/relationships/vmlDrawing" Target="../drawings/vmlDrawing2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7.xml"/><Relationship Id="rId7" Type="http://schemas.openxmlformats.org/officeDocument/2006/relationships/image" Target="../media/image10.emf"/><Relationship Id="rId2" Type="http://schemas.openxmlformats.org/officeDocument/2006/relationships/tags" Target="../tags/tag96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33.xml"/><Relationship Id="rId7" Type="http://schemas.openxmlformats.org/officeDocument/2006/relationships/image" Target="../media/image10.emf"/><Relationship Id="rId2" Type="http://schemas.openxmlformats.org/officeDocument/2006/relationships/tags" Target="../tags/tag532.xml"/><Relationship Id="rId1" Type="http://schemas.openxmlformats.org/officeDocument/2006/relationships/vmlDrawing" Target="../drawings/vmlDrawing2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35.xml"/><Relationship Id="rId7" Type="http://schemas.openxmlformats.org/officeDocument/2006/relationships/image" Target="../media/image10.emf"/><Relationship Id="rId2" Type="http://schemas.openxmlformats.org/officeDocument/2006/relationships/tags" Target="../tags/tag534.xml"/><Relationship Id="rId1" Type="http://schemas.openxmlformats.org/officeDocument/2006/relationships/vmlDrawing" Target="../drawings/vmlDrawing2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37.xml"/><Relationship Id="rId7" Type="http://schemas.openxmlformats.org/officeDocument/2006/relationships/image" Target="../media/image10.emf"/><Relationship Id="rId2" Type="http://schemas.openxmlformats.org/officeDocument/2006/relationships/tags" Target="../tags/tag536.xml"/><Relationship Id="rId1" Type="http://schemas.openxmlformats.org/officeDocument/2006/relationships/vmlDrawing" Target="../drawings/vmlDrawing2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39.xml"/><Relationship Id="rId7" Type="http://schemas.openxmlformats.org/officeDocument/2006/relationships/image" Target="../media/image10.emf"/><Relationship Id="rId2" Type="http://schemas.openxmlformats.org/officeDocument/2006/relationships/tags" Target="../tags/tag538.xml"/><Relationship Id="rId1" Type="http://schemas.openxmlformats.org/officeDocument/2006/relationships/vmlDrawing" Target="../drawings/vmlDrawing2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tags" Target="../tags/tag541.xml"/><Relationship Id="rId7" Type="http://schemas.openxmlformats.org/officeDocument/2006/relationships/image" Target="../media/image10.emf"/><Relationship Id="rId2" Type="http://schemas.openxmlformats.org/officeDocument/2006/relationships/tags" Target="../tags/tag540.xml"/><Relationship Id="rId1" Type="http://schemas.openxmlformats.org/officeDocument/2006/relationships/vmlDrawing" Target="../drawings/vmlDrawing2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tags" Target="../tags/tag543.xml"/><Relationship Id="rId7" Type="http://schemas.openxmlformats.org/officeDocument/2006/relationships/image" Target="../media/image10.emf"/><Relationship Id="rId2" Type="http://schemas.openxmlformats.org/officeDocument/2006/relationships/tags" Target="../tags/tag542.xml"/><Relationship Id="rId1" Type="http://schemas.openxmlformats.org/officeDocument/2006/relationships/vmlDrawing" Target="../drawings/vmlDrawing2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tags" Target="../tags/tag545.xml"/><Relationship Id="rId2" Type="http://schemas.openxmlformats.org/officeDocument/2006/relationships/tags" Target="../tags/tag544.xml"/><Relationship Id="rId1" Type="http://schemas.openxmlformats.org/officeDocument/2006/relationships/vmlDrawing" Target="../drawings/vmlDrawing2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7.xml"/></Relationships>
</file>

<file path=ppt/slideLayouts/_rels/slideLayout4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47.xml"/><Relationship Id="rId7" Type="http://schemas.openxmlformats.org/officeDocument/2006/relationships/image" Target="../media/image11.emf"/><Relationship Id="rId2" Type="http://schemas.openxmlformats.org/officeDocument/2006/relationships/tags" Target="../tags/tag546.xml"/><Relationship Id="rId1" Type="http://schemas.openxmlformats.org/officeDocument/2006/relationships/vmlDrawing" Target="../drawings/vmlDrawing2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12.emf"/></Relationships>
</file>

<file path=ppt/slideLayouts/_rels/slideLayout4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49.xml"/><Relationship Id="rId7" Type="http://schemas.openxmlformats.org/officeDocument/2006/relationships/image" Target="../media/image11.emf"/><Relationship Id="rId2" Type="http://schemas.openxmlformats.org/officeDocument/2006/relationships/tags" Target="../tags/tag548.xml"/><Relationship Id="rId1" Type="http://schemas.openxmlformats.org/officeDocument/2006/relationships/vmlDrawing" Target="../drawings/vmlDrawing281.vml"/><Relationship Id="rId6" Type="http://schemas.openxmlformats.org/officeDocument/2006/relationships/image" Target="../media/image1.emf"/><Relationship Id="rId11" Type="http://schemas.openxmlformats.org/officeDocument/2006/relationships/image" Target="../media/image14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13.emf"/></Relationships>
</file>

<file path=ppt/slideLayouts/_rels/slideLayout4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51.xml"/><Relationship Id="rId7" Type="http://schemas.openxmlformats.org/officeDocument/2006/relationships/image" Target="../media/image11.emf"/><Relationship Id="rId2" Type="http://schemas.openxmlformats.org/officeDocument/2006/relationships/tags" Target="../tags/tag550.xml"/><Relationship Id="rId1" Type="http://schemas.openxmlformats.org/officeDocument/2006/relationships/vmlDrawing" Target="../drawings/vmlDrawing2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1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10.emf"/><Relationship Id="rId2" Type="http://schemas.openxmlformats.org/officeDocument/2006/relationships/tags" Target="../tags/tag98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53.xml"/><Relationship Id="rId7" Type="http://schemas.openxmlformats.org/officeDocument/2006/relationships/image" Target="../media/image11.emf"/><Relationship Id="rId2" Type="http://schemas.openxmlformats.org/officeDocument/2006/relationships/tags" Target="../tags/tag552.xml"/><Relationship Id="rId1" Type="http://schemas.openxmlformats.org/officeDocument/2006/relationships/vmlDrawing" Target="../drawings/vmlDrawing283.vml"/><Relationship Id="rId6" Type="http://schemas.openxmlformats.org/officeDocument/2006/relationships/image" Target="../media/image1.emf"/><Relationship Id="rId11" Type="http://schemas.openxmlformats.org/officeDocument/2006/relationships/image" Target="../media/image13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12.emf"/></Relationships>
</file>

<file path=ppt/slideLayouts/_rels/slideLayout5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55.xml"/><Relationship Id="rId7" Type="http://schemas.openxmlformats.org/officeDocument/2006/relationships/image" Target="../media/image11.emf"/><Relationship Id="rId2" Type="http://schemas.openxmlformats.org/officeDocument/2006/relationships/tags" Target="../tags/tag554.xml"/><Relationship Id="rId1" Type="http://schemas.openxmlformats.org/officeDocument/2006/relationships/vmlDrawing" Target="../drawings/vmlDrawing2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12.emf"/></Relationships>
</file>

<file path=ppt/slideLayouts/_rels/slideLayout5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57.xml"/><Relationship Id="rId7" Type="http://schemas.openxmlformats.org/officeDocument/2006/relationships/image" Target="../media/image11.emf"/><Relationship Id="rId2" Type="http://schemas.openxmlformats.org/officeDocument/2006/relationships/tags" Target="../tags/tag556.xml"/><Relationship Id="rId1" Type="http://schemas.openxmlformats.org/officeDocument/2006/relationships/vmlDrawing" Target="../drawings/vmlDrawing2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12.emf"/></Relationships>
</file>

<file path=ppt/slideLayouts/_rels/slideLayout5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59.xml"/><Relationship Id="rId7" Type="http://schemas.openxmlformats.org/officeDocument/2006/relationships/image" Target="../media/image11.emf"/><Relationship Id="rId2" Type="http://schemas.openxmlformats.org/officeDocument/2006/relationships/tags" Target="../tags/tag558.xml"/><Relationship Id="rId1" Type="http://schemas.openxmlformats.org/officeDocument/2006/relationships/vmlDrawing" Target="../drawings/vmlDrawing2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12.emf"/></Relationships>
</file>

<file path=ppt/slideLayouts/_rels/slideLayout5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61.xml"/><Relationship Id="rId7" Type="http://schemas.openxmlformats.org/officeDocument/2006/relationships/image" Target="../media/image11.emf"/><Relationship Id="rId2" Type="http://schemas.openxmlformats.org/officeDocument/2006/relationships/tags" Target="../tags/tag560.xml"/><Relationship Id="rId1" Type="http://schemas.openxmlformats.org/officeDocument/2006/relationships/vmlDrawing" Target="../drawings/vmlDrawing2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12.emf"/></Relationships>
</file>

<file path=ppt/slideLayouts/_rels/slideLayout5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63.xml"/><Relationship Id="rId7" Type="http://schemas.openxmlformats.org/officeDocument/2006/relationships/image" Target="../media/image11.emf"/><Relationship Id="rId2" Type="http://schemas.openxmlformats.org/officeDocument/2006/relationships/tags" Target="../tags/tag562.xml"/><Relationship Id="rId1" Type="http://schemas.openxmlformats.org/officeDocument/2006/relationships/vmlDrawing" Target="../drawings/vmlDrawing2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12.emf"/></Relationships>
</file>

<file path=ppt/slideLayouts/_rels/slideLayout5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65.xml"/><Relationship Id="rId7" Type="http://schemas.openxmlformats.org/officeDocument/2006/relationships/image" Target="../media/image11.emf"/><Relationship Id="rId2" Type="http://schemas.openxmlformats.org/officeDocument/2006/relationships/tags" Target="../tags/tag564.xml"/><Relationship Id="rId1" Type="http://schemas.openxmlformats.org/officeDocument/2006/relationships/vmlDrawing" Target="../drawings/vmlDrawing2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14.emf"/></Relationships>
</file>

<file path=ppt/slideLayouts/_rels/slideLayout5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67.xml"/><Relationship Id="rId7" Type="http://schemas.openxmlformats.org/officeDocument/2006/relationships/image" Target="../media/image11.emf"/><Relationship Id="rId2" Type="http://schemas.openxmlformats.org/officeDocument/2006/relationships/tags" Target="../tags/tag566.xml"/><Relationship Id="rId1" Type="http://schemas.openxmlformats.org/officeDocument/2006/relationships/vmlDrawing" Target="../drawings/vmlDrawing2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12.emf"/></Relationships>
</file>

<file path=ppt/slideLayouts/_rels/slideLayout5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69.xml"/><Relationship Id="rId7" Type="http://schemas.openxmlformats.org/officeDocument/2006/relationships/image" Target="../media/image11.emf"/><Relationship Id="rId2" Type="http://schemas.openxmlformats.org/officeDocument/2006/relationships/tags" Target="../tags/tag568.xml"/><Relationship Id="rId1" Type="http://schemas.openxmlformats.org/officeDocument/2006/relationships/vmlDrawing" Target="../drawings/vmlDrawing2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14.emf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tags" Target="../tags/tag571.xml"/><Relationship Id="rId2" Type="http://schemas.openxmlformats.org/officeDocument/2006/relationships/tags" Target="../tags/tag570.xml"/><Relationship Id="rId1" Type="http://schemas.openxmlformats.org/officeDocument/2006/relationships/vmlDrawing" Target="../drawings/vmlDrawing2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10.emf"/><Relationship Id="rId2" Type="http://schemas.openxmlformats.org/officeDocument/2006/relationships/tags" Target="../tags/tag100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tags" Target="../tags/tag573.xml"/><Relationship Id="rId2" Type="http://schemas.openxmlformats.org/officeDocument/2006/relationships/tags" Target="../tags/tag572.xml"/><Relationship Id="rId1" Type="http://schemas.openxmlformats.org/officeDocument/2006/relationships/vmlDrawing" Target="../drawings/vmlDrawing2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7.xml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tags" Target="../tags/tag575.xml"/><Relationship Id="rId2" Type="http://schemas.openxmlformats.org/officeDocument/2006/relationships/tags" Target="../tags/tag574.xml"/><Relationship Id="rId1" Type="http://schemas.openxmlformats.org/officeDocument/2006/relationships/vmlDrawing" Target="../drawings/vmlDrawing2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7.xml"/></Relationships>
</file>

<file path=ppt/slideLayouts/_rels/slideLayout5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77.xml"/><Relationship Id="rId7" Type="http://schemas.openxmlformats.org/officeDocument/2006/relationships/image" Target="../media/image29.png"/><Relationship Id="rId2" Type="http://schemas.openxmlformats.org/officeDocument/2006/relationships/tags" Target="../tags/tag576.xml"/><Relationship Id="rId1" Type="http://schemas.openxmlformats.org/officeDocument/2006/relationships/vmlDrawing" Target="../drawings/vmlDrawing2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7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tags" Target="../tags/tag579.xml"/><Relationship Id="rId2" Type="http://schemas.openxmlformats.org/officeDocument/2006/relationships/tags" Target="../tags/tag578.xml"/><Relationship Id="rId1" Type="http://schemas.openxmlformats.org/officeDocument/2006/relationships/vmlDrawing" Target="../drawings/vmlDrawing2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7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81.xml"/><Relationship Id="rId7" Type="http://schemas.openxmlformats.org/officeDocument/2006/relationships/image" Target="../media/image29.png"/><Relationship Id="rId2" Type="http://schemas.openxmlformats.org/officeDocument/2006/relationships/tags" Target="../tags/tag580.xml"/><Relationship Id="rId1" Type="http://schemas.openxmlformats.org/officeDocument/2006/relationships/vmlDrawing" Target="../drawings/vmlDrawing2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7.xml"/></Relationships>
</file>

<file path=ppt/slideLayouts/_rels/slideLayout5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583.xml"/><Relationship Id="rId7" Type="http://schemas.openxmlformats.org/officeDocument/2006/relationships/image" Target="../media/image29.png"/><Relationship Id="rId2" Type="http://schemas.openxmlformats.org/officeDocument/2006/relationships/tags" Target="../tags/tag582.xml"/><Relationship Id="rId1" Type="http://schemas.openxmlformats.org/officeDocument/2006/relationships/vmlDrawing" Target="../drawings/vmlDrawing2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7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2.png"/><Relationship Id="rId2" Type="http://schemas.openxmlformats.org/officeDocument/2006/relationships/tags" Target="../tags/tag584.xml"/><Relationship Id="rId1" Type="http://schemas.openxmlformats.org/officeDocument/2006/relationships/vmlDrawing" Target="../drawings/vmlDrawing29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05.xml"/><Relationship Id="rId7" Type="http://schemas.openxmlformats.org/officeDocument/2006/relationships/image" Target="../media/image11.emf"/><Relationship Id="rId2" Type="http://schemas.openxmlformats.org/officeDocument/2006/relationships/tags" Target="../tags/tag10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emf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2.png"/><Relationship Id="rId2" Type="http://schemas.openxmlformats.org/officeDocument/2006/relationships/tags" Target="../tags/tag585.xml"/><Relationship Id="rId1" Type="http://schemas.openxmlformats.org/officeDocument/2006/relationships/vmlDrawing" Target="../drawings/vmlDrawing30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7.xml"/><Relationship Id="rId7" Type="http://schemas.microsoft.com/office/2007/relationships/hdphoto" Target="../media/hdphoto1.wdp"/><Relationship Id="rId2" Type="http://schemas.openxmlformats.org/officeDocument/2006/relationships/tags" Target="../tags/tag586.xml"/><Relationship Id="rId1" Type="http://schemas.openxmlformats.org/officeDocument/2006/relationships/vmlDrawing" Target="../drawings/vmlDrawing301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Relationship Id="rId9" Type="http://schemas.openxmlformats.org/officeDocument/2006/relationships/image" Target="../media/image2.png"/></Relationships>
</file>

<file path=ppt/slideLayouts/_rels/slideLayout5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90.xml"/><Relationship Id="rId7" Type="http://schemas.openxmlformats.org/officeDocument/2006/relationships/image" Target="../media/image4.png"/><Relationship Id="rId2" Type="http://schemas.openxmlformats.org/officeDocument/2006/relationships/tags" Target="../tags/tag589.xml"/><Relationship Id="rId1" Type="http://schemas.openxmlformats.org/officeDocument/2006/relationships/vmlDrawing" Target="../drawings/vmlDrawing3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8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tags" Target="../tags/tag592.xml"/><Relationship Id="rId2" Type="http://schemas.openxmlformats.org/officeDocument/2006/relationships/tags" Target="../tags/tag591.xml"/><Relationship Id="rId1" Type="http://schemas.openxmlformats.org/officeDocument/2006/relationships/vmlDrawing" Target="../drawings/vmlDrawing3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94.xml"/><Relationship Id="rId7" Type="http://schemas.openxmlformats.org/officeDocument/2006/relationships/image" Target="../media/image1.emf"/><Relationship Id="rId2" Type="http://schemas.openxmlformats.org/officeDocument/2006/relationships/tags" Target="../tags/tag593.xml"/><Relationship Id="rId1" Type="http://schemas.openxmlformats.org/officeDocument/2006/relationships/vmlDrawing" Target="../drawings/vmlDrawing305.vml"/><Relationship Id="rId6" Type="http://schemas.openxmlformats.org/officeDocument/2006/relationships/oleObject" Target="../embeddings/oleObject44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8.xml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95.xml"/><Relationship Id="rId1" Type="http://schemas.openxmlformats.org/officeDocument/2006/relationships/vmlDrawing" Target="../drawings/vmlDrawing30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tags" Target="../tags/tag597.xml"/><Relationship Id="rId7" Type="http://schemas.openxmlformats.org/officeDocument/2006/relationships/image" Target="../media/image2.png"/><Relationship Id="rId2" Type="http://schemas.openxmlformats.org/officeDocument/2006/relationships/tags" Target="../tags/tag596.xml"/><Relationship Id="rId1" Type="http://schemas.openxmlformats.org/officeDocument/2006/relationships/vmlDrawing" Target="../drawings/vmlDrawing3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8.xml"/></Relationships>
</file>

<file path=ppt/slideLayouts/_rels/slideLayout537.xml.rels><?xml version="1.0" encoding="UTF-8" standalone="yes"?>
<Relationships xmlns="http://schemas.openxmlformats.org/package/2006/relationships"><Relationship Id="rId3" Type="http://schemas.openxmlformats.org/officeDocument/2006/relationships/tags" Target="../tags/tag599.xml"/><Relationship Id="rId7" Type="http://schemas.openxmlformats.org/officeDocument/2006/relationships/image" Target="../media/image6.png"/><Relationship Id="rId2" Type="http://schemas.openxmlformats.org/officeDocument/2006/relationships/tags" Target="../tags/tag598.xml"/><Relationship Id="rId1" Type="http://schemas.openxmlformats.org/officeDocument/2006/relationships/vmlDrawing" Target="../drawings/vmlDrawing3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8.xml"/></Relationships>
</file>

<file path=ppt/slideLayouts/_rels/slideLayout5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01.xml"/><Relationship Id="rId7" Type="http://schemas.openxmlformats.org/officeDocument/2006/relationships/image" Target="../media/image1.emf"/><Relationship Id="rId2" Type="http://schemas.openxmlformats.org/officeDocument/2006/relationships/tags" Target="../tags/tag600.xml"/><Relationship Id="rId1" Type="http://schemas.openxmlformats.org/officeDocument/2006/relationships/vmlDrawing" Target="../drawings/vmlDrawing309.vml"/><Relationship Id="rId6" Type="http://schemas.openxmlformats.org/officeDocument/2006/relationships/oleObject" Target="../embeddings/oleObject48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8.xml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07.xml"/><Relationship Id="rId7" Type="http://schemas.openxmlformats.org/officeDocument/2006/relationships/image" Target="../media/image11.emf"/><Relationship Id="rId2" Type="http://schemas.openxmlformats.org/officeDocument/2006/relationships/tags" Target="../tags/tag106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11" Type="http://schemas.openxmlformats.org/officeDocument/2006/relationships/image" Target="../media/image14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3.emf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tags" Target="../tags/tag603.xml"/><Relationship Id="rId2" Type="http://schemas.openxmlformats.org/officeDocument/2006/relationships/tags" Target="../tags/tag602.xml"/><Relationship Id="rId1" Type="http://schemas.openxmlformats.org/officeDocument/2006/relationships/vmlDrawing" Target="../drawings/vmlDrawing3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8.xml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tags" Target="../tags/tag605.xml"/><Relationship Id="rId7" Type="http://schemas.openxmlformats.org/officeDocument/2006/relationships/image" Target="../media/image2.png"/><Relationship Id="rId2" Type="http://schemas.openxmlformats.org/officeDocument/2006/relationships/tags" Target="../tags/tag604.xml"/><Relationship Id="rId1" Type="http://schemas.openxmlformats.org/officeDocument/2006/relationships/vmlDrawing" Target="../drawings/vmlDrawing3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8.xml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tags" Target="../tags/tag607.xml"/><Relationship Id="rId7" Type="http://schemas.openxmlformats.org/officeDocument/2006/relationships/image" Target="../media/image2.png"/><Relationship Id="rId2" Type="http://schemas.openxmlformats.org/officeDocument/2006/relationships/tags" Target="../tags/tag606.xml"/><Relationship Id="rId1" Type="http://schemas.openxmlformats.org/officeDocument/2006/relationships/vmlDrawing" Target="../drawings/vmlDrawing3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8.xml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tags" Target="../tags/tag609.xml"/><Relationship Id="rId7" Type="http://schemas.openxmlformats.org/officeDocument/2006/relationships/image" Target="../media/image2.png"/><Relationship Id="rId2" Type="http://schemas.openxmlformats.org/officeDocument/2006/relationships/tags" Target="../tags/tag608.xml"/><Relationship Id="rId1" Type="http://schemas.openxmlformats.org/officeDocument/2006/relationships/vmlDrawing" Target="../drawings/vmlDrawing3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8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tags" Target="../tags/tag611.xml"/><Relationship Id="rId7" Type="http://schemas.openxmlformats.org/officeDocument/2006/relationships/image" Target="../media/image2.png"/><Relationship Id="rId2" Type="http://schemas.openxmlformats.org/officeDocument/2006/relationships/tags" Target="../tags/tag610.xml"/><Relationship Id="rId1" Type="http://schemas.openxmlformats.org/officeDocument/2006/relationships/vmlDrawing" Target="../drawings/vmlDrawing3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8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tags" Target="../tags/tag613.xml"/><Relationship Id="rId2" Type="http://schemas.openxmlformats.org/officeDocument/2006/relationships/tags" Target="../tags/tag612.xml"/><Relationship Id="rId1" Type="http://schemas.openxmlformats.org/officeDocument/2006/relationships/vmlDrawing" Target="../drawings/vmlDrawing3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tags" Target="../tags/tag615.xml"/><Relationship Id="rId2" Type="http://schemas.openxmlformats.org/officeDocument/2006/relationships/tags" Target="../tags/tag614.xml"/><Relationship Id="rId1" Type="http://schemas.openxmlformats.org/officeDocument/2006/relationships/vmlDrawing" Target="../drawings/vmlDrawing3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tags" Target="../tags/tag617.xml"/><Relationship Id="rId7" Type="http://schemas.openxmlformats.org/officeDocument/2006/relationships/image" Target="../media/image3.emf"/><Relationship Id="rId2" Type="http://schemas.openxmlformats.org/officeDocument/2006/relationships/tags" Target="../tags/tag616.xml"/><Relationship Id="rId1" Type="http://schemas.openxmlformats.org/officeDocument/2006/relationships/vmlDrawing" Target="../drawings/vmlDrawing3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tags" Target="../tags/tag619.xml"/><Relationship Id="rId7" Type="http://schemas.openxmlformats.org/officeDocument/2006/relationships/image" Target="../media/image3.emf"/><Relationship Id="rId2" Type="http://schemas.openxmlformats.org/officeDocument/2006/relationships/tags" Target="../tags/tag618.xml"/><Relationship Id="rId1" Type="http://schemas.openxmlformats.org/officeDocument/2006/relationships/vmlDrawing" Target="../drawings/vmlDrawing3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tags" Target="../tags/tag621.xml"/><Relationship Id="rId7" Type="http://schemas.openxmlformats.org/officeDocument/2006/relationships/image" Target="../media/image3.emf"/><Relationship Id="rId2" Type="http://schemas.openxmlformats.org/officeDocument/2006/relationships/tags" Target="../tags/tag620.xml"/><Relationship Id="rId1" Type="http://schemas.openxmlformats.org/officeDocument/2006/relationships/vmlDrawing" Target="../drawings/vmlDrawing3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09.xml"/><Relationship Id="rId7" Type="http://schemas.openxmlformats.org/officeDocument/2006/relationships/image" Target="../media/image11.emf"/><Relationship Id="rId2" Type="http://schemas.openxmlformats.org/officeDocument/2006/relationships/tags" Target="../tags/tag108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emf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tags" Target="../tags/tag623.xml"/><Relationship Id="rId7" Type="http://schemas.openxmlformats.org/officeDocument/2006/relationships/image" Target="../media/image3.emf"/><Relationship Id="rId2" Type="http://schemas.openxmlformats.org/officeDocument/2006/relationships/tags" Target="../tags/tag622.xml"/><Relationship Id="rId1" Type="http://schemas.openxmlformats.org/officeDocument/2006/relationships/vmlDrawing" Target="../drawings/vmlDrawing3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tags" Target="../tags/tag625.xml"/><Relationship Id="rId7" Type="http://schemas.openxmlformats.org/officeDocument/2006/relationships/image" Target="../media/image2.png"/><Relationship Id="rId2" Type="http://schemas.openxmlformats.org/officeDocument/2006/relationships/tags" Target="../tags/tag624.xml"/><Relationship Id="rId1" Type="http://schemas.openxmlformats.org/officeDocument/2006/relationships/vmlDrawing" Target="../drawings/vmlDrawing3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27.xml"/><Relationship Id="rId7" Type="http://schemas.openxmlformats.org/officeDocument/2006/relationships/image" Target="../media/image9.emf"/><Relationship Id="rId2" Type="http://schemas.openxmlformats.org/officeDocument/2006/relationships/tags" Target="../tags/tag626.xml"/><Relationship Id="rId1" Type="http://schemas.openxmlformats.org/officeDocument/2006/relationships/vmlDrawing" Target="../drawings/vmlDrawing3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29.xml"/><Relationship Id="rId7" Type="http://schemas.openxmlformats.org/officeDocument/2006/relationships/image" Target="../media/image9.emf"/><Relationship Id="rId2" Type="http://schemas.openxmlformats.org/officeDocument/2006/relationships/tags" Target="../tags/tag628.xml"/><Relationship Id="rId1" Type="http://schemas.openxmlformats.org/officeDocument/2006/relationships/vmlDrawing" Target="../drawings/vmlDrawing3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31.xml"/><Relationship Id="rId7" Type="http://schemas.openxmlformats.org/officeDocument/2006/relationships/image" Target="../media/image9.emf"/><Relationship Id="rId2" Type="http://schemas.openxmlformats.org/officeDocument/2006/relationships/tags" Target="../tags/tag630.xml"/><Relationship Id="rId1" Type="http://schemas.openxmlformats.org/officeDocument/2006/relationships/vmlDrawing" Target="../drawings/vmlDrawing3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33.xml"/><Relationship Id="rId7" Type="http://schemas.openxmlformats.org/officeDocument/2006/relationships/image" Target="../media/image9.emf"/><Relationship Id="rId2" Type="http://schemas.openxmlformats.org/officeDocument/2006/relationships/tags" Target="../tags/tag632.xml"/><Relationship Id="rId1" Type="http://schemas.openxmlformats.org/officeDocument/2006/relationships/vmlDrawing" Target="../drawings/vmlDrawing3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35.xml"/><Relationship Id="rId7" Type="http://schemas.openxmlformats.org/officeDocument/2006/relationships/image" Target="../media/image9.emf"/><Relationship Id="rId2" Type="http://schemas.openxmlformats.org/officeDocument/2006/relationships/tags" Target="../tags/tag634.xml"/><Relationship Id="rId1" Type="http://schemas.openxmlformats.org/officeDocument/2006/relationships/vmlDrawing" Target="../drawings/vmlDrawing3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tags" Target="../tags/tag637.xml"/><Relationship Id="rId7" Type="http://schemas.openxmlformats.org/officeDocument/2006/relationships/image" Target="../media/image9.emf"/><Relationship Id="rId2" Type="http://schemas.openxmlformats.org/officeDocument/2006/relationships/tags" Target="../tags/tag636.xml"/><Relationship Id="rId1" Type="http://schemas.openxmlformats.org/officeDocument/2006/relationships/vmlDrawing" Target="../drawings/vmlDrawing3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tags" Target="../tags/tag639.xml"/><Relationship Id="rId7" Type="http://schemas.openxmlformats.org/officeDocument/2006/relationships/image" Target="../media/image9.emf"/><Relationship Id="rId2" Type="http://schemas.openxmlformats.org/officeDocument/2006/relationships/tags" Target="../tags/tag638.xml"/><Relationship Id="rId1" Type="http://schemas.openxmlformats.org/officeDocument/2006/relationships/vmlDrawing" Target="../drawings/vmlDrawing3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tags" Target="../tags/tag641.xml"/><Relationship Id="rId7" Type="http://schemas.openxmlformats.org/officeDocument/2006/relationships/image" Target="../media/image2.png"/><Relationship Id="rId2" Type="http://schemas.openxmlformats.org/officeDocument/2006/relationships/tags" Target="../tags/tag640.xml"/><Relationship Id="rId1" Type="http://schemas.openxmlformats.org/officeDocument/2006/relationships/vmlDrawing" Target="../drawings/vmlDrawing3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1.xml"/><Relationship Id="rId7" Type="http://schemas.openxmlformats.org/officeDocument/2006/relationships/image" Target="../media/image11.emf"/><Relationship Id="rId2" Type="http://schemas.openxmlformats.org/officeDocument/2006/relationships/tags" Target="../tags/tag110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11" Type="http://schemas.openxmlformats.org/officeDocument/2006/relationships/image" Target="../media/image13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emf"/></Relationships>
</file>

<file path=ppt/slideLayouts/_rels/slideLayout5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43.xml"/><Relationship Id="rId7" Type="http://schemas.openxmlformats.org/officeDocument/2006/relationships/image" Target="../media/image1.emf"/><Relationship Id="rId2" Type="http://schemas.openxmlformats.org/officeDocument/2006/relationships/tags" Target="../tags/tag642.xml"/><Relationship Id="rId1" Type="http://schemas.openxmlformats.org/officeDocument/2006/relationships/vmlDrawing" Target="../drawings/vmlDrawing330.vml"/><Relationship Id="rId6" Type="http://schemas.openxmlformats.org/officeDocument/2006/relationships/oleObject" Target="../embeddings/oleObject43.bin"/><Relationship Id="rId5" Type="http://schemas.openxmlformats.org/officeDocument/2006/relationships/image" Target="../media/image10.emf"/><Relationship Id="rId4" Type="http://schemas.openxmlformats.org/officeDocument/2006/relationships/slideMaster" Target="../slideMasters/slideMaster8.xml"/></Relationships>
</file>

<file path=ppt/slideLayouts/_rels/slideLayout5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45.xml"/><Relationship Id="rId7" Type="http://schemas.openxmlformats.org/officeDocument/2006/relationships/image" Target="../media/image10.emf"/><Relationship Id="rId2" Type="http://schemas.openxmlformats.org/officeDocument/2006/relationships/tags" Target="../tags/tag644.xml"/><Relationship Id="rId1" Type="http://schemas.openxmlformats.org/officeDocument/2006/relationships/vmlDrawing" Target="../drawings/vmlDrawing3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47.xml"/><Relationship Id="rId7" Type="http://schemas.openxmlformats.org/officeDocument/2006/relationships/image" Target="../media/image10.emf"/><Relationship Id="rId2" Type="http://schemas.openxmlformats.org/officeDocument/2006/relationships/tags" Target="../tags/tag646.xml"/><Relationship Id="rId1" Type="http://schemas.openxmlformats.org/officeDocument/2006/relationships/vmlDrawing" Target="../drawings/vmlDrawing3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49.xml"/><Relationship Id="rId7" Type="http://schemas.openxmlformats.org/officeDocument/2006/relationships/image" Target="../media/image10.emf"/><Relationship Id="rId2" Type="http://schemas.openxmlformats.org/officeDocument/2006/relationships/tags" Target="../tags/tag648.xml"/><Relationship Id="rId1" Type="http://schemas.openxmlformats.org/officeDocument/2006/relationships/vmlDrawing" Target="../drawings/vmlDrawing3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51.xml"/><Relationship Id="rId7" Type="http://schemas.openxmlformats.org/officeDocument/2006/relationships/image" Target="../media/image10.emf"/><Relationship Id="rId2" Type="http://schemas.openxmlformats.org/officeDocument/2006/relationships/tags" Target="../tags/tag650.xml"/><Relationship Id="rId1" Type="http://schemas.openxmlformats.org/officeDocument/2006/relationships/vmlDrawing" Target="../drawings/vmlDrawing3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653.xml"/><Relationship Id="rId7" Type="http://schemas.openxmlformats.org/officeDocument/2006/relationships/image" Target="../media/image9.emf"/><Relationship Id="rId2" Type="http://schemas.openxmlformats.org/officeDocument/2006/relationships/tags" Target="../tags/tag652.xml"/><Relationship Id="rId1" Type="http://schemas.openxmlformats.org/officeDocument/2006/relationships/vmlDrawing" Target="../drawings/vmlDrawing3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tags" Target="../tags/tag655.xml"/><Relationship Id="rId7" Type="http://schemas.openxmlformats.org/officeDocument/2006/relationships/image" Target="../media/image10.emf"/><Relationship Id="rId2" Type="http://schemas.openxmlformats.org/officeDocument/2006/relationships/tags" Target="../tags/tag654.xml"/><Relationship Id="rId1" Type="http://schemas.openxmlformats.org/officeDocument/2006/relationships/vmlDrawing" Target="../drawings/vmlDrawing3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tags" Target="../tags/tag657.xml"/><Relationship Id="rId7" Type="http://schemas.openxmlformats.org/officeDocument/2006/relationships/image" Target="../media/image2.png"/><Relationship Id="rId2" Type="http://schemas.openxmlformats.org/officeDocument/2006/relationships/tags" Target="../tags/tag656.xml"/><Relationship Id="rId1" Type="http://schemas.openxmlformats.org/officeDocument/2006/relationships/vmlDrawing" Target="../drawings/vmlDrawing3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659.xml"/><Relationship Id="rId7" Type="http://schemas.openxmlformats.org/officeDocument/2006/relationships/image" Target="../media/image2.png"/><Relationship Id="rId2" Type="http://schemas.openxmlformats.org/officeDocument/2006/relationships/tags" Target="../tags/tag658.xml"/><Relationship Id="rId1" Type="http://schemas.openxmlformats.org/officeDocument/2006/relationships/vmlDrawing" Target="../drawings/vmlDrawing3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61.xml"/><Relationship Id="rId7" Type="http://schemas.openxmlformats.org/officeDocument/2006/relationships/image" Target="../media/image10.emf"/><Relationship Id="rId2" Type="http://schemas.openxmlformats.org/officeDocument/2006/relationships/tags" Target="../tags/tag660.xml"/><Relationship Id="rId1" Type="http://schemas.openxmlformats.org/officeDocument/2006/relationships/vmlDrawing" Target="../drawings/vmlDrawing3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3.xml"/><Relationship Id="rId7" Type="http://schemas.openxmlformats.org/officeDocument/2006/relationships/image" Target="../media/image11.emf"/><Relationship Id="rId2" Type="http://schemas.openxmlformats.org/officeDocument/2006/relationships/tags" Target="../tags/tag112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emf"/></Relationships>
</file>

<file path=ppt/slideLayouts/_rels/slideLayout5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63.xml"/><Relationship Id="rId7" Type="http://schemas.openxmlformats.org/officeDocument/2006/relationships/image" Target="../media/image10.emf"/><Relationship Id="rId2" Type="http://schemas.openxmlformats.org/officeDocument/2006/relationships/tags" Target="../tags/tag662.xml"/><Relationship Id="rId1" Type="http://schemas.openxmlformats.org/officeDocument/2006/relationships/vmlDrawing" Target="../drawings/vmlDrawing3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65.xml"/><Relationship Id="rId7" Type="http://schemas.openxmlformats.org/officeDocument/2006/relationships/image" Target="../media/image10.emf"/><Relationship Id="rId2" Type="http://schemas.openxmlformats.org/officeDocument/2006/relationships/tags" Target="../tags/tag664.xml"/><Relationship Id="rId1" Type="http://schemas.openxmlformats.org/officeDocument/2006/relationships/vmlDrawing" Target="../drawings/vmlDrawing3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67.xml"/><Relationship Id="rId7" Type="http://schemas.openxmlformats.org/officeDocument/2006/relationships/image" Target="../media/image10.emf"/><Relationship Id="rId2" Type="http://schemas.openxmlformats.org/officeDocument/2006/relationships/tags" Target="../tags/tag666.xml"/><Relationship Id="rId1" Type="http://schemas.openxmlformats.org/officeDocument/2006/relationships/vmlDrawing" Target="../drawings/vmlDrawing3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tags" Target="../tags/tag669.xml"/><Relationship Id="rId7" Type="http://schemas.openxmlformats.org/officeDocument/2006/relationships/image" Target="../media/image10.emf"/><Relationship Id="rId2" Type="http://schemas.openxmlformats.org/officeDocument/2006/relationships/tags" Target="../tags/tag668.xml"/><Relationship Id="rId1" Type="http://schemas.openxmlformats.org/officeDocument/2006/relationships/vmlDrawing" Target="../drawings/vmlDrawing3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tags" Target="../tags/tag671.xml"/><Relationship Id="rId7" Type="http://schemas.openxmlformats.org/officeDocument/2006/relationships/image" Target="../media/image10.emf"/><Relationship Id="rId2" Type="http://schemas.openxmlformats.org/officeDocument/2006/relationships/tags" Target="../tags/tag670.xml"/><Relationship Id="rId1" Type="http://schemas.openxmlformats.org/officeDocument/2006/relationships/vmlDrawing" Target="../drawings/vmlDrawing3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tags" Target="../tags/tag673.xml"/><Relationship Id="rId7" Type="http://schemas.openxmlformats.org/officeDocument/2006/relationships/image" Target="../media/image2.png"/><Relationship Id="rId2" Type="http://schemas.openxmlformats.org/officeDocument/2006/relationships/tags" Target="../tags/tag672.xml"/><Relationship Id="rId1" Type="http://schemas.openxmlformats.org/officeDocument/2006/relationships/vmlDrawing" Target="../drawings/vmlDrawing3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675.xml"/><Relationship Id="rId7" Type="http://schemas.openxmlformats.org/officeDocument/2006/relationships/image" Target="../media/image2.png"/><Relationship Id="rId2" Type="http://schemas.openxmlformats.org/officeDocument/2006/relationships/tags" Target="../tags/tag674.xml"/><Relationship Id="rId1" Type="http://schemas.openxmlformats.org/officeDocument/2006/relationships/vmlDrawing" Target="../drawings/vmlDrawing3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77.xml"/><Relationship Id="rId7" Type="http://schemas.openxmlformats.org/officeDocument/2006/relationships/image" Target="../media/image10.emf"/><Relationship Id="rId2" Type="http://schemas.openxmlformats.org/officeDocument/2006/relationships/tags" Target="../tags/tag676.xml"/><Relationship Id="rId1" Type="http://schemas.openxmlformats.org/officeDocument/2006/relationships/vmlDrawing" Target="../drawings/vmlDrawing3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79.xml"/><Relationship Id="rId7" Type="http://schemas.openxmlformats.org/officeDocument/2006/relationships/image" Target="../media/image10.emf"/><Relationship Id="rId2" Type="http://schemas.openxmlformats.org/officeDocument/2006/relationships/tags" Target="../tags/tag678.xml"/><Relationship Id="rId1" Type="http://schemas.openxmlformats.org/officeDocument/2006/relationships/vmlDrawing" Target="../drawings/vmlDrawing3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81.xml"/><Relationship Id="rId7" Type="http://schemas.openxmlformats.org/officeDocument/2006/relationships/image" Target="../media/image10.emf"/><Relationship Id="rId2" Type="http://schemas.openxmlformats.org/officeDocument/2006/relationships/tags" Target="../tags/tag680.xml"/><Relationship Id="rId1" Type="http://schemas.openxmlformats.org/officeDocument/2006/relationships/vmlDrawing" Target="../drawings/vmlDrawing3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5.xml"/><Relationship Id="rId7" Type="http://schemas.openxmlformats.org/officeDocument/2006/relationships/image" Target="../media/image11.emf"/><Relationship Id="rId2" Type="http://schemas.openxmlformats.org/officeDocument/2006/relationships/tags" Target="../tags/tag114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emf"/></Relationships>
</file>

<file path=ppt/slideLayouts/_rels/slideLayout5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83.xml"/><Relationship Id="rId7" Type="http://schemas.openxmlformats.org/officeDocument/2006/relationships/image" Target="../media/image10.emf"/><Relationship Id="rId2" Type="http://schemas.openxmlformats.org/officeDocument/2006/relationships/tags" Target="../tags/tag682.xml"/><Relationship Id="rId1" Type="http://schemas.openxmlformats.org/officeDocument/2006/relationships/vmlDrawing" Target="../drawings/vmlDrawing3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tags" Target="../tags/tag685.xml"/><Relationship Id="rId7" Type="http://schemas.openxmlformats.org/officeDocument/2006/relationships/image" Target="../media/image10.emf"/><Relationship Id="rId2" Type="http://schemas.openxmlformats.org/officeDocument/2006/relationships/tags" Target="../tags/tag684.xml"/><Relationship Id="rId1" Type="http://schemas.openxmlformats.org/officeDocument/2006/relationships/vmlDrawing" Target="../drawings/vmlDrawing3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tags" Target="../tags/tag687.xml"/><Relationship Id="rId7" Type="http://schemas.openxmlformats.org/officeDocument/2006/relationships/image" Target="../media/image10.emf"/><Relationship Id="rId2" Type="http://schemas.openxmlformats.org/officeDocument/2006/relationships/tags" Target="../tags/tag686.xml"/><Relationship Id="rId1" Type="http://schemas.openxmlformats.org/officeDocument/2006/relationships/vmlDrawing" Target="../drawings/vmlDrawing3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583.xml.rels><?xml version="1.0" encoding="UTF-8" standalone="yes"?>
<Relationships xmlns="http://schemas.openxmlformats.org/package/2006/relationships"><Relationship Id="rId3" Type="http://schemas.openxmlformats.org/officeDocument/2006/relationships/tags" Target="../tags/tag689.xml"/><Relationship Id="rId2" Type="http://schemas.openxmlformats.org/officeDocument/2006/relationships/tags" Target="../tags/tag688.xml"/><Relationship Id="rId1" Type="http://schemas.openxmlformats.org/officeDocument/2006/relationships/vmlDrawing" Target="../drawings/vmlDrawing3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8.xml"/></Relationships>
</file>

<file path=ppt/slideLayouts/_rels/slideLayout5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691.xml"/><Relationship Id="rId7" Type="http://schemas.openxmlformats.org/officeDocument/2006/relationships/image" Target="../media/image11.emf"/><Relationship Id="rId2" Type="http://schemas.openxmlformats.org/officeDocument/2006/relationships/tags" Target="../tags/tag690.xml"/><Relationship Id="rId1" Type="http://schemas.openxmlformats.org/officeDocument/2006/relationships/vmlDrawing" Target="../drawings/vmlDrawing3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2.emf"/></Relationships>
</file>

<file path=ppt/slideLayouts/_rels/slideLayout5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693.xml"/><Relationship Id="rId7" Type="http://schemas.openxmlformats.org/officeDocument/2006/relationships/image" Target="../media/image11.emf"/><Relationship Id="rId2" Type="http://schemas.openxmlformats.org/officeDocument/2006/relationships/tags" Target="../tags/tag692.xml"/><Relationship Id="rId1" Type="http://schemas.openxmlformats.org/officeDocument/2006/relationships/vmlDrawing" Target="../drawings/vmlDrawing355.vml"/><Relationship Id="rId6" Type="http://schemas.openxmlformats.org/officeDocument/2006/relationships/image" Target="../media/image1.emf"/><Relationship Id="rId11" Type="http://schemas.openxmlformats.org/officeDocument/2006/relationships/image" Target="../media/image14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3.emf"/></Relationships>
</file>

<file path=ppt/slideLayouts/_rels/slideLayout5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695.xml"/><Relationship Id="rId7" Type="http://schemas.openxmlformats.org/officeDocument/2006/relationships/image" Target="../media/image11.emf"/><Relationship Id="rId2" Type="http://schemas.openxmlformats.org/officeDocument/2006/relationships/tags" Target="../tags/tag694.xml"/><Relationship Id="rId1" Type="http://schemas.openxmlformats.org/officeDocument/2006/relationships/vmlDrawing" Target="../drawings/vmlDrawing3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2.emf"/></Relationships>
</file>

<file path=ppt/slideLayouts/_rels/slideLayout5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697.xml"/><Relationship Id="rId7" Type="http://schemas.openxmlformats.org/officeDocument/2006/relationships/image" Target="../media/image11.emf"/><Relationship Id="rId2" Type="http://schemas.openxmlformats.org/officeDocument/2006/relationships/tags" Target="../tags/tag696.xml"/><Relationship Id="rId1" Type="http://schemas.openxmlformats.org/officeDocument/2006/relationships/vmlDrawing" Target="../drawings/vmlDrawing357.vml"/><Relationship Id="rId6" Type="http://schemas.openxmlformats.org/officeDocument/2006/relationships/image" Target="../media/image1.emf"/><Relationship Id="rId11" Type="http://schemas.openxmlformats.org/officeDocument/2006/relationships/image" Target="../media/image13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2.emf"/></Relationships>
</file>

<file path=ppt/slideLayouts/_rels/slideLayout5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699.xml"/><Relationship Id="rId7" Type="http://schemas.openxmlformats.org/officeDocument/2006/relationships/image" Target="../media/image11.emf"/><Relationship Id="rId2" Type="http://schemas.openxmlformats.org/officeDocument/2006/relationships/tags" Target="../tags/tag698.xml"/><Relationship Id="rId1" Type="http://schemas.openxmlformats.org/officeDocument/2006/relationships/vmlDrawing" Target="../drawings/vmlDrawing3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2.emf"/></Relationships>
</file>

<file path=ppt/slideLayouts/_rels/slideLayout5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01.xml"/><Relationship Id="rId7" Type="http://schemas.openxmlformats.org/officeDocument/2006/relationships/image" Target="../media/image11.emf"/><Relationship Id="rId2" Type="http://schemas.openxmlformats.org/officeDocument/2006/relationships/tags" Target="../tags/tag700.xml"/><Relationship Id="rId1" Type="http://schemas.openxmlformats.org/officeDocument/2006/relationships/vmlDrawing" Target="../drawings/vmlDrawing3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2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7.xml"/><Relationship Id="rId7" Type="http://schemas.openxmlformats.org/officeDocument/2006/relationships/image" Target="../media/image11.emf"/><Relationship Id="rId2" Type="http://schemas.openxmlformats.org/officeDocument/2006/relationships/tags" Target="../tags/tag116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emf"/></Relationships>
</file>

<file path=ppt/slideLayouts/_rels/slideLayout5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03.xml"/><Relationship Id="rId7" Type="http://schemas.openxmlformats.org/officeDocument/2006/relationships/image" Target="../media/image11.emf"/><Relationship Id="rId2" Type="http://schemas.openxmlformats.org/officeDocument/2006/relationships/tags" Target="../tags/tag702.xml"/><Relationship Id="rId1" Type="http://schemas.openxmlformats.org/officeDocument/2006/relationships/vmlDrawing" Target="../drawings/vmlDrawing3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2.emf"/></Relationships>
</file>

<file path=ppt/slideLayouts/_rels/slideLayout5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05.xml"/><Relationship Id="rId7" Type="http://schemas.openxmlformats.org/officeDocument/2006/relationships/image" Target="../media/image11.emf"/><Relationship Id="rId2" Type="http://schemas.openxmlformats.org/officeDocument/2006/relationships/tags" Target="../tags/tag704.xml"/><Relationship Id="rId1" Type="http://schemas.openxmlformats.org/officeDocument/2006/relationships/vmlDrawing" Target="../drawings/vmlDrawing3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2.emf"/></Relationships>
</file>

<file path=ppt/slideLayouts/_rels/slideLayout5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07.xml"/><Relationship Id="rId7" Type="http://schemas.openxmlformats.org/officeDocument/2006/relationships/image" Target="../media/image11.emf"/><Relationship Id="rId2" Type="http://schemas.openxmlformats.org/officeDocument/2006/relationships/tags" Target="../tags/tag706.xml"/><Relationship Id="rId1" Type="http://schemas.openxmlformats.org/officeDocument/2006/relationships/vmlDrawing" Target="../drawings/vmlDrawing3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2.emf"/></Relationships>
</file>

<file path=ppt/slideLayouts/_rels/slideLayout5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09.xml"/><Relationship Id="rId7" Type="http://schemas.openxmlformats.org/officeDocument/2006/relationships/image" Target="../media/image11.emf"/><Relationship Id="rId2" Type="http://schemas.openxmlformats.org/officeDocument/2006/relationships/tags" Target="../tags/tag708.xml"/><Relationship Id="rId1" Type="http://schemas.openxmlformats.org/officeDocument/2006/relationships/vmlDrawing" Target="../drawings/vmlDrawing3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4.emf"/></Relationships>
</file>

<file path=ppt/slideLayouts/_rels/slideLayout5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11.xml"/><Relationship Id="rId7" Type="http://schemas.openxmlformats.org/officeDocument/2006/relationships/image" Target="../media/image11.emf"/><Relationship Id="rId2" Type="http://schemas.openxmlformats.org/officeDocument/2006/relationships/tags" Target="../tags/tag710.xml"/><Relationship Id="rId1" Type="http://schemas.openxmlformats.org/officeDocument/2006/relationships/vmlDrawing" Target="../drawings/vmlDrawing3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2.emf"/></Relationships>
</file>

<file path=ppt/slideLayouts/_rels/slideLayout5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13.xml"/><Relationship Id="rId7" Type="http://schemas.openxmlformats.org/officeDocument/2006/relationships/image" Target="../media/image11.emf"/><Relationship Id="rId2" Type="http://schemas.openxmlformats.org/officeDocument/2006/relationships/tags" Target="../tags/tag712.xml"/><Relationship Id="rId1" Type="http://schemas.openxmlformats.org/officeDocument/2006/relationships/vmlDrawing" Target="../drawings/vmlDrawing3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4.emf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tags" Target="../tags/tag715.xml"/><Relationship Id="rId2" Type="http://schemas.openxmlformats.org/officeDocument/2006/relationships/tags" Target="../tags/tag714.xml"/><Relationship Id="rId1" Type="http://schemas.openxmlformats.org/officeDocument/2006/relationships/vmlDrawing" Target="../drawings/vmlDrawing3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8.xml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tags" Target="../tags/tag717.xml"/><Relationship Id="rId2" Type="http://schemas.openxmlformats.org/officeDocument/2006/relationships/tags" Target="../tags/tag716.xml"/><Relationship Id="rId1" Type="http://schemas.openxmlformats.org/officeDocument/2006/relationships/vmlDrawing" Target="../drawings/vmlDrawing3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8.xml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tags" Target="../tags/tag719.xml"/><Relationship Id="rId2" Type="http://schemas.openxmlformats.org/officeDocument/2006/relationships/tags" Target="../tags/tag718.xml"/><Relationship Id="rId1" Type="http://schemas.openxmlformats.org/officeDocument/2006/relationships/vmlDrawing" Target="../drawings/vmlDrawing3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8.xml"/></Relationships>
</file>

<file path=ppt/slideLayouts/_rels/slideLayout5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721.xml"/><Relationship Id="rId7" Type="http://schemas.openxmlformats.org/officeDocument/2006/relationships/image" Target="../media/image29.png"/><Relationship Id="rId2" Type="http://schemas.openxmlformats.org/officeDocument/2006/relationships/tags" Target="../tags/tag720.xml"/><Relationship Id="rId1" Type="http://schemas.openxmlformats.org/officeDocument/2006/relationships/vmlDrawing" Target="../drawings/vmlDrawing3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9.xml"/><Relationship Id="rId7" Type="http://schemas.openxmlformats.org/officeDocument/2006/relationships/image" Target="../media/image11.emf"/><Relationship Id="rId2" Type="http://schemas.openxmlformats.org/officeDocument/2006/relationships/tags" Target="../tags/tag118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emf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tags" Target="../tags/tag723.xml"/><Relationship Id="rId2" Type="http://schemas.openxmlformats.org/officeDocument/2006/relationships/tags" Target="../tags/tag722.xml"/><Relationship Id="rId1" Type="http://schemas.openxmlformats.org/officeDocument/2006/relationships/vmlDrawing" Target="../drawings/vmlDrawing3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8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1.xml"/><Relationship Id="rId7" Type="http://schemas.openxmlformats.org/officeDocument/2006/relationships/image" Target="../media/image11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emf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725.xml"/><Relationship Id="rId7" Type="http://schemas.openxmlformats.org/officeDocument/2006/relationships/image" Target="../media/image29.png"/><Relationship Id="rId2" Type="http://schemas.openxmlformats.org/officeDocument/2006/relationships/tags" Target="../tags/tag724.xml"/><Relationship Id="rId1" Type="http://schemas.openxmlformats.org/officeDocument/2006/relationships/vmlDrawing" Target="../drawings/vmlDrawing3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8.xml"/></Relationships>
</file>

<file path=ppt/slideLayouts/_rels/slideLayout6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tags" Target="../tags/tag727.xml"/><Relationship Id="rId7" Type="http://schemas.openxmlformats.org/officeDocument/2006/relationships/image" Target="../media/image29.png"/><Relationship Id="rId2" Type="http://schemas.openxmlformats.org/officeDocument/2006/relationships/tags" Target="../tags/tag726.xml"/><Relationship Id="rId1" Type="http://schemas.openxmlformats.org/officeDocument/2006/relationships/vmlDrawing" Target="../drawings/vmlDrawing3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8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.png"/><Relationship Id="rId2" Type="http://schemas.openxmlformats.org/officeDocument/2006/relationships/tags" Target="../tags/tag728.xml"/><Relationship Id="rId1" Type="http://schemas.openxmlformats.org/officeDocument/2006/relationships/vmlDrawing" Target="../drawings/vmlDrawing37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.png"/><Relationship Id="rId2" Type="http://schemas.openxmlformats.org/officeDocument/2006/relationships/tags" Target="../tags/tag729.xml"/><Relationship Id="rId1" Type="http://schemas.openxmlformats.org/officeDocument/2006/relationships/vmlDrawing" Target="../drawings/vmlDrawing37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8.xml"/><Relationship Id="rId7" Type="http://schemas.microsoft.com/office/2007/relationships/hdphoto" Target="../media/hdphoto1.wdp"/><Relationship Id="rId2" Type="http://schemas.openxmlformats.org/officeDocument/2006/relationships/tags" Target="../tags/tag730.xml"/><Relationship Id="rId1" Type="http://schemas.openxmlformats.org/officeDocument/2006/relationships/vmlDrawing" Target="../drawings/vmlDrawing375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Relationship Id="rId9" Type="http://schemas.openxmlformats.org/officeDocument/2006/relationships/image" Target="../media/image2.png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3.xml"/><Relationship Id="rId7" Type="http://schemas.openxmlformats.org/officeDocument/2006/relationships/image" Target="../media/image11.emf"/><Relationship Id="rId2" Type="http://schemas.openxmlformats.org/officeDocument/2006/relationships/tags" Target="../tags/tag12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734.xml"/><Relationship Id="rId7" Type="http://schemas.openxmlformats.org/officeDocument/2006/relationships/image" Target="../media/image4.png"/><Relationship Id="rId2" Type="http://schemas.openxmlformats.org/officeDocument/2006/relationships/tags" Target="../tags/tag733.xml"/><Relationship Id="rId1" Type="http://schemas.openxmlformats.org/officeDocument/2006/relationships/vmlDrawing" Target="../drawings/vmlDrawing3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9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tags" Target="../tags/tag736.xml"/><Relationship Id="rId2" Type="http://schemas.openxmlformats.org/officeDocument/2006/relationships/tags" Target="../tags/tag735.xml"/><Relationship Id="rId1" Type="http://schemas.openxmlformats.org/officeDocument/2006/relationships/vmlDrawing" Target="../drawings/vmlDrawing3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9.xml"/></Relationships>
</file>

<file path=ppt/slideLayouts/_rels/slideLayout6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738.xml"/><Relationship Id="rId7" Type="http://schemas.openxmlformats.org/officeDocument/2006/relationships/image" Target="../media/image1.emf"/><Relationship Id="rId2" Type="http://schemas.openxmlformats.org/officeDocument/2006/relationships/tags" Target="../tags/tag737.xml"/><Relationship Id="rId1" Type="http://schemas.openxmlformats.org/officeDocument/2006/relationships/vmlDrawing" Target="../drawings/vmlDrawing379.vml"/><Relationship Id="rId6" Type="http://schemas.openxmlformats.org/officeDocument/2006/relationships/oleObject" Target="../embeddings/oleObject56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9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739.xml"/><Relationship Id="rId1" Type="http://schemas.openxmlformats.org/officeDocument/2006/relationships/vmlDrawing" Target="../drawings/vmlDrawing380.v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tags" Target="../tags/tag741.xml"/><Relationship Id="rId7" Type="http://schemas.openxmlformats.org/officeDocument/2006/relationships/image" Target="../media/image30.png"/><Relationship Id="rId2" Type="http://schemas.openxmlformats.org/officeDocument/2006/relationships/tags" Target="../tags/tag740.xml"/><Relationship Id="rId1" Type="http://schemas.openxmlformats.org/officeDocument/2006/relationships/vmlDrawing" Target="../drawings/vmlDrawing3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9.xml"/></Relationships>
</file>

<file path=ppt/slideLayouts/_rels/slideLayout626.xml.rels><?xml version="1.0" encoding="UTF-8" standalone="yes"?>
<Relationships xmlns="http://schemas.openxmlformats.org/package/2006/relationships"><Relationship Id="rId3" Type="http://schemas.openxmlformats.org/officeDocument/2006/relationships/tags" Target="../tags/tag743.xml"/><Relationship Id="rId7" Type="http://schemas.openxmlformats.org/officeDocument/2006/relationships/image" Target="../media/image6.png"/><Relationship Id="rId2" Type="http://schemas.openxmlformats.org/officeDocument/2006/relationships/tags" Target="../tags/tag742.xml"/><Relationship Id="rId1" Type="http://schemas.openxmlformats.org/officeDocument/2006/relationships/vmlDrawing" Target="../drawings/vmlDrawing3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9.xml"/></Relationships>
</file>

<file path=ppt/slideLayouts/_rels/slideLayout6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745.xml"/><Relationship Id="rId7" Type="http://schemas.openxmlformats.org/officeDocument/2006/relationships/image" Target="../media/image1.emf"/><Relationship Id="rId2" Type="http://schemas.openxmlformats.org/officeDocument/2006/relationships/tags" Target="../tags/tag744.xml"/><Relationship Id="rId1" Type="http://schemas.openxmlformats.org/officeDocument/2006/relationships/vmlDrawing" Target="../drawings/vmlDrawing383.vml"/><Relationship Id="rId6" Type="http://schemas.openxmlformats.org/officeDocument/2006/relationships/oleObject" Target="../embeddings/oleObject60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9.xml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9.xml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tags" Target="../tags/tag747.xml"/><Relationship Id="rId2" Type="http://schemas.openxmlformats.org/officeDocument/2006/relationships/tags" Target="../tags/tag746.xml"/><Relationship Id="rId1" Type="http://schemas.openxmlformats.org/officeDocument/2006/relationships/vmlDrawing" Target="../drawings/vmlDrawing3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5.xml"/><Relationship Id="rId7" Type="http://schemas.openxmlformats.org/officeDocument/2006/relationships/image" Target="../media/image11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emf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tags" Target="../tags/tag749.xml"/><Relationship Id="rId7" Type="http://schemas.openxmlformats.org/officeDocument/2006/relationships/image" Target="../media/image30.png"/><Relationship Id="rId2" Type="http://schemas.openxmlformats.org/officeDocument/2006/relationships/tags" Target="../tags/tag748.xml"/><Relationship Id="rId1" Type="http://schemas.openxmlformats.org/officeDocument/2006/relationships/vmlDrawing" Target="../drawings/vmlDrawing3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9.xml"/></Relationships>
</file>

<file path=ppt/slideLayouts/_rels/slideLayout631.xml.rels><?xml version="1.0" encoding="UTF-8" standalone="yes"?>
<Relationships xmlns="http://schemas.openxmlformats.org/package/2006/relationships"><Relationship Id="rId3" Type="http://schemas.openxmlformats.org/officeDocument/2006/relationships/tags" Target="../tags/tag751.xml"/><Relationship Id="rId7" Type="http://schemas.openxmlformats.org/officeDocument/2006/relationships/image" Target="../media/image30.png"/><Relationship Id="rId2" Type="http://schemas.openxmlformats.org/officeDocument/2006/relationships/tags" Target="../tags/tag750.xml"/><Relationship Id="rId1" Type="http://schemas.openxmlformats.org/officeDocument/2006/relationships/vmlDrawing" Target="../drawings/vmlDrawing3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9.xml"/></Relationships>
</file>

<file path=ppt/slideLayouts/_rels/slideLayout632.xml.rels><?xml version="1.0" encoding="UTF-8" standalone="yes"?>
<Relationships xmlns="http://schemas.openxmlformats.org/package/2006/relationships"><Relationship Id="rId3" Type="http://schemas.openxmlformats.org/officeDocument/2006/relationships/tags" Target="../tags/tag753.xml"/><Relationship Id="rId7" Type="http://schemas.openxmlformats.org/officeDocument/2006/relationships/image" Target="../media/image30.png"/><Relationship Id="rId2" Type="http://schemas.openxmlformats.org/officeDocument/2006/relationships/tags" Target="../tags/tag752.xml"/><Relationship Id="rId1" Type="http://schemas.openxmlformats.org/officeDocument/2006/relationships/vmlDrawing" Target="../drawings/vmlDrawing3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9.xml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tags" Target="../tags/tag755.xml"/><Relationship Id="rId7" Type="http://schemas.openxmlformats.org/officeDocument/2006/relationships/image" Target="../media/image30.png"/><Relationship Id="rId2" Type="http://schemas.openxmlformats.org/officeDocument/2006/relationships/tags" Target="../tags/tag754.xml"/><Relationship Id="rId1" Type="http://schemas.openxmlformats.org/officeDocument/2006/relationships/vmlDrawing" Target="../drawings/vmlDrawing3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9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tags" Target="../tags/tag757.xml"/><Relationship Id="rId2" Type="http://schemas.openxmlformats.org/officeDocument/2006/relationships/tags" Target="../tags/tag756.xml"/><Relationship Id="rId1" Type="http://schemas.openxmlformats.org/officeDocument/2006/relationships/vmlDrawing" Target="../drawings/vmlDrawing3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9.xml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tags" Target="../tags/tag759.xml"/><Relationship Id="rId2" Type="http://schemas.openxmlformats.org/officeDocument/2006/relationships/tags" Target="../tags/tag758.xml"/><Relationship Id="rId1" Type="http://schemas.openxmlformats.org/officeDocument/2006/relationships/vmlDrawing" Target="../drawings/vmlDrawing3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9.xml"/></Relationships>
</file>

<file path=ppt/slideLayouts/_rels/slideLayout636.xml.rels><?xml version="1.0" encoding="UTF-8" standalone="yes"?>
<Relationships xmlns="http://schemas.openxmlformats.org/package/2006/relationships"><Relationship Id="rId3" Type="http://schemas.openxmlformats.org/officeDocument/2006/relationships/tags" Target="../tags/tag761.xml"/><Relationship Id="rId7" Type="http://schemas.openxmlformats.org/officeDocument/2006/relationships/image" Target="../media/image3.emf"/><Relationship Id="rId2" Type="http://schemas.openxmlformats.org/officeDocument/2006/relationships/tags" Target="../tags/tag760.xml"/><Relationship Id="rId1" Type="http://schemas.openxmlformats.org/officeDocument/2006/relationships/vmlDrawing" Target="../drawings/vmlDrawing3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9.xml"/></Relationships>
</file>

<file path=ppt/slideLayouts/_rels/slideLayout637.xml.rels><?xml version="1.0" encoding="UTF-8" standalone="yes"?>
<Relationships xmlns="http://schemas.openxmlformats.org/package/2006/relationships"><Relationship Id="rId3" Type="http://schemas.openxmlformats.org/officeDocument/2006/relationships/tags" Target="../tags/tag763.xml"/><Relationship Id="rId7" Type="http://schemas.openxmlformats.org/officeDocument/2006/relationships/image" Target="../media/image3.emf"/><Relationship Id="rId2" Type="http://schemas.openxmlformats.org/officeDocument/2006/relationships/tags" Target="../tags/tag762.xml"/><Relationship Id="rId1" Type="http://schemas.openxmlformats.org/officeDocument/2006/relationships/vmlDrawing" Target="../drawings/vmlDrawing3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9.xml"/></Relationships>
</file>

<file path=ppt/slideLayouts/_rels/slideLayout638.xml.rels><?xml version="1.0" encoding="UTF-8" standalone="yes"?>
<Relationships xmlns="http://schemas.openxmlformats.org/package/2006/relationships"><Relationship Id="rId3" Type="http://schemas.openxmlformats.org/officeDocument/2006/relationships/tags" Target="../tags/tag765.xml"/><Relationship Id="rId7" Type="http://schemas.openxmlformats.org/officeDocument/2006/relationships/image" Target="../media/image3.emf"/><Relationship Id="rId2" Type="http://schemas.openxmlformats.org/officeDocument/2006/relationships/tags" Target="../tags/tag764.xml"/><Relationship Id="rId1" Type="http://schemas.openxmlformats.org/officeDocument/2006/relationships/vmlDrawing" Target="../drawings/vmlDrawing3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9.xml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tags" Target="../tags/tag767.xml"/><Relationship Id="rId7" Type="http://schemas.openxmlformats.org/officeDocument/2006/relationships/image" Target="../media/image3.emf"/><Relationship Id="rId2" Type="http://schemas.openxmlformats.org/officeDocument/2006/relationships/tags" Target="../tags/tag766.xml"/><Relationship Id="rId1" Type="http://schemas.openxmlformats.org/officeDocument/2006/relationships/vmlDrawing" Target="../drawings/vmlDrawing3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7.xml"/><Relationship Id="rId7" Type="http://schemas.openxmlformats.org/officeDocument/2006/relationships/image" Target="../media/image11.emf"/><Relationship Id="rId2" Type="http://schemas.openxmlformats.org/officeDocument/2006/relationships/tags" Target="../tags/tag126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tags" Target="../tags/tag769.xml"/><Relationship Id="rId7" Type="http://schemas.openxmlformats.org/officeDocument/2006/relationships/image" Target="../media/image30.png"/><Relationship Id="rId2" Type="http://schemas.openxmlformats.org/officeDocument/2006/relationships/tags" Target="../tags/tag768.xml"/><Relationship Id="rId1" Type="http://schemas.openxmlformats.org/officeDocument/2006/relationships/vmlDrawing" Target="../drawings/vmlDrawing3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9.xml"/></Relationships>
</file>

<file path=ppt/slideLayouts/_rels/slideLayout6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771.xml"/><Relationship Id="rId7" Type="http://schemas.openxmlformats.org/officeDocument/2006/relationships/image" Target="../media/image9.emf"/><Relationship Id="rId2" Type="http://schemas.openxmlformats.org/officeDocument/2006/relationships/tags" Target="../tags/tag770.xml"/><Relationship Id="rId1" Type="http://schemas.openxmlformats.org/officeDocument/2006/relationships/vmlDrawing" Target="../drawings/vmlDrawing3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9.xml"/></Relationships>
</file>

<file path=ppt/slideLayouts/_rels/slideLayout6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773.xml"/><Relationship Id="rId7" Type="http://schemas.openxmlformats.org/officeDocument/2006/relationships/image" Target="../media/image9.emf"/><Relationship Id="rId2" Type="http://schemas.openxmlformats.org/officeDocument/2006/relationships/tags" Target="../tags/tag772.xml"/><Relationship Id="rId1" Type="http://schemas.openxmlformats.org/officeDocument/2006/relationships/vmlDrawing" Target="../drawings/vmlDrawing3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9.xml"/></Relationships>
</file>

<file path=ppt/slideLayouts/_rels/slideLayout6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775.xml"/><Relationship Id="rId7" Type="http://schemas.openxmlformats.org/officeDocument/2006/relationships/image" Target="../media/image9.emf"/><Relationship Id="rId2" Type="http://schemas.openxmlformats.org/officeDocument/2006/relationships/tags" Target="../tags/tag774.xml"/><Relationship Id="rId1" Type="http://schemas.openxmlformats.org/officeDocument/2006/relationships/vmlDrawing" Target="../drawings/vmlDrawing3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9.xml"/></Relationships>
</file>

<file path=ppt/slideLayouts/_rels/slideLayout6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777.xml"/><Relationship Id="rId7" Type="http://schemas.openxmlformats.org/officeDocument/2006/relationships/image" Target="../media/image9.emf"/><Relationship Id="rId2" Type="http://schemas.openxmlformats.org/officeDocument/2006/relationships/tags" Target="../tags/tag776.xml"/><Relationship Id="rId1" Type="http://schemas.openxmlformats.org/officeDocument/2006/relationships/vmlDrawing" Target="../drawings/vmlDrawing3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9.xml"/></Relationships>
</file>

<file path=ppt/slideLayouts/_rels/slideLayout6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779.xml"/><Relationship Id="rId7" Type="http://schemas.openxmlformats.org/officeDocument/2006/relationships/image" Target="../media/image9.emf"/><Relationship Id="rId2" Type="http://schemas.openxmlformats.org/officeDocument/2006/relationships/tags" Target="../tags/tag778.xml"/><Relationship Id="rId1" Type="http://schemas.openxmlformats.org/officeDocument/2006/relationships/vmlDrawing" Target="../drawings/vmlDrawing4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9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tags" Target="../tags/tag781.xml"/><Relationship Id="rId7" Type="http://schemas.openxmlformats.org/officeDocument/2006/relationships/image" Target="../media/image9.emf"/><Relationship Id="rId2" Type="http://schemas.openxmlformats.org/officeDocument/2006/relationships/tags" Target="../tags/tag780.xml"/><Relationship Id="rId1" Type="http://schemas.openxmlformats.org/officeDocument/2006/relationships/vmlDrawing" Target="../drawings/vmlDrawing4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9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tags" Target="../tags/tag783.xml"/><Relationship Id="rId7" Type="http://schemas.openxmlformats.org/officeDocument/2006/relationships/image" Target="../media/image9.emf"/><Relationship Id="rId2" Type="http://schemas.openxmlformats.org/officeDocument/2006/relationships/tags" Target="../tags/tag782.xml"/><Relationship Id="rId1" Type="http://schemas.openxmlformats.org/officeDocument/2006/relationships/vmlDrawing" Target="../drawings/vmlDrawing4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9.xml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tags" Target="../tags/tag785.xml"/><Relationship Id="rId2" Type="http://schemas.openxmlformats.org/officeDocument/2006/relationships/tags" Target="../tags/tag784.xml"/><Relationship Id="rId1" Type="http://schemas.openxmlformats.org/officeDocument/2006/relationships/vmlDrawing" Target="../drawings/vmlDrawing4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9.xml"/></Relationships>
</file>

<file path=ppt/slideLayouts/_rels/slideLayout6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787.xml"/><Relationship Id="rId7" Type="http://schemas.openxmlformats.org/officeDocument/2006/relationships/image" Target="../media/image1.emf"/><Relationship Id="rId2" Type="http://schemas.openxmlformats.org/officeDocument/2006/relationships/tags" Target="../tags/tag786.xml"/><Relationship Id="rId1" Type="http://schemas.openxmlformats.org/officeDocument/2006/relationships/vmlDrawing" Target="../drawings/vmlDrawing404.vml"/><Relationship Id="rId6" Type="http://schemas.openxmlformats.org/officeDocument/2006/relationships/oleObject" Target="../embeddings/oleObject81.bin"/><Relationship Id="rId5" Type="http://schemas.openxmlformats.org/officeDocument/2006/relationships/image" Target="../media/image10.emf"/><Relationship Id="rId4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789.xml"/><Relationship Id="rId7" Type="http://schemas.openxmlformats.org/officeDocument/2006/relationships/image" Target="../media/image10.emf"/><Relationship Id="rId2" Type="http://schemas.openxmlformats.org/officeDocument/2006/relationships/tags" Target="../tags/tag788.xml"/><Relationship Id="rId1" Type="http://schemas.openxmlformats.org/officeDocument/2006/relationships/vmlDrawing" Target="../drawings/vmlDrawing4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9.xml"/></Relationships>
</file>

<file path=ppt/slideLayouts/_rels/slideLayout6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791.xml"/><Relationship Id="rId7" Type="http://schemas.openxmlformats.org/officeDocument/2006/relationships/image" Target="../media/image10.emf"/><Relationship Id="rId2" Type="http://schemas.openxmlformats.org/officeDocument/2006/relationships/tags" Target="../tags/tag790.xml"/><Relationship Id="rId1" Type="http://schemas.openxmlformats.org/officeDocument/2006/relationships/vmlDrawing" Target="../drawings/vmlDrawing4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9.xml"/></Relationships>
</file>

<file path=ppt/slideLayouts/_rels/slideLayout6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793.xml"/><Relationship Id="rId7" Type="http://schemas.openxmlformats.org/officeDocument/2006/relationships/image" Target="../media/image10.emf"/><Relationship Id="rId2" Type="http://schemas.openxmlformats.org/officeDocument/2006/relationships/tags" Target="../tags/tag792.xml"/><Relationship Id="rId1" Type="http://schemas.openxmlformats.org/officeDocument/2006/relationships/vmlDrawing" Target="../drawings/vmlDrawing4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9.xml"/></Relationships>
</file>

<file path=ppt/slideLayouts/_rels/slideLayout6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795.xml"/><Relationship Id="rId7" Type="http://schemas.openxmlformats.org/officeDocument/2006/relationships/image" Target="../media/image10.emf"/><Relationship Id="rId2" Type="http://schemas.openxmlformats.org/officeDocument/2006/relationships/tags" Target="../tags/tag794.xml"/><Relationship Id="rId1" Type="http://schemas.openxmlformats.org/officeDocument/2006/relationships/vmlDrawing" Target="../drawings/vmlDrawing4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9.xml"/></Relationships>
</file>

<file path=ppt/slideLayouts/_rels/slideLayout6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797.xml"/><Relationship Id="rId7" Type="http://schemas.openxmlformats.org/officeDocument/2006/relationships/image" Target="../media/image9.emf"/><Relationship Id="rId2" Type="http://schemas.openxmlformats.org/officeDocument/2006/relationships/tags" Target="../tags/tag796.xml"/><Relationship Id="rId1" Type="http://schemas.openxmlformats.org/officeDocument/2006/relationships/vmlDrawing" Target="../drawings/vmlDrawing4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9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tags" Target="../tags/tag799.xml"/><Relationship Id="rId7" Type="http://schemas.openxmlformats.org/officeDocument/2006/relationships/image" Target="../media/image10.emf"/><Relationship Id="rId2" Type="http://schemas.openxmlformats.org/officeDocument/2006/relationships/tags" Target="../tags/tag798.xml"/><Relationship Id="rId1" Type="http://schemas.openxmlformats.org/officeDocument/2006/relationships/vmlDrawing" Target="../drawings/vmlDrawing4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9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tags" Target="../tags/tag801.xml"/><Relationship Id="rId7" Type="http://schemas.openxmlformats.org/officeDocument/2006/relationships/image" Target="../media/image30.png"/><Relationship Id="rId2" Type="http://schemas.openxmlformats.org/officeDocument/2006/relationships/tags" Target="../tags/tag800.xml"/><Relationship Id="rId1" Type="http://schemas.openxmlformats.org/officeDocument/2006/relationships/vmlDrawing" Target="../drawings/vmlDrawing4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9.xml"/></Relationships>
</file>

<file path=ppt/slideLayouts/_rels/slideLayout6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803.xml"/><Relationship Id="rId7" Type="http://schemas.openxmlformats.org/officeDocument/2006/relationships/image" Target="../media/image30.png"/><Relationship Id="rId2" Type="http://schemas.openxmlformats.org/officeDocument/2006/relationships/tags" Target="../tags/tag802.xml"/><Relationship Id="rId1" Type="http://schemas.openxmlformats.org/officeDocument/2006/relationships/vmlDrawing" Target="../drawings/vmlDrawing4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9.xml"/></Relationships>
</file>

<file path=ppt/slideLayouts/_rels/slideLayout6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805.xml"/><Relationship Id="rId7" Type="http://schemas.openxmlformats.org/officeDocument/2006/relationships/image" Target="../media/image10.emf"/><Relationship Id="rId2" Type="http://schemas.openxmlformats.org/officeDocument/2006/relationships/tags" Target="../tags/tag804.xml"/><Relationship Id="rId1" Type="http://schemas.openxmlformats.org/officeDocument/2006/relationships/vmlDrawing" Target="../drawings/vmlDrawing4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9.xml"/></Relationships>
</file>

<file path=ppt/slideLayouts/_rels/slideLayout6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807.xml"/><Relationship Id="rId7" Type="http://schemas.openxmlformats.org/officeDocument/2006/relationships/image" Target="../media/image10.emf"/><Relationship Id="rId2" Type="http://schemas.openxmlformats.org/officeDocument/2006/relationships/tags" Target="../tags/tag806.xml"/><Relationship Id="rId1" Type="http://schemas.openxmlformats.org/officeDocument/2006/relationships/vmlDrawing" Target="../drawings/vmlDrawing4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6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809.xml"/><Relationship Id="rId7" Type="http://schemas.openxmlformats.org/officeDocument/2006/relationships/image" Target="../media/image10.emf"/><Relationship Id="rId2" Type="http://schemas.openxmlformats.org/officeDocument/2006/relationships/tags" Target="../tags/tag808.xml"/><Relationship Id="rId1" Type="http://schemas.openxmlformats.org/officeDocument/2006/relationships/vmlDrawing" Target="../drawings/vmlDrawing4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9.xml"/></Relationships>
</file>

<file path=ppt/slideLayouts/_rels/slideLayout6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811.xml"/><Relationship Id="rId7" Type="http://schemas.openxmlformats.org/officeDocument/2006/relationships/image" Target="../media/image10.emf"/><Relationship Id="rId2" Type="http://schemas.openxmlformats.org/officeDocument/2006/relationships/tags" Target="../tags/tag810.xml"/><Relationship Id="rId1" Type="http://schemas.openxmlformats.org/officeDocument/2006/relationships/vmlDrawing" Target="../drawings/vmlDrawing4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9.xml"/></Relationships>
</file>

<file path=ppt/slideLayouts/_rels/slideLayout662.xml.rels><?xml version="1.0" encoding="UTF-8" standalone="yes"?>
<Relationships xmlns="http://schemas.openxmlformats.org/package/2006/relationships"><Relationship Id="rId3" Type="http://schemas.openxmlformats.org/officeDocument/2006/relationships/tags" Target="../tags/tag813.xml"/><Relationship Id="rId7" Type="http://schemas.openxmlformats.org/officeDocument/2006/relationships/image" Target="../media/image10.emf"/><Relationship Id="rId2" Type="http://schemas.openxmlformats.org/officeDocument/2006/relationships/tags" Target="../tags/tag812.xml"/><Relationship Id="rId1" Type="http://schemas.openxmlformats.org/officeDocument/2006/relationships/vmlDrawing" Target="../drawings/vmlDrawing4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9.xml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tags" Target="../tags/tag815.xml"/><Relationship Id="rId7" Type="http://schemas.openxmlformats.org/officeDocument/2006/relationships/image" Target="../media/image10.emf"/><Relationship Id="rId2" Type="http://schemas.openxmlformats.org/officeDocument/2006/relationships/tags" Target="../tags/tag814.xml"/><Relationship Id="rId1" Type="http://schemas.openxmlformats.org/officeDocument/2006/relationships/vmlDrawing" Target="../drawings/vmlDrawing4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9.xml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tags" Target="../tags/tag817.xml"/><Relationship Id="rId7" Type="http://schemas.openxmlformats.org/officeDocument/2006/relationships/image" Target="../media/image30.png"/><Relationship Id="rId2" Type="http://schemas.openxmlformats.org/officeDocument/2006/relationships/tags" Target="../tags/tag816.xml"/><Relationship Id="rId1" Type="http://schemas.openxmlformats.org/officeDocument/2006/relationships/vmlDrawing" Target="../drawings/vmlDrawing4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9.xml"/></Relationships>
</file>

<file path=ppt/slideLayouts/_rels/slideLayout6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819.xml"/><Relationship Id="rId7" Type="http://schemas.openxmlformats.org/officeDocument/2006/relationships/image" Target="../media/image30.png"/><Relationship Id="rId2" Type="http://schemas.openxmlformats.org/officeDocument/2006/relationships/tags" Target="../tags/tag818.xml"/><Relationship Id="rId1" Type="http://schemas.openxmlformats.org/officeDocument/2006/relationships/vmlDrawing" Target="../drawings/vmlDrawing4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9.xml"/></Relationships>
</file>

<file path=ppt/slideLayouts/_rels/slideLayout6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821.xml"/><Relationship Id="rId7" Type="http://schemas.openxmlformats.org/officeDocument/2006/relationships/image" Target="../media/image10.emf"/><Relationship Id="rId2" Type="http://schemas.openxmlformats.org/officeDocument/2006/relationships/tags" Target="../tags/tag820.xml"/><Relationship Id="rId1" Type="http://schemas.openxmlformats.org/officeDocument/2006/relationships/vmlDrawing" Target="../drawings/vmlDrawing4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9.xml"/></Relationships>
</file>

<file path=ppt/slideLayouts/_rels/slideLayout6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823.xml"/><Relationship Id="rId7" Type="http://schemas.openxmlformats.org/officeDocument/2006/relationships/image" Target="../media/image10.emf"/><Relationship Id="rId2" Type="http://schemas.openxmlformats.org/officeDocument/2006/relationships/tags" Target="../tags/tag822.xml"/><Relationship Id="rId1" Type="http://schemas.openxmlformats.org/officeDocument/2006/relationships/vmlDrawing" Target="../drawings/vmlDrawing4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9.xml"/></Relationships>
</file>

<file path=ppt/slideLayouts/_rels/slideLayout6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825.xml"/><Relationship Id="rId7" Type="http://schemas.openxmlformats.org/officeDocument/2006/relationships/image" Target="../media/image10.emf"/><Relationship Id="rId2" Type="http://schemas.openxmlformats.org/officeDocument/2006/relationships/tags" Target="../tags/tag824.xml"/><Relationship Id="rId1" Type="http://schemas.openxmlformats.org/officeDocument/2006/relationships/vmlDrawing" Target="../drawings/vmlDrawing4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9.xml"/></Relationships>
</file>

<file path=ppt/slideLayouts/_rels/slideLayout6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827.xml"/><Relationship Id="rId7" Type="http://schemas.openxmlformats.org/officeDocument/2006/relationships/image" Target="../media/image10.emf"/><Relationship Id="rId2" Type="http://schemas.openxmlformats.org/officeDocument/2006/relationships/tags" Target="../tags/tag826.xml"/><Relationship Id="rId1" Type="http://schemas.openxmlformats.org/officeDocument/2006/relationships/vmlDrawing" Target="../drawings/vmlDrawing4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tags" Target="../tags/tag829.xml"/><Relationship Id="rId7" Type="http://schemas.openxmlformats.org/officeDocument/2006/relationships/image" Target="../media/image10.emf"/><Relationship Id="rId2" Type="http://schemas.openxmlformats.org/officeDocument/2006/relationships/tags" Target="../tags/tag828.xml"/><Relationship Id="rId1" Type="http://schemas.openxmlformats.org/officeDocument/2006/relationships/vmlDrawing" Target="../drawings/vmlDrawing4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9.xml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tags" Target="../tags/tag831.xml"/><Relationship Id="rId7" Type="http://schemas.openxmlformats.org/officeDocument/2006/relationships/image" Target="../media/image10.emf"/><Relationship Id="rId2" Type="http://schemas.openxmlformats.org/officeDocument/2006/relationships/tags" Target="../tags/tag830.xml"/><Relationship Id="rId1" Type="http://schemas.openxmlformats.org/officeDocument/2006/relationships/vmlDrawing" Target="../drawings/vmlDrawing4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9.xml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tags" Target="../tags/tag833.xml"/><Relationship Id="rId2" Type="http://schemas.openxmlformats.org/officeDocument/2006/relationships/tags" Target="../tags/tag832.xml"/><Relationship Id="rId1" Type="http://schemas.openxmlformats.org/officeDocument/2006/relationships/vmlDrawing" Target="../drawings/vmlDrawing4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9.xml"/></Relationships>
</file>

<file path=ppt/slideLayouts/_rels/slideLayout6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35.xml"/><Relationship Id="rId7" Type="http://schemas.openxmlformats.org/officeDocument/2006/relationships/image" Target="../media/image11.emf"/><Relationship Id="rId2" Type="http://schemas.openxmlformats.org/officeDocument/2006/relationships/tags" Target="../tags/tag834.xml"/><Relationship Id="rId1" Type="http://schemas.openxmlformats.org/officeDocument/2006/relationships/vmlDrawing" Target="../drawings/vmlDrawing4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9.xml"/><Relationship Id="rId9" Type="http://schemas.openxmlformats.org/officeDocument/2006/relationships/image" Target="../media/image12.emf"/></Relationships>
</file>

<file path=ppt/slideLayouts/_rels/slideLayout6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37.xml"/><Relationship Id="rId7" Type="http://schemas.openxmlformats.org/officeDocument/2006/relationships/image" Target="../media/image11.emf"/><Relationship Id="rId2" Type="http://schemas.openxmlformats.org/officeDocument/2006/relationships/tags" Target="../tags/tag836.xml"/><Relationship Id="rId1" Type="http://schemas.openxmlformats.org/officeDocument/2006/relationships/vmlDrawing" Target="../drawings/vmlDrawing429.vml"/><Relationship Id="rId6" Type="http://schemas.openxmlformats.org/officeDocument/2006/relationships/image" Target="../media/image1.emf"/><Relationship Id="rId11" Type="http://schemas.openxmlformats.org/officeDocument/2006/relationships/image" Target="../media/image14.emf"/><Relationship Id="rId5" Type="http://schemas.openxmlformats.org/officeDocument/2006/relationships/oleObject" Target="../embeddings/oleObject106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9.xml"/><Relationship Id="rId9" Type="http://schemas.openxmlformats.org/officeDocument/2006/relationships/image" Target="../media/image13.emf"/></Relationships>
</file>

<file path=ppt/slideLayouts/_rels/slideLayout6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39.xml"/><Relationship Id="rId7" Type="http://schemas.openxmlformats.org/officeDocument/2006/relationships/image" Target="../media/image11.emf"/><Relationship Id="rId2" Type="http://schemas.openxmlformats.org/officeDocument/2006/relationships/tags" Target="../tags/tag838.xml"/><Relationship Id="rId1" Type="http://schemas.openxmlformats.org/officeDocument/2006/relationships/vmlDrawing" Target="../drawings/vmlDrawing4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7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9.xml"/><Relationship Id="rId9" Type="http://schemas.openxmlformats.org/officeDocument/2006/relationships/image" Target="../media/image12.emf"/></Relationships>
</file>

<file path=ppt/slideLayouts/_rels/slideLayout6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41.xml"/><Relationship Id="rId7" Type="http://schemas.openxmlformats.org/officeDocument/2006/relationships/image" Target="../media/image11.emf"/><Relationship Id="rId2" Type="http://schemas.openxmlformats.org/officeDocument/2006/relationships/tags" Target="../tags/tag840.xml"/><Relationship Id="rId1" Type="http://schemas.openxmlformats.org/officeDocument/2006/relationships/vmlDrawing" Target="../drawings/vmlDrawing431.vml"/><Relationship Id="rId6" Type="http://schemas.openxmlformats.org/officeDocument/2006/relationships/image" Target="../media/image1.emf"/><Relationship Id="rId11" Type="http://schemas.openxmlformats.org/officeDocument/2006/relationships/image" Target="../media/image13.emf"/><Relationship Id="rId5" Type="http://schemas.openxmlformats.org/officeDocument/2006/relationships/oleObject" Target="../embeddings/oleObject108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9.xml"/><Relationship Id="rId9" Type="http://schemas.openxmlformats.org/officeDocument/2006/relationships/image" Target="../media/image12.emf"/></Relationships>
</file>

<file path=ppt/slideLayouts/_rels/slideLayout6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43.xml"/><Relationship Id="rId7" Type="http://schemas.openxmlformats.org/officeDocument/2006/relationships/image" Target="../media/image11.emf"/><Relationship Id="rId2" Type="http://schemas.openxmlformats.org/officeDocument/2006/relationships/tags" Target="../tags/tag842.xml"/><Relationship Id="rId1" Type="http://schemas.openxmlformats.org/officeDocument/2006/relationships/vmlDrawing" Target="../drawings/vmlDrawing4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9.xml"/><Relationship Id="rId9" Type="http://schemas.openxmlformats.org/officeDocument/2006/relationships/image" Target="../media/image12.emf"/></Relationships>
</file>

<file path=ppt/slideLayouts/_rels/slideLayout6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45.xml"/><Relationship Id="rId7" Type="http://schemas.openxmlformats.org/officeDocument/2006/relationships/image" Target="../media/image11.emf"/><Relationship Id="rId2" Type="http://schemas.openxmlformats.org/officeDocument/2006/relationships/tags" Target="../tags/tag844.xml"/><Relationship Id="rId1" Type="http://schemas.openxmlformats.org/officeDocument/2006/relationships/vmlDrawing" Target="../drawings/vmlDrawing4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0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9.xml"/><Relationship Id="rId9" Type="http://schemas.openxmlformats.org/officeDocument/2006/relationships/image" Target="../media/image12.emf"/></Relationships>
</file>

<file path=ppt/slideLayouts/_rels/slideLayout6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47.xml"/><Relationship Id="rId7" Type="http://schemas.openxmlformats.org/officeDocument/2006/relationships/image" Target="../media/image11.emf"/><Relationship Id="rId2" Type="http://schemas.openxmlformats.org/officeDocument/2006/relationships/tags" Target="../tags/tag846.xml"/><Relationship Id="rId1" Type="http://schemas.openxmlformats.org/officeDocument/2006/relationships/vmlDrawing" Target="../drawings/vmlDrawing4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9.xml"/><Relationship Id="rId9" Type="http://schemas.openxmlformats.org/officeDocument/2006/relationships/image" Target="../media/image12.emf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tags" Target="../tags/tag135.xml"/><Relationship Id="rId7" Type="http://schemas.openxmlformats.org/officeDocument/2006/relationships/image" Target="../media/image15.png"/><Relationship Id="rId2" Type="http://schemas.openxmlformats.org/officeDocument/2006/relationships/tags" Target="../tags/tag134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49.xml"/><Relationship Id="rId7" Type="http://schemas.openxmlformats.org/officeDocument/2006/relationships/image" Target="../media/image11.emf"/><Relationship Id="rId2" Type="http://schemas.openxmlformats.org/officeDocument/2006/relationships/tags" Target="../tags/tag848.xml"/><Relationship Id="rId1" Type="http://schemas.openxmlformats.org/officeDocument/2006/relationships/vmlDrawing" Target="../drawings/vmlDrawing4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2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9.xml"/><Relationship Id="rId9" Type="http://schemas.openxmlformats.org/officeDocument/2006/relationships/image" Target="../media/image12.emf"/></Relationships>
</file>

<file path=ppt/slideLayouts/_rels/slideLayout6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51.xml"/><Relationship Id="rId7" Type="http://schemas.openxmlformats.org/officeDocument/2006/relationships/image" Target="../media/image11.emf"/><Relationship Id="rId2" Type="http://schemas.openxmlformats.org/officeDocument/2006/relationships/tags" Target="../tags/tag850.xml"/><Relationship Id="rId1" Type="http://schemas.openxmlformats.org/officeDocument/2006/relationships/vmlDrawing" Target="../drawings/vmlDrawing4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3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9.xml"/><Relationship Id="rId9" Type="http://schemas.openxmlformats.org/officeDocument/2006/relationships/image" Target="../media/image12.emf"/></Relationships>
</file>

<file path=ppt/slideLayouts/_rels/slideLayout6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53.xml"/><Relationship Id="rId7" Type="http://schemas.openxmlformats.org/officeDocument/2006/relationships/image" Target="../media/image11.emf"/><Relationship Id="rId2" Type="http://schemas.openxmlformats.org/officeDocument/2006/relationships/tags" Target="../tags/tag852.xml"/><Relationship Id="rId1" Type="http://schemas.openxmlformats.org/officeDocument/2006/relationships/vmlDrawing" Target="../drawings/vmlDrawing4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4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9.xml"/><Relationship Id="rId9" Type="http://schemas.openxmlformats.org/officeDocument/2006/relationships/image" Target="../media/image14.emf"/></Relationships>
</file>

<file path=ppt/slideLayouts/_rels/slideLayout6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55.xml"/><Relationship Id="rId7" Type="http://schemas.openxmlformats.org/officeDocument/2006/relationships/image" Target="../media/image11.emf"/><Relationship Id="rId2" Type="http://schemas.openxmlformats.org/officeDocument/2006/relationships/tags" Target="../tags/tag854.xml"/><Relationship Id="rId1" Type="http://schemas.openxmlformats.org/officeDocument/2006/relationships/vmlDrawing" Target="../drawings/vmlDrawing4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9.xml"/><Relationship Id="rId9" Type="http://schemas.openxmlformats.org/officeDocument/2006/relationships/image" Target="../media/image12.emf"/></Relationships>
</file>

<file path=ppt/slideLayouts/_rels/slideLayout6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57.xml"/><Relationship Id="rId7" Type="http://schemas.openxmlformats.org/officeDocument/2006/relationships/image" Target="../media/image11.emf"/><Relationship Id="rId2" Type="http://schemas.openxmlformats.org/officeDocument/2006/relationships/tags" Target="../tags/tag856.xml"/><Relationship Id="rId1" Type="http://schemas.openxmlformats.org/officeDocument/2006/relationships/vmlDrawing" Target="../drawings/vmlDrawing4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9.xml"/><Relationship Id="rId9" Type="http://schemas.openxmlformats.org/officeDocument/2006/relationships/image" Target="../media/image14.emf"/></Relationships>
</file>

<file path=ppt/slideLayouts/_rels/slideLayout685.xml.rels><?xml version="1.0" encoding="UTF-8" standalone="yes"?>
<Relationships xmlns="http://schemas.openxmlformats.org/package/2006/relationships"><Relationship Id="rId3" Type="http://schemas.openxmlformats.org/officeDocument/2006/relationships/tags" Target="../tags/tag859.xml"/><Relationship Id="rId2" Type="http://schemas.openxmlformats.org/officeDocument/2006/relationships/tags" Target="../tags/tag858.xml"/><Relationship Id="rId1" Type="http://schemas.openxmlformats.org/officeDocument/2006/relationships/vmlDrawing" Target="../drawings/vmlDrawing4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9.xml"/></Relationships>
</file>

<file path=ppt/slideLayouts/_rels/slideLayout686.xml.rels><?xml version="1.0" encoding="UTF-8" standalone="yes"?>
<Relationships xmlns="http://schemas.openxmlformats.org/package/2006/relationships"><Relationship Id="rId3" Type="http://schemas.openxmlformats.org/officeDocument/2006/relationships/tags" Target="../tags/tag861.xml"/><Relationship Id="rId2" Type="http://schemas.openxmlformats.org/officeDocument/2006/relationships/tags" Target="../tags/tag860.xml"/><Relationship Id="rId1" Type="http://schemas.openxmlformats.org/officeDocument/2006/relationships/vmlDrawing" Target="../drawings/vmlDrawing4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9.xml"/></Relationships>
</file>

<file path=ppt/slideLayouts/_rels/slideLayout687.xml.rels><?xml version="1.0" encoding="UTF-8" standalone="yes"?>
<Relationships xmlns="http://schemas.openxmlformats.org/package/2006/relationships"><Relationship Id="rId3" Type="http://schemas.openxmlformats.org/officeDocument/2006/relationships/tags" Target="../tags/tag863.xml"/><Relationship Id="rId2" Type="http://schemas.openxmlformats.org/officeDocument/2006/relationships/tags" Target="../tags/tag862.xml"/><Relationship Id="rId1" Type="http://schemas.openxmlformats.org/officeDocument/2006/relationships/vmlDrawing" Target="../drawings/vmlDrawing4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9.xml"/></Relationships>
</file>

<file path=ppt/slideLayouts/_rels/slideLayout6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tags" Target="../tags/tag865.xml"/><Relationship Id="rId7" Type="http://schemas.openxmlformats.org/officeDocument/2006/relationships/image" Target="../media/image29.png"/><Relationship Id="rId2" Type="http://schemas.openxmlformats.org/officeDocument/2006/relationships/tags" Target="../tags/tag864.xml"/><Relationship Id="rId1" Type="http://schemas.openxmlformats.org/officeDocument/2006/relationships/vmlDrawing" Target="../drawings/vmlDrawing4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9.xml"/></Relationships>
</file>

<file path=ppt/slideLayouts/_rels/slideLayout689.xml.rels><?xml version="1.0" encoding="UTF-8" standalone="yes"?>
<Relationships xmlns="http://schemas.openxmlformats.org/package/2006/relationships"><Relationship Id="rId3" Type="http://schemas.openxmlformats.org/officeDocument/2006/relationships/tags" Target="../tags/tag867.xml"/><Relationship Id="rId2" Type="http://schemas.openxmlformats.org/officeDocument/2006/relationships/tags" Target="../tags/tag866.xml"/><Relationship Id="rId1" Type="http://schemas.openxmlformats.org/officeDocument/2006/relationships/vmlDrawing" Target="../drawings/vmlDrawing4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tags" Target="../tags/tag869.xml"/><Relationship Id="rId7" Type="http://schemas.openxmlformats.org/officeDocument/2006/relationships/image" Target="../media/image29.png"/><Relationship Id="rId2" Type="http://schemas.openxmlformats.org/officeDocument/2006/relationships/tags" Target="../tags/tag868.xml"/><Relationship Id="rId1" Type="http://schemas.openxmlformats.org/officeDocument/2006/relationships/vmlDrawing" Target="../drawings/vmlDrawing4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9.xml"/></Relationships>
</file>

<file path=ppt/slideLayouts/_rels/slideLayout7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tags" Target="../tags/tag871.xml"/><Relationship Id="rId7" Type="http://schemas.openxmlformats.org/officeDocument/2006/relationships/image" Target="../media/image29.png"/><Relationship Id="rId2" Type="http://schemas.openxmlformats.org/officeDocument/2006/relationships/tags" Target="../tags/tag870.xml"/><Relationship Id="rId1" Type="http://schemas.openxmlformats.org/officeDocument/2006/relationships/vmlDrawing" Target="../drawings/vmlDrawing4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9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31.png"/><Relationship Id="rId2" Type="http://schemas.openxmlformats.org/officeDocument/2006/relationships/tags" Target="../tags/tag872.xml"/><Relationship Id="rId1" Type="http://schemas.openxmlformats.org/officeDocument/2006/relationships/vmlDrawing" Target="../drawings/vmlDrawing44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7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31.png"/><Relationship Id="rId2" Type="http://schemas.openxmlformats.org/officeDocument/2006/relationships/tags" Target="../tags/tag873.xml"/><Relationship Id="rId1" Type="http://schemas.openxmlformats.org/officeDocument/2006/relationships/vmlDrawing" Target="../drawings/vmlDrawing44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7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9.xml"/><Relationship Id="rId7" Type="http://schemas.microsoft.com/office/2007/relationships/hdphoto" Target="../media/hdphoto2.wdp"/><Relationship Id="rId2" Type="http://schemas.openxmlformats.org/officeDocument/2006/relationships/tags" Target="../tags/tag874.xml"/><Relationship Id="rId1" Type="http://schemas.openxmlformats.org/officeDocument/2006/relationships/vmlDrawing" Target="../drawings/vmlDrawing449.v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Relationship Id="rId9" Type="http://schemas.openxmlformats.org/officeDocument/2006/relationships/image" Target="../media/image31.png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78.xml"/><Relationship Id="rId7" Type="http://schemas.openxmlformats.org/officeDocument/2006/relationships/image" Target="../media/image4.png"/><Relationship Id="rId2" Type="http://schemas.openxmlformats.org/officeDocument/2006/relationships/tags" Target="../tags/tag877.xml"/><Relationship Id="rId1" Type="http://schemas.openxmlformats.org/officeDocument/2006/relationships/vmlDrawing" Target="../drawings/vmlDrawing4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3" Type="http://schemas.openxmlformats.org/officeDocument/2006/relationships/tags" Target="../tags/tag880.xml"/><Relationship Id="rId2" Type="http://schemas.openxmlformats.org/officeDocument/2006/relationships/tags" Target="../tags/tag879.xml"/><Relationship Id="rId1" Type="http://schemas.openxmlformats.org/officeDocument/2006/relationships/vmlDrawing" Target="../drawings/vmlDrawing4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82.xml"/><Relationship Id="rId7" Type="http://schemas.openxmlformats.org/officeDocument/2006/relationships/image" Target="../media/image1.emf"/><Relationship Id="rId2" Type="http://schemas.openxmlformats.org/officeDocument/2006/relationships/tags" Target="../tags/tag881.xml"/><Relationship Id="rId1" Type="http://schemas.openxmlformats.org/officeDocument/2006/relationships/vmlDrawing" Target="../drawings/vmlDrawing453.vml"/><Relationship Id="rId6" Type="http://schemas.openxmlformats.org/officeDocument/2006/relationships/oleObject" Target="../embeddings/oleObject130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10.xml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883.xml"/><Relationship Id="rId1" Type="http://schemas.openxmlformats.org/officeDocument/2006/relationships/vmlDrawing" Target="../drawings/vmlDrawing45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713.xml.rels><?xml version="1.0" encoding="UTF-8" standalone="yes"?>
<Relationships xmlns="http://schemas.openxmlformats.org/package/2006/relationships"><Relationship Id="rId3" Type="http://schemas.openxmlformats.org/officeDocument/2006/relationships/tags" Target="../tags/tag885.xml"/><Relationship Id="rId7" Type="http://schemas.openxmlformats.org/officeDocument/2006/relationships/image" Target="../media/image2.png"/><Relationship Id="rId2" Type="http://schemas.openxmlformats.org/officeDocument/2006/relationships/tags" Target="../tags/tag884.xml"/><Relationship Id="rId1" Type="http://schemas.openxmlformats.org/officeDocument/2006/relationships/vmlDrawing" Target="../drawings/vmlDrawing4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10.xml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tags" Target="../tags/tag887.xml"/><Relationship Id="rId7" Type="http://schemas.openxmlformats.org/officeDocument/2006/relationships/image" Target="../media/image6.png"/><Relationship Id="rId2" Type="http://schemas.openxmlformats.org/officeDocument/2006/relationships/tags" Target="../tags/tag886.xml"/><Relationship Id="rId1" Type="http://schemas.openxmlformats.org/officeDocument/2006/relationships/vmlDrawing" Target="../drawings/vmlDrawing4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10.xml"/></Relationships>
</file>

<file path=ppt/slideLayouts/_rels/slideLayout7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89.xml"/><Relationship Id="rId7" Type="http://schemas.openxmlformats.org/officeDocument/2006/relationships/image" Target="../media/image1.emf"/><Relationship Id="rId2" Type="http://schemas.openxmlformats.org/officeDocument/2006/relationships/tags" Target="../tags/tag888.xml"/><Relationship Id="rId1" Type="http://schemas.openxmlformats.org/officeDocument/2006/relationships/vmlDrawing" Target="../drawings/vmlDrawing457.vml"/><Relationship Id="rId6" Type="http://schemas.openxmlformats.org/officeDocument/2006/relationships/oleObject" Target="../embeddings/oleObject134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10.xml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0.xml"/></Relationships>
</file>

<file path=ppt/slideLayouts/_rels/slideLayout717.xml.rels><?xml version="1.0" encoding="UTF-8" standalone="yes"?>
<Relationships xmlns="http://schemas.openxmlformats.org/package/2006/relationships"><Relationship Id="rId3" Type="http://schemas.openxmlformats.org/officeDocument/2006/relationships/tags" Target="../tags/tag891.xml"/><Relationship Id="rId2" Type="http://schemas.openxmlformats.org/officeDocument/2006/relationships/tags" Target="../tags/tag890.xml"/><Relationship Id="rId1" Type="http://schemas.openxmlformats.org/officeDocument/2006/relationships/vmlDrawing" Target="../drawings/vmlDrawing4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5.bin"/><Relationship Id="rId4" Type="http://schemas.openxmlformats.org/officeDocument/2006/relationships/slideMaster" Target="../slideMasters/slideMaster10.xml"/></Relationships>
</file>

<file path=ppt/slideLayouts/_rels/slideLayout718.xml.rels><?xml version="1.0" encoding="UTF-8" standalone="yes"?>
<Relationships xmlns="http://schemas.openxmlformats.org/package/2006/relationships"><Relationship Id="rId3" Type="http://schemas.openxmlformats.org/officeDocument/2006/relationships/tags" Target="../tags/tag893.xml"/><Relationship Id="rId7" Type="http://schemas.openxmlformats.org/officeDocument/2006/relationships/image" Target="../media/image2.png"/><Relationship Id="rId2" Type="http://schemas.openxmlformats.org/officeDocument/2006/relationships/tags" Target="../tags/tag892.xml"/><Relationship Id="rId1" Type="http://schemas.openxmlformats.org/officeDocument/2006/relationships/vmlDrawing" Target="../drawings/vmlDrawing4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10.xml"/></Relationships>
</file>

<file path=ppt/slideLayouts/_rels/slideLayout719.xml.rels><?xml version="1.0" encoding="UTF-8" standalone="yes"?>
<Relationships xmlns="http://schemas.openxmlformats.org/package/2006/relationships"><Relationship Id="rId3" Type="http://schemas.openxmlformats.org/officeDocument/2006/relationships/tags" Target="../tags/tag895.xml"/><Relationship Id="rId7" Type="http://schemas.openxmlformats.org/officeDocument/2006/relationships/image" Target="../media/image2.png"/><Relationship Id="rId2" Type="http://schemas.openxmlformats.org/officeDocument/2006/relationships/tags" Target="../tags/tag894.xml"/><Relationship Id="rId1" Type="http://schemas.openxmlformats.org/officeDocument/2006/relationships/vmlDrawing" Target="../drawings/vmlDrawing4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0.xml.rels><?xml version="1.0" encoding="UTF-8" standalone="yes"?>
<Relationships xmlns="http://schemas.openxmlformats.org/package/2006/relationships"><Relationship Id="rId3" Type="http://schemas.openxmlformats.org/officeDocument/2006/relationships/tags" Target="../tags/tag897.xml"/><Relationship Id="rId7" Type="http://schemas.openxmlformats.org/officeDocument/2006/relationships/image" Target="../media/image2.png"/><Relationship Id="rId2" Type="http://schemas.openxmlformats.org/officeDocument/2006/relationships/tags" Target="../tags/tag896.xml"/><Relationship Id="rId1" Type="http://schemas.openxmlformats.org/officeDocument/2006/relationships/vmlDrawing" Target="../drawings/vmlDrawing4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10.xml"/></Relationships>
</file>

<file path=ppt/slideLayouts/_rels/slideLayout721.xml.rels><?xml version="1.0" encoding="UTF-8" standalone="yes"?>
<Relationships xmlns="http://schemas.openxmlformats.org/package/2006/relationships"><Relationship Id="rId3" Type="http://schemas.openxmlformats.org/officeDocument/2006/relationships/tags" Target="../tags/tag899.xml"/><Relationship Id="rId7" Type="http://schemas.openxmlformats.org/officeDocument/2006/relationships/image" Target="../media/image2.png"/><Relationship Id="rId2" Type="http://schemas.openxmlformats.org/officeDocument/2006/relationships/tags" Target="../tags/tag898.xml"/><Relationship Id="rId1" Type="http://schemas.openxmlformats.org/officeDocument/2006/relationships/vmlDrawing" Target="../drawings/vmlDrawing4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10.xml"/></Relationships>
</file>

<file path=ppt/slideLayouts/_rels/slideLayout722.xml.rels><?xml version="1.0" encoding="UTF-8" standalone="yes"?>
<Relationships xmlns="http://schemas.openxmlformats.org/package/2006/relationships"><Relationship Id="rId3" Type="http://schemas.openxmlformats.org/officeDocument/2006/relationships/tags" Target="../tags/tag901.xml"/><Relationship Id="rId2" Type="http://schemas.openxmlformats.org/officeDocument/2006/relationships/tags" Target="../tags/tag900.xml"/><Relationship Id="rId1" Type="http://schemas.openxmlformats.org/officeDocument/2006/relationships/vmlDrawing" Target="../drawings/vmlDrawing4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tags" Target="../tags/tag903.xml"/><Relationship Id="rId2" Type="http://schemas.openxmlformats.org/officeDocument/2006/relationships/tags" Target="../tags/tag902.xml"/><Relationship Id="rId1" Type="http://schemas.openxmlformats.org/officeDocument/2006/relationships/vmlDrawing" Target="../drawings/vmlDrawing4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24.xml.rels><?xml version="1.0" encoding="UTF-8" standalone="yes"?>
<Relationships xmlns="http://schemas.openxmlformats.org/package/2006/relationships"><Relationship Id="rId3" Type="http://schemas.openxmlformats.org/officeDocument/2006/relationships/tags" Target="../tags/tag905.xml"/><Relationship Id="rId7" Type="http://schemas.openxmlformats.org/officeDocument/2006/relationships/image" Target="../media/image3.emf"/><Relationship Id="rId2" Type="http://schemas.openxmlformats.org/officeDocument/2006/relationships/tags" Target="../tags/tag904.xml"/><Relationship Id="rId1" Type="http://schemas.openxmlformats.org/officeDocument/2006/relationships/vmlDrawing" Target="../drawings/vmlDrawing4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25.xml.rels><?xml version="1.0" encoding="UTF-8" standalone="yes"?>
<Relationships xmlns="http://schemas.openxmlformats.org/package/2006/relationships"><Relationship Id="rId3" Type="http://schemas.openxmlformats.org/officeDocument/2006/relationships/tags" Target="../tags/tag907.xml"/><Relationship Id="rId7" Type="http://schemas.openxmlformats.org/officeDocument/2006/relationships/image" Target="../media/image3.emf"/><Relationship Id="rId2" Type="http://schemas.openxmlformats.org/officeDocument/2006/relationships/tags" Target="../tags/tag906.xml"/><Relationship Id="rId1" Type="http://schemas.openxmlformats.org/officeDocument/2006/relationships/vmlDrawing" Target="../drawings/vmlDrawing4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26.xml.rels><?xml version="1.0" encoding="UTF-8" standalone="yes"?>
<Relationships xmlns="http://schemas.openxmlformats.org/package/2006/relationships"><Relationship Id="rId3" Type="http://schemas.openxmlformats.org/officeDocument/2006/relationships/tags" Target="../tags/tag909.xml"/><Relationship Id="rId7" Type="http://schemas.openxmlformats.org/officeDocument/2006/relationships/image" Target="../media/image3.emf"/><Relationship Id="rId2" Type="http://schemas.openxmlformats.org/officeDocument/2006/relationships/tags" Target="../tags/tag908.xml"/><Relationship Id="rId1" Type="http://schemas.openxmlformats.org/officeDocument/2006/relationships/vmlDrawing" Target="../drawings/vmlDrawing4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27.xml.rels><?xml version="1.0" encoding="UTF-8" standalone="yes"?>
<Relationships xmlns="http://schemas.openxmlformats.org/package/2006/relationships"><Relationship Id="rId3" Type="http://schemas.openxmlformats.org/officeDocument/2006/relationships/tags" Target="../tags/tag911.xml"/><Relationship Id="rId7" Type="http://schemas.openxmlformats.org/officeDocument/2006/relationships/image" Target="../media/image3.emf"/><Relationship Id="rId2" Type="http://schemas.openxmlformats.org/officeDocument/2006/relationships/tags" Target="../tags/tag910.xml"/><Relationship Id="rId1" Type="http://schemas.openxmlformats.org/officeDocument/2006/relationships/vmlDrawing" Target="../drawings/vmlDrawing4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28.xml.rels><?xml version="1.0" encoding="UTF-8" standalone="yes"?>
<Relationships xmlns="http://schemas.openxmlformats.org/package/2006/relationships"><Relationship Id="rId3" Type="http://schemas.openxmlformats.org/officeDocument/2006/relationships/tags" Target="../tags/tag913.xml"/><Relationship Id="rId7" Type="http://schemas.openxmlformats.org/officeDocument/2006/relationships/image" Target="../media/image2.png"/><Relationship Id="rId2" Type="http://schemas.openxmlformats.org/officeDocument/2006/relationships/tags" Target="../tags/tag912.xml"/><Relationship Id="rId1" Type="http://schemas.openxmlformats.org/officeDocument/2006/relationships/vmlDrawing" Target="../drawings/vmlDrawing4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15.xml"/><Relationship Id="rId7" Type="http://schemas.openxmlformats.org/officeDocument/2006/relationships/image" Target="../media/image9.emf"/><Relationship Id="rId2" Type="http://schemas.openxmlformats.org/officeDocument/2006/relationships/tags" Target="../tags/tag914.xml"/><Relationship Id="rId1" Type="http://schemas.openxmlformats.org/officeDocument/2006/relationships/vmlDrawing" Target="../drawings/vmlDrawing4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17.xml"/><Relationship Id="rId7" Type="http://schemas.openxmlformats.org/officeDocument/2006/relationships/image" Target="../media/image9.emf"/><Relationship Id="rId2" Type="http://schemas.openxmlformats.org/officeDocument/2006/relationships/tags" Target="../tags/tag916.xml"/><Relationship Id="rId1" Type="http://schemas.openxmlformats.org/officeDocument/2006/relationships/vmlDrawing" Target="../drawings/vmlDrawing4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19.xml"/><Relationship Id="rId7" Type="http://schemas.openxmlformats.org/officeDocument/2006/relationships/image" Target="../media/image9.emf"/><Relationship Id="rId2" Type="http://schemas.openxmlformats.org/officeDocument/2006/relationships/tags" Target="../tags/tag918.xml"/><Relationship Id="rId1" Type="http://schemas.openxmlformats.org/officeDocument/2006/relationships/vmlDrawing" Target="../drawings/vmlDrawing4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21.xml"/><Relationship Id="rId7" Type="http://schemas.openxmlformats.org/officeDocument/2006/relationships/image" Target="../media/image9.emf"/><Relationship Id="rId2" Type="http://schemas.openxmlformats.org/officeDocument/2006/relationships/tags" Target="../tags/tag920.xml"/><Relationship Id="rId1" Type="http://schemas.openxmlformats.org/officeDocument/2006/relationships/vmlDrawing" Target="../drawings/vmlDrawing4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23.xml"/><Relationship Id="rId7" Type="http://schemas.openxmlformats.org/officeDocument/2006/relationships/image" Target="../media/image9.emf"/><Relationship Id="rId2" Type="http://schemas.openxmlformats.org/officeDocument/2006/relationships/tags" Target="../tags/tag922.xml"/><Relationship Id="rId1" Type="http://schemas.openxmlformats.org/officeDocument/2006/relationships/vmlDrawing" Target="../drawings/vmlDrawing4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34.xml.rels><?xml version="1.0" encoding="UTF-8" standalone="yes"?>
<Relationships xmlns="http://schemas.openxmlformats.org/package/2006/relationships"><Relationship Id="rId3" Type="http://schemas.openxmlformats.org/officeDocument/2006/relationships/tags" Target="../tags/tag925.xml"/><Relationship Id="rId7" Type="http://schemas.openxmlformats.org/officeDocument/2006/relationships/image" Target="../media/image9.emf"/><Relationship Id="rId2" Type="http://schemas.openxmlformats.org/officeDocument/2006/relationships/tags" Target="../tags/tag924.xml"/><Relationship Id="rId1" Type="http://schemas.openxmlformats.org/officeDocument/2006/relationships/vmlDrawing" Target="../drawings/vmlDrawing4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35.xml.rels><?xml version="1.0" encoding="UTF-8" standalone="yes"?>
<Relationships xmlns="http://schemas.openxmlformats.org/package/2006/relationships"><Relationship Id="rId3" Type="http://schemas.openxmlformats.org/officeDocument/2006/relationships/tags" Target="../tags/tag927.xml"/><Relationship Id="rId7" Type="http://schemas.openxmlformats.org/officeDocument/2006/relationships/image" Target="../media/image9.emf"/><Relationship Id="rId2" Type="http://schemas.openxmlformats.org/officeDocument/2006/relationships/tags" Target="../tags/tag926.xml"/><Relationship Id="rId1" Type="http://schemas.openxmlformats.org/officeDocument/2006/relationships/vmlDrawing" Target="../drawings/vmlDrawing4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36.xml.rels><?xml version="1.0" encoding="UTF-8" standalone="yes"?>
<Relationships xmlns="http://schemas.openxmlformats.org/package/2006/relationships"><Relationship Id="rId3" Type="http://schemas.openxmlformats.org/officeDocument/2006/relationships/tags" Target="../tags/tag929.xml"/><Relationship Id="rId7" Type="http://schemas.openxmlformats.org/officeDocument/2006/relationships/image" Target="../media/image2.png"/><Relationship Id="rId2" Type="http://schemas.openxmlformats.org/officeDocument/2006/relationships/tags" Target="../tags/tag928.xml"/><Relationship Id="rId1" Type="http://schemas.openxmlformats.org/officeDocument/2006/relationships/vmlDrawing" Target="../drawings/vmlDrawing4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31.xml"/><Relationship Id="rId7" Type="http://schemas.openxmlformats.org/officeDocument/2006/relationships/image" Target="../media/image1.emf"/><Relationship Id="rId2" Type="http://schemas.openxmlformats.org/officeDocument/2006/relationships/tags" Target="../tags/tag930.xml"/><Relationship Id="rId1" Type="http://schemas.openxmlformats.org/officeDocument/2006/relationships/vmlDrawing" Target="../drawings/vmlDrawing478.vml"/><Relationship Id="rId6" Type="http://schemas.openxmlformats.org/officeDocument/2006/relationships/oleObject" Target="../embeddings/oleObject129.bin"/><Relationship Id="rId5" Type="http://schemas.openxmlformats.org/officeDocument/2006/relationships/image" Target="../media/image10.emf"/><Relationship Id="rId4" Type="http://schemas.openxmlformats.org/officeDocument/2006/relationships/slideMaster" Target="../slideMasters/slideMaster10.xml"/></Relationships>
</file>

<file path=ppt/slideLayouts/_rels/slideLayout7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33.xml"/><Relationship Id="rId7" Type="http://schemas.openxmlformats.org/officeDocument/2006/relationships/image" Target="../media/image10.emf"/><Relationship Id="rId2" Type="http://schemas.openxmlformats.org/officeDocument/2006/relationships/tags" Target="../tags/tag932.xml"/><Relationship Id="rId1" Type="http://schemas.openxmlformats.org/officeDocument/2006/relationships/vmlDrawing" Target="../drawings/vmlDrawing4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35.xml"/><Relationship Id="rId7" Type="http://schemas.openxmlformats.org/officeDocument/2006/relationships/image" Target="../media/image10.emf"/><Relationship Id="rId2" Type="http://schemas.openxmlformats.org/officeDocument/2006/relationships/tags" Target="../tags/tag934.xml"/><Relationship Id="rId1" Type="http://schemas.openxmlformats.org/officeDocument/2006/relationships/vmlDrawing" Target="../drawings/vmlDrawing4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37.xml"/><Relationship Id="rId7" Type="http://schemas.openxmlformats.org/officeDocument/2006/relationships/image" Target="../media/image10.emf"/><Relationship Id="rId2" Type="http://schemas.openxmlformats.org/officeDocument/2006/relationships/tags" Target="../tags/tag936.xml"/><Relationship Id="rId1" Type="http://schemas.openxmlformats.org/officeDocument/2006/relationships/vmlDrawing" Target="../drawings/vmlDrawing4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39.xml"/><Relationship Id="rId7" Type="http://schemas.openxmlformats.org/officeDocument/2006/relationships/image" Target="../media/image10.emf"/><Relationship Id="rId2" Type="http://schemas.openxmlformats.org/officeDocument/2006/relationships/tags" Target="../tags/tag938.xml"/><Relationship Id="rId1" Type="http://schemas.openxmlformats.org/officeDocument/2006/relationships/vmlDrawing" Target="../drawings/vmlDrawing4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941.xml"/><Relationship Id="rId7" Type="http://schemas.openxmlformats.org/officeDocument/2006/relationships/image" Target="../media/image9.emf"/><Relationship Id="rId2" Type="http://schemas.openxmlformats.org/officeDocument/2006/relationships/tags" Target="../tags/tag940.xml"/><Relationship Id="rId1" Type="http://schemas.openxmlformats.org/officeDocument/2006/relationships/vmlDrawing" Target="../drawings/vmlDrawing4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tags" Target="../tags/tag943.xml"/><Relationship Id="rId7" Type="http://schemas.openxmlformats.org/officeDocument/2006/relationships/image" Target="../media/image10.emf"/><Relationship Id="rId2" Type="http://schemas.openxmlformats.org/officeDocument/2006/relationships/tags" Target="../tags/tag942.xml"/><Relationship Id="rId1" Type="http://schemas.openxmlformats.org/officeDocument/2006/relationships/vmlDrawing" Target="../drawings/vmlDrawing4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44.xml.rels><?xml version="1.0" encoding="UTF-8" standalone="yes"?>
<Relationships xmlns="http://schemas.openxmlformats.org/package/2006/relationships"><Relationship Id="rId3" Type="http://schemas.openxmlformats.org/officeDocument/2006/relationships/tags" Target="../tags/tag945.xml"/><Relationship Id="rId7" Type="http://schemas.openxmlformats.org/officeDocument/2006/relationships/image" Target="../media/image2.png"/><Relationship Id="rId2" Type="http://schemas.openxmlformats.org/officeDocument/2006/relationships/tags" Target="../tags/tag944.xml"/><Relationship Id="rId1" Type="http://schemas.openxmlformats.org/officeDocument/2006/relationships/vmlDrawing" Target="../drawings/vmlDrawing4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947.xml"/><Relationship Id="rId7" Type="http://schemas.openxmlformats.org/officeDocument/2006/relationships/image" Target="../media/image2.png"/><Relationship Id="rId2" Type="http://schemas.openxmlformats.org/officeDocument/2006/relationships/tags" Target="../tags/tag946.xml"/><Relationship Id="rId1" Type="http://schemas.openxmlformats.org/officeDocument/2006/relationships/vmlDrawing" Target="../drawings/vmlDrawing4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49.xml"/><Relationship Id="rId7" Type="http://schemas.openxmlformats.org/officeDocument/2006/relationships/image" Target="../media/image10.emf"/><Relationship Id="rId2" Type="http://schemas.openxmlformats.org/officeDocument/2006/relationships/tags" Target="../tags/tag948.xml"/><Relationship Id="rId1" Type="http://schemas.openxmlformats.org/officeDocument/2006/relationships/vmlDrawing" Target="../drawings/vmlDrawing4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51.xml"/><Relationship Id="rId7" Type="http://schemas.openxmlformats.org/officeDocument/2006/relationships/image" Target="../media/image10.emf"/><Relationship Id="rId2" Type="http://schemas.openxmlformats.org/officeDocument/2006/relationships/tags" Target="../tags/tag950.xml"/><Relationship Id="rId1" Type="http://schemas.openxmlformats.org/officeDocument/2006/relationships/vmlDrawing" Target="../drawings/vmlDrawing4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53.xml"/><Relationship Id="rId7" Type="http://schemas.openxmlformats.org/officeDocument/2006/relationships/image" Target="../media/image10.emf"/><Relationship Id="rId2" Type="http://schemas.openxmlformats.org/officeDocument/2006/relationships/tags" Target="../tags/tag952.xml"/><Relationship Id="rId1" Type="http://schemas.openxmlformats.org/officeDocument/2006/relationships/vmlDrawing" Target="../drawings/vmlDrawing4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55.xml"/><Relationship Id="rId7" Type="http://schemas.openxmlformats.org/officeDocument/2006/relationships/image" Target="../media/image10.emf"/><Relationship Id="rId2" Type="http://schemas.openxmlformats.org/officeDocument/2006/relationships/tags" Target="../tags/tag954.xml"/><Relationship Id="rId1" Type="http://schemas.openxmlformats.org/officeDocument/2006/relationships/vmlDrawing" Target="../drawings/vmlDrawing4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0.xml.rels><?xml version="1.0" encoding="UTF-8" standalone="yes"?>
<Relationships xmlns="http://schemas.openxmlformats.org/package/2006/relationships"><Relationship Id="rId3" Type="http://schemas.openxmlformats.org/officeDocument/2006/relationships/tags" Target="../tags/tag957.xml"/><Relationship Id="rId7" Type="http://schemas.openxmlformats.org/officeDocument/2006/relationships/image" Target="../media/image10.emf"/><Relationship Id="rId2" Type="http://schemas.openxmlformats.org/officeDocument/2006/relationships/tags" Target="../tags/tag956.xml"/><Relationship Id="rId1" Type="http://schemas.openxmlformats.org/officeDocument/2006/relationships/vmlDrawing" Target="../drawings/vmlDrawing4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51.xml.rels><?xml version="1.0" encoding="UTF-8" standalone="yes"?>
<Relationships xmlns="http://schemas.openxmlformats.org/package/2006/relationships"><Relationship Id="rId3" Type="http://schemas.openxmlformats.org/officeDocument/2006/relationships/tags" Target="../tags/tag959.xml"/><Relationship Id="rId7" Type="http://schemas.openxmlformats.org/officeDocument/2006/relationships/image" Target="../media/image10.emf"/><Relationship Id="rId2" Type="http://schemas.openxmlformats.org/officeDocument/2006/relationships/tags" Target="../tags/tag958.xml"/><Relationship Id="rId1" Type="http://schemas.openxmlformats.org/officeDocument/2006/relationships/vmlDrawing" Target="../drawings/vmlDrawing4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52.xml.rels><?xml version="1.0" encoding="UTF-8" standalone="yes"?>
<Relationships xmlns="http://schemas.openxmlformats.org/package/2006/relationships"><Relationship Id="rId3" Type="http://schemas.openxmlformats.org/officeDocument/2006/relationships/tags" Target="../tags/tag961.xml"/><Relationship Id="rId7" Type="http://schemas.openxmlformats.org/officeDocument/2006/relationships/image" Target="../media/image2.png"/><Relationship Id="rId2" Type="http://schemas.openxmlformats.org/officeDocument/2006/relationships/tags" Target="../tags/tag960.xml"/><Relationship Id="rId1" Type="http://schemas.openxmlformats.org/officeDocument/2006/relationships/vmlDrawing" Target="../drawings/vmlDrawing4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963.xml"/><Relationship Id="rId7" Type="http://schemas.openxmlformats.org/officeDocument/2006/relationships/image" Target="../media/image2.png"/><Relationship Id="rId2" Type="http://schemas.openxmlformats.org/officeDocument/2006/relationships/tags" Target="../tags/tag962.xml"/><Relationship Id="rId1" Type="http://schemas.openxmlformats.org/officeDocument/2006/relationships/vmlDrawing" Target="../drawings/vmlDrawing4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65.xml"/><Relationship Id="rId7" Type="http://schemas.openxmlformats.org/officeDocument/2006/relationships/image" Target="../media/image10.emf"/><Relationship Id="rId2" Type="http://schemas.openxmlformats.org/officeDocument/2006/relationships/tags" Target="../tags/tag964.xml"/><Relationship Id="rId1" Type="http://schemas.openxmlformats.org/officeDocument/2006/relationships/vmlDrawing" Target="../drawings/vmlDrawing4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67.xml"/><Relationship Id="rId7" Type="http://schemas.openxmlformats.org/officeDocument/2006/relationships/image" Target="../media/image10.emf"/><Relationship Id="rId2" Type="http://schemas.openxmlformats.org/officeDocument/2006/relationships/tags" Target="../tags/tag966.xml"/><Relationship Id="rId1" Type="http://schemas.openxmlformats.org/officeDocument/2006/relationships/vmlDrawing" Target="../drawings/vmlDrawing4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69.xml"/><Relationship Id="rId7" Type="http://schemas.openxmlformats.org/officeDocument/2006/relationships/image" Target="../media/image10.emf"/><Relationship Id="rId2" Type="http://schemas.openxmlformats.org/officeDocument/2006/relationships/tags" Target="../tags/tag968.xml"/><Relationship Id="rId1" Type="http://schemas.openxmlformats.org/officeDocument/2006/relationships/vmlDrawing" Target="../drawings/vmlDrawing4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71.xml"/><Relationship Id="rId7" Type="http://schemas.openxmlformats.org/officeDocument/2006/relationships/image" Target="../media/image10.emf"/><Relationship Id="rId2" Type="http://schemas.openxmlformats.org/officeDocument/2006/relationships/tags" Target="../tags/tag970.xml"/><Relationship Id="rId1" Type="http://schemas.openxmlformats.org/officeDocument/2006/relationships/vmlDrawing" Target="../drawings/vmlDrawing4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58.xml.rels><?xml version="1.0" encoding="UTF-8" standalone="yes"?>
<Relationships xmlns="http://schemas.openxmlformats.org/package/2006/relationships"><Relationship Id="rId3" Type="http://schemas.openxmlformats.org/officeDocument/2006/relationships/tags" Target="../tags/tag973.xml"/><Relationship Id="rId7" Type="http://schemas.openxmlformats.org/officeDocument/2006/relationships/image" Target="../media/image10.emf"/><Relationship Id="rId2" Type="http://schemas.openxmlformats.org/officeDocument/2006/relationships/tags" Target="../tags/tag972.xml"/><Relationship Id="rId1" Type="http://schemas.openxmlformats.org/officeDocument/2006/relationships/vmlDrawing" Target="../drawings/vmlDrawing4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59.xml.rels><?xml version="1.0" encoding="UTF-8" standalone="yes"?>
<Relationships xmlns="http://schemas.openxmlformats.org/package/2006/relationships"><Relationship Id="rId3" Type="http://schemas.openxmlformats.org/officeDocument/2006/relationships/tags" Target="../tags/tag975.xml"/><Relationship Id="rId7" Type="http://schemas.openxmlformats.org/officeDocument/2006/relationships/image" Target="../media/image10.emf"/><Relationship Id="rId2" Type="http://schemas.openxmlformats.org/officeDocument/2006/relationships/tags" Target="../tags/tag974.xml"/><Relationship Id="rId1" Type="http://schemas.openxmlformats.org/officeDocument/2006/relationships/vmlDrawing" Target="../drawings/vmlDrawing5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0.xml.rels><?xml version="1.0" encoding="UTF-8" standalone="yes"?>
<Relationships xmlns="http://schemas.openxmlformats.org/package/2006/relationships"><Relationship Id="rId3" Type="http://schemas.openxmlformats.org/officeDocument/2006/relationships/tags" Target="../tags/tag977.xml"/><Relationship Id="rId2" Type="http://schemas.openxmlformats.org/officeDocument/2006/relationships/tags" Target="../tags/tag976.xml"/><Relationship Id="rId1" Type="http://schemas.openxmlformats.org/officeDocument/2006/relationships/vmlDrawing" Target="../drawings/vmlDrawing5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10.xml"/></Relationships>
</file>

<file path=ppt/slideLayouts/_rels/slideLayout7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79.xml"/><Relationship Id="rId7" Type="http://schemas.openxmlformats.org/officeDocument/2006/relationships/image" Target="../media/image11.emf"/><Relationship Id="rId2" Type="http://schemas.openxmlformats.org/officeDocument/2006/relationships/tags" Target="../tags/tag978.xml"/><Relationship Id="rId1" Type="http://schemas.openxmlformats.org/officeDocument/2006/relationships/vmlDrawing" Target="../drawings/vmlDrawing5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12.emf"/></Relationships>
</file>

<file path=ppt/slideLayouts/_rels/slideLayout7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81.xml"/><Relationship Id="rId7" Type="http://schemas.openxmlformats.org/officeDocument/2006/relationships/image" Target="../media/image11.emf"/><Relationship Id="rId2" Type="http://schemas.openxmlformats.org/officeDocument/2006/relationships/tags" Target="../tags/tag980.xml"/><Relationship Id="rId1" Type="http://schemas.openxmlformats.org/officeDocument/2006/relationships/vmlDrawing" Target="../drawings/vmlDrawing503.vml"/><Relationship Id="rId6" Type="http://schemas.openxmlformats.org/officeDocument/2006/relationships/image" Target="../media/image1.emf"/><Relationship Id="rId11" Type="http://schemas.openxmlformats.org/officeDocument/2006/relationships/image" Target="../media/image14.emf"/><Relationship Id="rId5" Type="http://schemas.openxmlformats.org/officeDocument/2006/relationships/oleObject" Target="../embeddings/oleObject136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13.emf"/></Relationships>
</file>

<file path=ppt/slideLayouts/_rels/slideLayout7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83.xml"/><Relationship Id="rId7" Type="http://schemas.openxmlformats.org/officeDocument/2006/relationships/image" Target="../media/image11.emf"/><Relationship Id="rId2" Type="http://schemas.openxmlformats.org/officeDocument/2006/relationships/tags" Target="../tags/tag982.xml"/><Relationship Id="rId1" Type="http://schemas.openxmlformats.org/officeDocument/2006/relationships/vmlDrawing" Target="../drawings/vmlDrawing5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12.emf"/></Relationships>
</file>

<file path=ppt/slideLayouts/_rels/slideLayout7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85.xml"/><Relationship Id="rId7" Type="http://schemas.openxmlformats.org/officeDocument/2006/relationships/image" Target="../media/image11.emf"/><Relationship Id="rId2" Type="http://schemas.openxmlformats.org/officeDocument/2006/relationships/tags" Target="../tags/tag984.xml"/><Relationship Id="rId1" Type="http://schemas.openxmlformats.org/officeDocument/2006/relationships/vmlDrawing" Target="../drawings/vmlDrawing505.vml"/><Relationship Id="rId6" Type="http://schemas.openxmlformats.org/officeDocument/2006/relationships/image" Target="../media/image1.emf"/><Relationship Id="rId11" Type="http://schemas.openxmlformats.org/officeDocument/2006/relationships/image" Target="../media/image13.emf"/><Relationship Id="rId5" Type="http://schemas.openxmlformats.org/officeDocument/2006/relationships/oleObject" Target="../embeddings/oleObject136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12.emf"/></Relationships>
</file>

<file path=ppt/slideLayouts/_rels/slideLayout7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87.xml"/><Relationship Id="rId7" Type="http://schemas.openxmlformats.org/officeDocument/2006/relationships/image" Target="../media/image11.emf"/><Relationship Id="rId2" Type="http://schemas.openxmlformats.org/officeDocument/2006/relationships/tags" Target="../tags/tag986.xml"/><Relationship Id="rId1" Type="http://schemas.openxmlformats.org/officeDocument/2006/relationships/vmlDrawing" Target="../drawings/vmlDrawing5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12.emf"/></Relationships>
</file>

<file path=ppt/slideLayouts/_rels/slideLayout7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89.xml"/><Relationship Id="rId7" Type="http://schemas.openxmlformats.org/officeDocument/2006/relationships/image" Target="../media/image11.emf"/><Relationship Id="rId2" Type="http://schemas.openxmlformats.org/officeDocument/2006/relationships/tags" Target="../tags/tag988.xml"/><Relationship Id="rId1" Type="http://schemas.openxmlformats.org/officeDocument/2006/relationships/vmlDrawing" Target="../drawings/vmlDrawing5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12.emf"/></Relationships>
</file>

<file path=ppt/slideLayouts/_rels/slideLayout7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91.xml"/><Relationship Id="rId7" Type="http://schemas.openxmlformats.org/officeDocument/2006/relationships/image" Target="../media/image11.emf"/><Relationship Id="rId2" Type="http://schemas.openxmlformats.org/officeDocument/2006/relationships/tags" Target="../tags/tag990.xml"/><Relationship Id="rId1" Type="http://schemas.openxmlformats.org/officeDocument/2006/relationships/vmlDrawing" Target="../drawings/vmlDrawing5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12.emf"/></Relationships>
</file>

<file path=ppt/slideLayouts/_rels/slideLayout7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93.xml"/><Relationship Id="rId7" Type="http://schemas.openxmlformats.org/officeDocument/2006/relationships/image" Target="../media/image11.emf"/><Relationship Id="rId2" Type="http://schemas.openxmlformats.org/officeDocument/2006/relationships/tags" Target="../tags/tag992.xml"/><Relationship Id="rId1" Type="http://schemas.openxmlformats.org/officeDocument/2006/relationships/vmlDrawing" Target="../drawings/vmlDrawing5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12.emf"/></Relationships>
</file>

<file path=ppt/slideLayouts/_rels/slideLayout7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95.xml"/><Relationship Id="rId7" Type="http://schemas.openxmlformats.org/officeDocument/2006/relationships/image" Target="../media/image11.emf"/><Relationship Id="rId2" Type="http://schemas.openxmlformats.org/officeDocument/2006/relationships/tags" Target="../tags/tag994.xml"/><Relationship Id="rId1" Type="http://schemas.openxmlformats.org/officeDocument/2006/relationships/vmlDrawing" Target="../drawings/vmlDrawing5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12.emf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97.xml"/><Relationship Id="rId7" Type="http://schemas.openxmlformats.org/officeDocument/2006/relationships/image" Target="../media/image11.emf"/><Relationship Id="rId2" Type="http://schemas.openxmlformats.org/officeDocument/2006/relationships/tags" Target="../tags/tag996.xml"/><Relationship Id="rId1" Type="http://schemas.openxmlformats.org/officeDocument/2006/relationships/vmlDrawing" Target="../drawings/vmlDrawing5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14.emf"/></Relationships>
</file>

<file path=ppt/slideLayouts/_rels/slideLayout7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999.xml"/><Relationship Id="rId7" Type="http://schemas.openxmlformats.org/officeDocument/2006/relationships/image" Target="../media/image11.emf"/><Relationship Id="rId2" Type="http://schemas.openxmlformats.org/officeDocument/2006/relationships/tags" Target="../tags/tag998.xml"/><Relationship Id="rId1" Type="http://schemas.openxmlformats.org/officeDocument/2006/relationships/vmlDrawing" Target="../drawings/vmlDrawing5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12.emf"/></Relationships>
</file>

<file path=ppt/slideLayouts/_rels/slideLayout7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001.xml"/><Relationship Id="rId7" Type="http://schemas.openxmlformats.org/officeDocument/2006/relationships/image" Target="../media/image11.emf"/><Relationship Id="rId2" Type="http://schemas.openxmlformats.org/officeDocument/2006/relationships/tags" Target="../tags/tag1000.xml"/><Relationship Id="rId1" Type="http://schemas.openxmlformats.org/officeDocument/2006/relationships/vmlDrawing" Target="../drawings/vmlDrawing5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14.emf"/></Relationships>
</file>

<file path=ppt/slideLayouts/_rels/slideLayout773.xml.rels><?xml version="1.0" encoding="UTF-8" standalone="yes"?>
<Relationships xmlns="http://schemas.openxmlformats.org/package/2006/relationships"><Relationship Id="rId3" Type="http://schemas.openxmlformats.org/officeDocument/2006/relationships/tags" Target="../tags/tag1003.xml"/><Relationship Id="rId2" Type="http://schemas.openxmlformats.org/officeDocument/2006/relationships/tags" Target="../tags/tag1002.xml"/><Relationship Id="rId1" Type="http://schemas.openxmlformats.org/officeDocument/2006/relationships/vmlDrawing" Target="../drawings/vmlDrawing5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10.xml"/></Relationships>
</file>

<file path=ppt/slideLayouts/_rels/slideLayout774.xml.rels><?xml version="1.0" encoding="UTF-8" standalone="yes"?>
<Relationships xmlns="http://schemas.openxmlformats.org/package/2006/relationships"><Relationship Id="rId3" Type="http://schemas.openxmlformats.org/officeDocument/2006/relationships/tags" Target="../tags/tag1005.xml"/><Relationship Id="rId2" Type="http://schemas.openxmlformats.org/officeDocument/2006/relationships/tags" Target="../tags/tag1004.xml"/><Relationship Id="rId1" Type="http://schemas.openxmlformats.org/officeDocument/2006/relationships/vmlDrawing" Target="../drawings/vmlDrawing5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10.xml"/></Relationships>
</file>

<file path=ppt/slideLayouts/_rels/slideLayout775.xml.rels><?xml version="1.0" encoding="UTF-8" standalone="yes"?>
<Relationships xmlns="http://schemas.openxmlformats.org/package/2006/relationships"><Relationship Id="rId3" Type="http://schemas.openxmlformats.org/officeDocument/2006/relationships/tags" Target="../tags/tag1007.xml"/><Relationship Id="rId2" Type="http://schemas.openxmlformats.org/officeDocument/2006/relationships/tags" Target="../tags/tag1006.xml"/><Relationship Id="rId1" Type="http://schemas.openxmlformats.org/officeDocument/2006/relationships/vmlDrawing" Target="../drawings/vmlDrawing5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10.xml"/></Relationships>
</file>

<file path=ppt/slideLayouts/_rels/slideLayout7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tags" Target="../tags/tag1009.xml"/><Relationship Id="rId7" Type="http://schemas.openxmlformats.org/officeDocument/2006/relationships/image" Target="../media/image29.png"/><Relationship Id="rId2" Type="http://schemas.openxmlformats.org/officeDocument/2006/relationships/tags" Target="../tags/tag1008.xml"/><Relationship Id="rId1" Type="http://schemas.openxmlformats.org/officeDocument/2006/relationships/vmlDrawing" Target="../drawings/vmlDrawing5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10.xml"/></Relationships>
</file>

<file path=ppt/slideLayouts/_rels/slideLayout777.xml.rels><?xml version="1.0" encoding="UTF-8" standalone="yes"?>
<Relationships xmlns="http://schemas.openxmlformats.org/package/2006/relationships"><Relationship Id="rId3" Type="http://schemas.openxmlformats.org/officeDocument/2006/relationships/tags" Target="../tags/tag1011.xml"/><Relationship Id="rId2" Type="http://schemas.openxmlformats.org/officeDocument/2006/relationships/tags" Target="../tags/tag1010.xml"/><Relationship Id="rId1" Type="http://schemas.openxmlformats.org/officeDocument/2006/relationships/vmlDrawing" Target="../drawings/vmlDrawing5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10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tags" Target="../tags/tag1013.xml"/><Relationship Id="rId7" Type="http://schemas.openxmlformats.org/officeDocument/2006/relationships/image" Target="../media/image29.png"/><Relationship Id="rId2" Type="http://schemas.openxmlformats.org/officeDocument/2006/relationships/tags" Target="../tags/tag1012.xml"/><Relationship Id="rId1" Type="http://schemas.openxmlformats.org/officeDocument/2006/relationships/vmlDrawing" Target="../drawings/vmlDrawing5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7.bin"/><Relationship Id="rId4" Type="http://schemas.openxmlformats.org/officeDocument/2006/relationships/slideMaster" Target="../slideMasters/slideMaster10.xml"/></Relationships>
</file>

<file path=ppt/slideLayouts/_rels/slideLayout7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tags" Target="../tags/tag1015.xml"/><Relationship Id="rId7" Type="http://schemas.openxmlformats.org/officeDocument/2006/relationships/image" Target="../media/image29.png"/><Relationship Id="rId2" Type="http://schemas.openxmlformats.org/officeDocument/2006/relationships/tags" Target="../tags/tag1014.xml"/><Relationship Id="rId1" Type="http://schemas.openxmlformats.org/officeDocument/2006/relationships/vmlDrawing" Target="../drawings/vmlDrawing5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7.bin"/><Relationship Id="rId4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png"/><Relationship Id="rId2" Type="http://schemas.openxmlformats.org/officeDocument/2006/relationships/tags" Target="../tags/tag1016.xml"/><Relationship Id="rId1" Type="http://schemas.openxmlformats.org/officeDocument/2006/relationships/vmlDrawing" Target="../drawings/vmlDrawing52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/Relationships>
</file>

<file path=ppt/slideLayouts/_rels/slideLayout7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png"/><Relationship Id="rId2" Type="http://schemas.openxmlformats.org/officeDocument/2006/relationships/tags" Target="../tags/tag1017.xml"/><Relationship Id="rId1" Type="http://schemas.openxmlformats.org/officeDocument/2006/relationships/vmlDrawing" Target="../drawings/vmlDrawing52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/Relationships>
</file>

<file path=ppt/slideLayouts/_rels/slideLayout7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0.xml"/><Relationship Id="rId7" Type="http://schemas.microsoft.com/office/2007/relationships/hdphoto" Target="../media/hdphoto1.wdp"/><Relationship Id="rId2" Type="http://schemas.openxmlformats.org/officeDocument/2006/relationships/tags" Target="../tags/tag1018.xml"/><Relationship Id="rId1" Type="http://schemas.openxmlformats.org/officeDocument/2006/relationships/vmlDrawing" Target="../drawings/vmlDrawing523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Relationship Id="rId9" Type="http://schemas.openxmlformats.org/officeDocument/2006/relationships/image" Target="../media/image2.png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22.xml"/><Relationship Id="rId7" Type="http://schemas.openxmlformats.org/officeDocument/2006/relationships/image" Target="../media/image4.png"/><Relationship Id="rId2" Type="http://schemas.openxmlformats.org/officeDocument/2006/relationships/tags" Target="../tags/tag1021.xml"/><Relationship Id="rId1" Type="http://schemas.openxmlformats.org/officeDocument/2006/relationships/vmlDrawing" Target="../drawings/vmlDrawing5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tags" Target="../tags/tag139.xml"/><Relationship Id="rId7" Type="http://schemas.openxmlformats.org/officeDocument/2006/relationships/image" Target="../media/image15.png"/><Relationship Id="rId2" Type="http://schemas.openxmlformats.org/officeDocument/2006/relationships/tags" Target="../tags/tag138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800.xml.rels><?xml version="1.0" encoding="UTF-8" standalone="yes"?>
<Relationships xmlns="http://schemas.openxmlformats.org/package/2006/relationships"><Relationship Id="rId3" Type="http://schemas.openxmlformats.org/officeDocument/2006/relationships/tags" Target="../tags/tag1024.xml"/><Relationship Id="rId2" Type="http://schemas.openxmlformats.org/officeDocument/2006/relationships/tags" Target="../tags/tag1023.xml"/><Relationship Id="rId1" Type="http://schemas.openxmlformats.org/officeDocument/2006/relationships/vmlDrawing" Target="../drawings/vmlDrawing5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26.xml"/><Relationship Id="rId7" Type="http://schemas.openxmlformats.org/officeDocument/2006/relationships/image" Target="../media/image1.emf"/><Relationship Id="rId2" Type="http://schemas.openxmlformats.org/officeDocument/2006/relationships/tags" Target="../tags/tag1025.xml"/><Relationship Id="rId1" Type="http://schemas.openxmlformats.org/officeDocument/2006/relationships/vmlDrawing" Target="../drawings/vmlDrawing527.vml"/><Relationship Id="rId6" Type="http://schemas.openxmlformats.org/officeDocument/2006/relationships/oleObject" Target="../embeddings/oleObject32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11.xml"/></Relationships>
</file>

<file path=ppt/slideLayouts/_rels/slideLayout8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027.xml"/><Relationship Id="rId1" Type="http://schemas.openxmlformats.org/officeDocument/2006/relationships/vmlDrawing" Target="../drawings/vmlDrawing52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tags" Target="../tags/tag1029.xml"/><Relationship Id="rId7" Type="http://schemas.openxmlformats.org/officeDocument/2006/relationships/image" Target="../media/image2.png"/><Relationship Id="rId2" Type="http://schemas.openxmlformats.org/officeDocument/2006/relationships/tags" Target="../tags/tag1028.xml"/><Relationship Id="rId1" Type="http://schemas.openxmlformats.org/officeDocument/2006/relationships/vmlDrawing" Target="../drawings/vmlDrawing5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1.xml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tags" Target="../tags/tag1031.xml"/><Relationship Id="rId7" Type="http://schemas.openxmlformats.org/officeDocument/2006/relationships/image" Target="../media/image6.png"/><Relationship Id="rId2" Type="http://schemas.openxmlformats.org/officeDocument/2006/relationships/tags" Target="../tags/tag1030.xml"/><Relationship Id="rId1" Type="http://schemas.openxmlformats.org/officeDocument/2006/relationships/vmlDrawing" Target="../drawings/vmlDrawing5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1.xml"/></Relationships>
</file>

<file path=ppt/slideLayouts/_rels/slideLayout8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33.xml"/><Relationship Id="rId7" Type="http://schemas.openxmlformats.org/officeDocument/2006/relationships/image" Target="../media/image1.emf"/><Relationship Id="rId2" Type="http://schemas.openxmlformats.org/officeDocument/2006/relationships/tags" Target="../tags/tag1032.xml"/><Relationship Id="rId1" Type="http://schemas.openxmlformats.org/officeDocument/2006/relationships/vmlDrawing" Target="../drawings/vmlDrawing531.v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11.xml"/></Relationships>
</file>

<file path=ppt/slideLayouts/_rels/slideLayout8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1.xml"/></Relationships>
</file>

<file path=ppt/slideLayouts/_rels/slideLayout807.xml.rels><?xml version="1.0" encoding="UTF-8" standalone="yes"?>
<Relationships xmlns="http://schemas.openxmlformats.org/package/2006/relationships"><Relationship Id="rId3" Type="http://schemas.openxmlformats.org/officeDocument/2006/relationships/tags" Target="../tags/tag1035.xml"/><Relationship Id="rId2" Type="http://schemas.openxmlformats.org/officeDocument/2006/relationships/tags" Target="../tags/tag1034.xml"/><Relationship Id="rId1" Type="http://schemas.openxmlformats.org/officeDocument/2006/relationships/vmlDrawing" Target="../drawings/vmlDrawing5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1.xml"/></Relationships>
</file>

<file path=ppt/slideLayouts/_rels/slideLayout808.xml.rels><?xml version="1.0" encoding="UTF-8" standalone="yes"?>
<Relationships xmlns="http://schemas.openxmlformats.org/package/2006/relationships"><Relationship Id="rId3" Type="http://schemas.openxmlformats.org/officeDocument/2006/relationships/tags" Target="../tags/tag1037.xml"/><Relationship Id="rId7" Type="http://schemas.openxmlformats.org/officeDocument/2006/relationships/image" Target="../media/image2.png"/><Relationship Id="rId2" Type="http://schemas.openxmlformats.org/officeDocument/2006/relationships/tags" Target="../tags/tag1036.xml"/><Relationship Id="rId1" Type="http://schemas.openxmlformats.org/officeDocument/2006/relationships/vmlDrawing" Target="../drawings/vmlDrawing5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1.xml"/></Relationships>
</file>

<file path=ppt/slideLayouts/_rels/slideLayout809.xml.rels><?xml version="1.0" encoding="UTF-8" standalone="yes"?>
<Relationships xmlns="http://schemas.openxmlformats.org/package/2006/relationships"><Relationship Id="rId3" Type="http://schemas.openxmlformats.org/officeDocument/2006/relationships/tags" Target="../tags/tag1039.xml"/><Relationship Id="rId7" Type="http://schemas.openxmlformats.org/officeDocument/2006/relationships/image" Target="../media/image2.png"/><Relationship Id="rId2" Type="http://schemas.openxmlformats.org/officeDocument/2006/relationships/tags" Target="../tags/tag1038.xml"/><Relationship Id="rId1" Type="http://schemas.openxmlformats.org/officeDocument/2006/relationships/vmlDrawing" Target="../drawings/vmlDrawing5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tags" Target="../tags/tag141.xml"/><Relationship Id="rId7" Type="http://schemas.openxmlformats.org/officeDocument/2006/relationships/image" Target="../media/image15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810.xml.rels><?xml version="1.0" encoding="UTF-8" standalone="yes"?>
<Relationships xmlns="http://schemas.openxmlformats.org/package/2006/relationships"><Relationship Id="rId3" Type="http://schemas.openxmlformats.org/officeDocument/2006/relationships/tags" Target="../tags/tag1041.xml"/><Relationship Id="rId7" Type="http://schemas.openxmlformats.org/officeDocument/2006/relationships/image" Target="../media/image2.png"/><Relationship Id="rId2" Type="http://schemas.openxmlformats.org/officeDocument/2006/relationships/tags" Target="../tags/tag1040.xml"/><Relationship Id="rId1" Type="http://schemas.openxmlformats.org/officeDocument/2006/relationships/vmlDrawing" Target="../drawings/vmlDrawing5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1.xml"/></Relationships>
</file>

<file path=ppt/slideLayouts/_rels/slideLayout811.xml.rels><?xml version="1.0" encoding="UTF-8" standalone="yes"?>
<Relationships xmlns="http://schemas.openxmlformats.org/package/2006/relationships"><Relationship Id="rId3" Type="http://schemas.openxmlformats.org/officeDocument/2006/relationships/tags" Target="../tags/tag1043.xml"/><Relationship Id="rId7" Type="http://schemas.openxmlformats.org/officeDocument/2006/relationships/image" Target="../media/image2.png"/><Relationship Id="rId2" Type="http://schemas.openxmlformats.org/officeDocument/2006/relationships/tags" Target="../tags/tag1042.xml"/><Relationship Id="rId1" Type="http://schemas.openxmlformats.org/officeDocument/2006/relationships/vmlDrawing" Target="../drawings/vmlDrawing5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1.xml"/></Relationships>
</file>

<file path=ppt/slideLayouts/_rels/slideLayout812.xml.rels><?xml version="1.0" encoding="UTF-8" standalone="yes"?>
<Relationships xmlns="http://schemas.openxmlformats.org/package/2006/relationships"><Relationship Id="rId3" Type="http://schemas.openxmlformats.org/officeDocument/2006/relationships/tags" Target="../tags/tag1045.xml"/><Relationship Id="rId2" Type="http://schemas.openxmlformats.org/officeDocument/2006/relationships/tags" Target="../tags/tag1044.xml"/><Relationship Id="rId1" Type="http://schemas.openxmlformats.org/officeDocument/2006/relationships/vmlDrawing" Target="../drawings/vmlDrawing5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13.xml.rels><?xml version="1.0" encoding="UTF-8" standalone="yes"?>
<Relationships xmlns="http://schemas.openxmlformats.org/package/2006/relationships"><Relationship Id="rId3" Type="http://schemas.openxmlformats.org/officeDocument/2006/relationships/tags" Target="../tags/tag1047.xml"/><Relationship Id="rId2" Type="http://schemas.openxmlformats.org/officeDocument/2006/relationships/tags" Target="../tags/tag1046.xml"/><Relationship Id="rId1" Type="http://schemas.openxmlformats.org/officeDocument/2006/relationships/vmlDrawing" Target="../drawings/vmlDrawing5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14.xml.rels><?xml version="1.0" encoding="UTF-8" standalone="yes"?>
<Relationships xmlns="http://schemas.openxmlformats.org/package/2006/relationships"><Relationship Id="rId3" Type="http://schemas.openxmlformats.org/officeDocument/2006/relationships/tags" Target="../tags/tag1049.xml"/><Relationship Id="rId7" Type="http://schemas.openxmlformats.org/officeDocument/2006/relationships/image" Target="../media/image3.emf"/><Relationship Id="rId2" Type="http://schemas.openxmlformats.org/officeDocument/2006/relationships/tags" Target="../tags/tag1048.xml"/><Relationship Id="rId1" Type="http://schemas.openxmlformats.org/officeDocument/2006/relationships/vmlDrawing" Target="../drawings/vmlDrawing5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15.xml.rels><?xml version="1.0" encoding="UTF-8" standalone="yes"?>
<Relationships xmlns="http://schemas.openxmlformats.org/package/2006/relationships"><Relationship Id="rId3" Type="http://schemas.openxmlformats.org/officeDocument/2006/relationships/tags" Target="../tags/tag1051.xml"/><Relationship Id="rId7" Type="http://schemas.openxmlformats.org/officeDocument/2006/relationships/image" Target="../media/image3.emf"/><Relationship Id="rId2" Type="http://schemas.openxmlformats.org/officeDocument/2006/relationships/tags" Target="../tags/tag1050.xml"/><Relationship Id="rId1" Type="http://schemas.openxmlformats.org/officeDocument/2006/relationships/vmlDrawing" Target="../drawings/vmlDrawing5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16.xml.rels><?xml version="1.0" encoding="UTF-8" standalone="yes"?>
<Relationships xmlns="http://schemas.openxmlformats.org/package/2006/relationships"><Relationship Id="rId3" Type="http://schemas.openxmlformats.org/officeDocument/2006/relationships/tags" Target="../tags/tag1053.xml"/><Relationship Id="rId7" Type="http://schemas.openxmlformats.org/officeDocument/2006/relationships/image" Target="../media/image3.emf"/><Relationship Id="rId2" Type="http://schemas.openxmlformats.org/officeDocument/2006/relationships/tags" Target="../tags/tag1052.xml"/><Relationship Id="rId1" Type="http://schemas.openxmlformats.org/officeDocument/2006/relationships/vmlDrawing" Target="../drawings/vmlDrawing5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17.xml.rels><?xml version="1.0" encoding="UTF-8" standalone="yes"?>
<Relationships xmlns="http://schemas.openxmlformats.org/package/2006/relationships"><Relationship Id="rId3" Type="http://schemas.openxmlformats.org/officeDocument/2006/relationships/tags" Target="../tags/tag1055.xml"/><Relationship Id="rId7" Type="http://schemas.openxmlformats.org/officeDocument/2006/relationships/image" Target="../media/image3.emf"/><Relationship Id="rId2" Type="http://schemas.openxmlformats.org/officeDocument/2006/relationships/tags" Target="../tags/tag1054.xml"/><Relationship Id="rId1" Type="http://schemas.openxmlformats.org/officeDocument/2006/relationships/vmlDrawing" Target="../drawings/vmlDrawing5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18.xml.rels><?xml version="1.0" encoding="UTF-8" standalone="yes"?>
<Relationships xmlns="http://schemas.openxmlformats.org/package/2006/relationships"><Relationship Id="rId3" Type="http://schemas.openxmlformats.org/officeDocument/2006/relationships/tags" Target="../tags/tag1057.xml"/><Relationship Id="rId7" Type="http://schemas.openxmlformats.org/officeDocument/2006/relationships/image" Target="../media/image2.png"/><Relationship Id="rId2" Type="http://schemas.openxmlformats.org/officeDocument/2006/relationships/tags" Target="../tags/tag1056.xml"/><Relationship Id="rId1" Type="http://schemas.openxmlformats.org/officeDocument/2006/relationships/vmlDrawing" Target="../drawings/vmlDrawing5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59.xml"/><Relationship Id="rId7" Type="http://schemas.openxmlformats.org/officeDocument/2006/relationships/image" Target="../media/image9.emf"/><Relationship Id="rId2" Type="http://schemas.openxmlformats.org/officeDocument/2006/relationships/tags" Target="../tags/tag1058.xml"/><Relationship Id="rId1" Type="http://schemas.openxmlformats.org/officeDocument/2006/relationships/vmlDrawing" Target="../drawings/vmlDrawing5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61.xml"/><Relationship Id="rId7" Type="http://schemas.openxmlformats.org/officeDocument/2006/relationships/image" Target="../media/image9.emf"/><Relationship Id="rId2" Type="http://schemas.openxmlformats.org/officeDocument/2006/relationships/tags" Target="../tags/tag1060.xml"/><Relationship Id="rId1" Type="http://schemas.openxmlformats.org/officeDocument/2006/relationships/vmlDrawing" Target="../drawings/vmlDrawing5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63.xml"/><Relationship Id="rId7" Type="http://schemas.openxmlformats.org/officeDocument/2006/relationships/image" Target="../media/image9.emf"/><Relationship Id="rId2" Type="http://schemas.openxmlformats.org/officeDocument/2006/relationships/tags" Target="../tags/tag1062.xml"/><Relationship Id="rId1" Type="http://schemas.openxmlformats.org/officeDocument/2006/relationships/vmlDrawing" Target="../drawings/vmlDrawing5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65.xml"/><Relationship Id="rId7" Type="http://schemas.openxmlformats.org/officeDocument/2006/relationships/image" Target="../media/image9.emf"/><Relationship Id="rId2" Type="http://schemas.openxmlformats.org/officeDocument/2006/relationships/tags" Target="../tags/tag1064.xml"/><Relationship Id="rId1" Type="http://schemas.openxmlformats.org/officeDocument/2006/relationships/vmlDrawing" Target="../drawings/vmlDrawing5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67.xml"/><Relationship Id="rId7" Type="http://schemas.openxmlformats.org/officeDocument/2006/relationships/image" Target="../media/image9.emf"/><Relationship Id="rId2" Type="http://schemas.openxmlformats.org/officeDocument/2006/relationships/tags" Target="../tags/tag1066.xml"/><Relationship Id="rId1" Type="http://schemas.openxmlformats.org/officeDocument/2006/relationships/vmlDrawing" Target="../drawings/vmlDrawing5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24.xml.rels><?xml version="1.0" encoding="UTF-8" standalone="yes"?>
<Relationships xmlns="http://schemas.openxmlformats.org/package/2006/relationships"><Relationship Id="rId3" Type="http://schemas.openxmlformats.org/officeDocument/2006/relationships/tags" Target="../tags/tag1069.xml"/><Relationship Id="rId7" Type="http://schemas.openxmlformats.org/officeDocument/2006/relationships/image" Target="../media/image9.emf"/><Relationship Id="rId2" Type="http://schemas.openxmlformats.org/officeDocument/2006/relationships/tags" Target="../tags/tag1068.xml"/><Relationship Id="rId1" Type="http://schemas.openxmlformats.org/officeDocument/2006/relationships/vmlDrawing" Target="../drawings/vmlDrawing5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25.xml.rels><?xml version="1.0" encoding="UTF-8" standalone="yes"?>
<Relationships xmlns="http://schemas.openxmlformats.org/package/2006/relationships"><Relationship Id="rId3" Type="http://schemas.openxmlformats.org/officeDocument/2006/relationships/tags" Target="../tags/tag1071.xml"/><Relationship Id="rId7" Type="http://schemas.openxmlformats.org/officeDocument/2006/relationships/image" Target="../media/image9.emf"/><Relationship Id="rId2" Type="http://schemas.openxmlformats.org/officeDocument/2006/relationships/tags" Target="../tags/tag1070.xml"/><Relationship Id="rId1" Type="http://schemas.openxmlformats.org/officeDocument/2006/relationships/vmlDrawing" Target="../drawings/vmlDrawing5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26.xml.rels><?xml version="1.0" encoding="UTF-8" standalone="yes"?>
<Relationships xmlns="http://schemas.openxmlformats.org/package/2006/relationships"><Relationship Id="rId3" Type="http://schemas.openxmlformats.org/officeDocument/2006/relationships/tags" Target="../tags/tag1073.xml"/><Relationship Id="rId7" Type="http://schemas.openxmlformats.org/officeDocument/2006/relationships/image" Target="../media/image2.png"/><Relationship Id="rId2" Type="http://schemas.openxmlformats.org/officeDocument/2006/relationships/tags" Target="../tags/tag1072.xml"/><Relationship Id="rId1" Type="http://schemas.openxmlformats.org/officeDocument/2006/relationships/vmlDrawing" Target="../drawings/vmlDrawing5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75.xml"/><Relationship Id="rId7" Type="http://schemas.openxmlformats.org/officeDocument/2006/relationships/image" Target="../media/image1.emf"/><Relationship Id="rId2" Type="http://schemas.openxmlformats.org/officeDocument/2006/relationships/tags" Target="../tags/tag1074.xml"/><Relationship Id="rId1" Type="http://schemas.openxmlformats.org/officeDocument/2006/relationships/vmlDrawing" Target="../drawings/vmlDrawing552.vml"/><Relationship Id="rId6" Type="http://schemas.openxmlformats.org/officeDocument/2006/relationships/oleObject" Target="../embeddings/oleObject31.bin"/><Relationship Id="rId5" Type="http://schemas.openxmlformats.org/officeDocument/2006/relationships/image" Target="../media/image10.emf"/><Relationship Id="rId4" Type="http://schemas.openxmlformats.org/officeDocument/2006/relationships/slideMaster" Target="../slideMasters/slideMaster11.xml"/></Relationships>
</file>

<file path=ppt/slideLayouts/_rels/slideLayout8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77.xml"/><Relationship Id="rId7" Type="http://schemas.openxmlformats.org/officeDocument/2006/relationships/image" Target="../media/image10.emf"/><Relationship Id="rId2" Type="http://schemas.openxmlformats.org/officeDocument/2006/relationships/tags" Target="../tags/tag1076.xml"/><Relationship Id="rId1" Type="http://schemas.openxmlformats.org/officeDocument/2006/relationships/vmlDrawing" Target="../drawings/vmlDrawing5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79.xml"/><Relationship Id="rId7" Type="http://schemas.openxmlformats.org/officeDocument/2006/relationships/image" Target="../media/image10.emf"/><Relationship Id="rId2" Type="http://schemas.openxmlformats.org/officeDocument/2006/relationships/tags" Target="../tags/tag1078.xml"/><Relationship Id="rId1" Type="http://schemas.openxmlformats.org/officeDocument/2006/relationships/vmlDrawing" Target="../drawings/vmlDrawing5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81.xml"/><Relationship Id="rId7" Type="http://schemas.openxmlformats.org/officeDocument/2006/relationships/image" Target="../media/image10.emf"/><Relationship Id="rId2" Type="http://schemas.openxmlformats.org/officeDocument/2006/relationships/tags" Target="../tags/tag1080.xml"/><Relationship Id="rId1" Type="http://schemas.openxmlformats.org/officeDocument/2006/relationships/vmlDrawing" Target="../drawings/vmlDrawing5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83.xml"/><Relationship Id="rId7" Type="http://schemas.openxmlformats.org/officeDocument/2006/relationships/image" Target="../media/image10.emf"/><Relationship Id="rId2" Type="http://schemas.openxmlformats.org/officeDocument/2006/relationships/tags" Target="../tags/tag1082.xml"/><Relationship Id="rId1" Type="http://schemas.openxmlformats.org/officeDocument/2006/relationships/vmlDrawing" Target="../drawings/vmlDrawing5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085.xml"/><Relationship Id="rId7" Type="http://schemas.openxmlformats.org/officeDocument/2006/relationships/image" Target="../media/image9.emf"/><Relationship Id="rId2" Type="http://schemas.openxmlformats.org/officeDocument/2006/relationships/tags" Target="../tags/tag1084.xml"/><Relationship Id="rId1" Type="http://schemas.openxmlformats.org/officeDocument/2006/relationships/vmlDrawing" Target="../drawings/vmlDrawing5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33.xml.rels><?xml version="1.0" encoding="UTF-8" standalone="yes"?>
<Relationships xmlns="http://schemas.openxmlformats.org/package/2006/relationships"><Relationship Id="rId3" Type="http://schemas.openxmlformats.org/officeDocument/2006/relationships/tags" Target="../tags/tag1087.xml"/><Relationship Id="rId7" Type="http://schemas.openxmlformats.org/officeDocument/2006/relationships/image" Target="../media/image10.emf"/><Relationship Id="rId2" Type="http://schemas.openxmlformats.org/officeDocument/2006/relationships/tags" Target="../tags/tag1086.xml"/><Relationship Id="rId1" Type="http://schemas.openxmlformats.org/officeDocument/2006/relationships/vmlDrawing" Target="../drawings/vmlDrawing5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34.xml.rels><?xml version="1.0" encoding="UTF-8" standalone="yes"?>
<Relationships xmlns="http://schemas.openxmlformats.org/package/2006/relationships"><Relationship Id="rId3" Type="http://schemas.openxmlformats.org/officeDocument/2006/relationships/tags" Target="../tags/tag1089.xml"/><Relationship Id="rId7" Type="http://schemas.openxmlformats.org/officeDocument/2006/relationships/image" Target="../media/image2.png"/><Relationship Id="rId2" Type="http://schemas.openxmlformats.org/officeDocument/2006/relationships/tags" Target="../tags/tag1088.xml"/><Relationship Id="rId1" Type="http://schemas.openxmlformats.org/officeDocument/2006/relationships/vmlDrawing" Target="../drawings/vmlDrawing5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091.xml"/><Relationship Id="rId7" Type="http://schemas.openxmlformats.org/officeDocument/2006/relationships/image" Target="../media/image2.png"/><Relationship Id="rId2" Type="http://schemas.openxmlformats.org/officeDocument/2006/relationships/tags" Target="../tags/tag1090.xml"/><Relationship Id="rId1" Type="http://schemas.openxmlformats.org/officeDocument/2006/relationships/vmlDrawing" Target="../drawings/vmlDrawing5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93.xml"/><Relationship Id="rId7" Type="http://schemas.openxmlformats.org/officeDocument/2006/relationships/image" Target="../media/image10.emf"/><Relationship Id="rId2" Type="http://schemas.openxmlformats.org/officeDocument/2006/relationships/tags" Target="../tags/tag1092.xml"/><Relationship Id="rId1" Type="http://schemas.openxmlformats.org/officeDocument/2006/relationships/vmlDrawing" Target="../drawings/vmlDrawing5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95.xml"/><Relationship Id="rId7" Type="http://schemas.openxmlformats.org/officeDocument/2006/relationships/image" Target="../media/image10.emf"/><Relationship Id="rId2" Type="http://schemas.openxmlformats.org/officeDocument/2006/relationships/tags" Target="../tags/tag1094.xml"/><Relationship Id="rId1" Type="http://schemas.openxmlformats.org/officeDocument/2006/relationships/vmlDrawing" Target="../drawings/vmlDrawing5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97.xml"/><Relationship Id="rId7" Type="http://schemas.openxmlformats.org/officeDocument/2006/relationships/image" Target="../media/image10.emf"/><Relationship Id="rId2" Type="http://schemas.openxmlformats.org/officeDocument/2006/relationships/tags" Target="../tags/tag1096.xml"/><Relationship Id="rId1" Type="http://schemas.openxmlformats.org/officeDocument/2006/relationships/vmlDrawing" Target="../drawings/vmlDrawing5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99.xml"/><Relationship Id="rId7" Type="http://schemas.openxmlformats.org/officeDocument/2006/relationships/image" Target="../media/image10.emf"/><Relationship Id="rId2" Type="http://schemas.openxmlformats.org/officeDocument/2006/relationships/tags" Target="../tags/tag1098.xml"/><Relationship Id="rId1" Type="http://schemas.openxmlformats.org/officeDocument/2006/relationships/vmlDrawing" Target="../drawings/vmlDrawing5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0.xml.rels><?xml version="1.0" encoding="UTF-8" standalone="yes"?>
<Relationships xmlns="http://schemas.openxmlformats.org/package/2006/relationships"><Relationship Id="rId3" Type="http://schemas.openxmlformats.org/officeDocument/2006/relationships/tags" Target="../tags/tag1101.xml"/><Relationship Id="rId7" Type="http://schemas.openxmlformats.org/officeDocument/2006/relationships/image" Target="../media/image10.emf"/><Relationship Id="rId2" Type="http://schemas.openxmlformats.org/officeDocument/2006/relationships/tags" Target="../tags/tag1100.xml"/><Relationship Id="rId1" Type="http://schemas.openxmlformats.org/officeDocument/2006/relationships/vmlDrawing" Target="../drawings/vmlDrawing5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41.xml.rels><?xml version="1.0" encoding="UTF-8" standalone="yes"?>
<Relationships xmlns="http://schemas.openxmlformats.org/package/2006/relationships"><Relationship Id="rId3" Type="http://schemas.openxmlformats.org/officeDocument/2006/relationships/tags" Target="../tags/tag1103.xml"/><Relationship Id="rId7" Type="http://schemas.openxmlformats.org/officeDocument/2006/relationships/image" Target="../media/image10.emf"/><Relationship Id="rId2" Type="http://schemas.openxmlformats.org/officeDocument/2006/relationships/tags" Target="../tags/tag1102.xml"/><Relationship Id="rId1" Type="http://schemas.openxmlformats.org/officeDocument/2006/relationships/vmlDrawing" Target="../drawings/vmlDrawing5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42.xml.rels><?xml version="1.0" encoding="UTF-8" standalone="yes"?>
<Relationships xmlns="http://schemas.openxmlformats.org/package/2006/relationships"><Relationship Id="rId3" Type="http://schemas.openxmlformats.org/officeDocument/2006/relationships/tags" Target="../tags/tag1105.xml"/><Relationship Id="rId7" Type="http://schemas.openxmlformats.org/officeDocument/2006/relationships/image" Target="../media/image2.png"/><Relationship Id="rId2" Type="http://schemas.openxmlformats.org/officeDocument/2006/relationships/tags" Target="../tags/tag1104.xml"/><Relationship Id="rId1" Type="http://schemas.openxmlformats.org/officeDocument/2006/relationships/vmlDrawing" Target="../drawings/vmlDrawing5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107.xml"/><Relationship Id="rId7" Type="http://schemas.openxmlformats.org/officeDocument/2006/relationships/image" Target="../media/image2.png"/><Relationship Id="rId2" Type="http://schemas.openxmlformats.org/officeDocument/2006/relationships/tags" Target="../tags/tag1106.xml"/><Relationship Id="rId1" Type="http://schemas.openxmlformats.org/officeDocument/2006/relationships/vmlDrawing" Target="../drawings/vmlDrawing5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09.xml"/><Relationship Id="rId7" Type="http://schemas.openxmlformats.org/officeDocument/2006/relationships/image" Target="../media/image10.emf"/><Relationship Id="rId2" Type="http://schemas.openxmlformats.org/officeDocument/2006/relationships/tags" Target="../tags/tag1108.xml"/><Relationship Id="rId1" Type="http://schemas.openxmlformats.org/officeDocument/2006/relationships/vmlDrawing" Target="../drawings/vmlDrawing5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11.xml"/><Relationship Id="rId7" Type="http://schemas.openxmlformats.org/officeDocument/2006/relationships/image" Target="../media/image10.emf"/><Relationship Id="rId2" Type="http://schemas.openxmlformats.org/officeDocument/2006/relationships/tags" Target="../tags/tag1110.xml"/><Relationship Id="rId1" Type="http://schemas.openxmlformats.org/officeDocument/2006/relationships/vmlDrawing" Target="../drawings/vmlDrawing5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13.xml"/><Relationship Id="rId7" Type="http://schemas.openxmlformats.org/officeDocument/2006/relationships/image" Target="../media/image10.emf"/><Relationship Id="rId2" Type="http://schemas.openxmlformats.org/officeDocument/2006/relationships/tags" Target="../tags/tag1112.xml"/><Relationship Id="rId1" Type="http://schemas.openxmlformats.org/officeDocument/2006/relationships/vmlDrawing" Target="../drawings/vmlDrawing5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15.xml"/><Relationship Id="rId7" Type="http://schemas.openxmlformats.org/officeDocument/2006/relationships/image" Target="../media/image10.emf"/><Relationship Id="rId2" Type="http://schemas.openxmlformats.org/officeDocument/2006/relationships/tags" Target="../tags/tag1114.xml"/><Relationship Id="rId1" Type="http://schemas.openxmlformats.org/officeDocument/2006/relationships/vmlDrawing" Target="../drawings/vmlDrawing5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48.xml.rels><?xml version="1.0" encoding="UTF-8" standalone="yes"?>
<Relationships xmlns="http://schemas.openxmlformats.org/package/2006/relationships"><Relationship Id="rId3" Type="http://schemas.openxmlformats.org/officeDocument/2006/relationships/tags" Target="../tags/tag1117.xml"/><Relationship Id="rId7" Type="http://schemas.openxmlformats.org/officeDocument/2006/relationships/image" Target="../media/image10.emf"/><Relationship Id="rId2" Type="http://schemas.openxmlformats.org/officeDocument/2006/relationships/tags" Target="../tags/tag1116.xml"/><Relationship Id="rId1" Type="http://schemas.openxmlformats.org/officeDocument/2006/relationships/vmlDrawing" Target="../drawings/vmlDrawing5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49.xml.rels><?xml version="1.0" encoding="UTF-8" standalone="yes"?>
<Relationships xmlns="http://schemas.openxmlformats.org/package/2006/relationships"><Relationship Id="rId3" Type="http://schemas.openxmlformats.org/officeDocument/2006/relationships/tags" Target="../tags/tag1119.xml"/><Relationship Id="rId7" Type="http://schemas.openxmlformats.org/officeDocument/2006/relationships/image" Target="../media/image10.emf"/><Relationship Id="rId2" Type="http://schemas.openxmlformats.org/officeDocument/2006/relationships/tags" Target="../tags/tag1118.xml"/><Relationship Id="rId1" Type="http://schemas.openxmlformats.org/officeDocument/2006/relationships/vmlDrawing" Target="../drawings/vmlDrawing5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4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850.xml.rels><?xml version="1.0" encoding="UTF-8" standalone="yes"?>
<Relationships xmlns="http://schemas.openxmlformats.org/package/2006/relationships"><Relationship Id="rId3" Type="http://schemas.openxmlformats.org/officeDocument/2006/relationships/tags" Target="../tags/tag1121.xml"/><Relationship Id="rId2" Type="http://schemas.openxmlformats.org/officeDocument/2006/relationships/tags" Target="../tags/tag1120.xml"/><Relationship Id="rId1" Type="http://schemas.openxmlformats.org/officeDocument/2006/relationships/vmlDrawing" Target="../drawings/vmlDrawing5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1.xml"/></Relationships>
</file>

<file path=ppt/slideLayouts/_rels/slideLayout8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23.xml"/><Relationship Id="rId7" Type="http://schemas.openxmlformats.org/officeDocument/2006/relationships/image" Target="../media/image11.emf"/><Relationship Id="rId2" Type="http://schemas.openxmlformats.org/officeDocument/2006/relationships/tags" Target="../tags/tag1122.xml"/><Relationship Id="rId1" Type="http://schemas.openxmlformats.org/officeDocument/2006/relationships/vmlDrawing" Target="../drawings/vmlDrawing5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12.emf"/></Relationships>
</file>

<file path=ppt/slideLayouts/_rels/slideLayout8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25.xml"/><Relationship Id="rId7" Type="http://schemas.openxmlformats.org/officeDocument/2006/relationships/image" Target="../media/image11.emf"/><Relationship Id="rId2" Type="http://schemas.openxmlformats.org/officeDocument/2006/relationships/tags" Target="../tags/tag1124.xml"/><Relationship Id="rId1" Type="http://schemas.openxmlformats.org/officeDocument/2006/relationships/vmlDrawing" Target="../drawings/vmlDrawing577.vml"/><Relationship Id="rId6" Type="http://schemas.openxmlformats.org/officeDocument/2006/relationships/image" Target="../media/image1.emf"/><Relationship Id="rId11" Type="http://schemas.openxmlformats.org/officeDocument/2006/relationships/image" Target="../media/image14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13.emf"/></Relationships>
</file>

<file path=ppt/slideLayouts/_rels/slideLayout8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27.xml"/><Relationship Id="rId7" Type="http://schemas.openxmlformats.org/officeDocument/2006/relationships/image" Target="../media/image11.emf"/><Relationship Id="rId2" Type="http://schemas.openxmlformats.org/officeDocument/2006/relationships/tags" Target="../tags/tag1126.xml"/><Relationship Id="rId1" Type="http://schemas.openxmlformats.org/officeDocument/2006/relationships/vmlDrawing" Target="../drawings/vmlDrawing5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12.emf"/></Relationships>
</file>

<file path=ppt/slideLayouts/_rels/slideLayout8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29.xml"/><Relationship Id="rId7" Type="http://schemas.openxmlformats.org/officeDocument/2006/relationships/image" Target="../media/image11.emf"/><Relationship Id="rId2" Type="http://schemas.openxmlformats.org/officeDocument/2006/relationships/tags" Target="../tags/tag1128.xml"/><Relationship Id="rId1" Type="http://schemas.openxmlformats.org/officeDocument/2006/relationships/vmlDrawing" Target="../drawings/vmlDrawing579.vml"/><Relationship Id="rId6" Type="http://schemas.openxmlformats.org/officeDocument/2006/relationships/image" Target="../media/image1.emf"/><Relationship Id="rId11" Type="http://schemas.openxmlformats.org/officeDocument/2006/relationships/image" Target="../media/image13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12.emf"/></Relationships>
</file>

<file path=ppt/slideLayouts/_rels/slideLayout8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31.xml"/><Relationship Id="rId7" Type="http://schemas.openxmlformats.org/officeDocument/2006/relationships/image" Target="../media/image11.emf"/><Relationship Id="rId2" Type="http://schemas.openxmlformats.org/officeDocument/2006/relationships/tags" Target="../tags/tag1130.xml"/><Relationship Id="rId1" Type="http://schemas.openxmlformats.org/officeDocument/2006/relationships/vmlDrawing" Target="../drawings/vmlDrawing5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12.emf"/></Relationships>
</file>

<file path=ppt/slideLayouts/_rels/slideLayout8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33.xml"/><Relationship Id="rId7" Type="http://schemas.openxmlformats.org/officeDocument/2006/relationships/image" Target="../media/image11.emf"/><Relationship Id="rId2" Type="http://schemas.openxmlformats.org/officeDocument/2006/relationships/tags" Target="../tags/tag1132.xml"/><Relationship Id="rId1" Type="http://schemas.openxmlformats.org/officeDocument/2006/relationships/vmlDrawing" Target="../drawings/vmlDrawing5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12.emf"/></Relationships>
</file>

<file path=ppt/slideLayouts/_rels/slideLayout8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35.xml"/><Relationship Id="rId7" Type="http://schemas.openxmlformats.org/officeDocument/2006/relationships/image" Target="../media/image11.emf"/><Relationship Id="rId2" Type="http://schemas.openxmlformats.org/officeDocument/2006/relationships/tags" Target="../tags/tag1134.xml"/><Relationship Id="rId1" Type="http://schemas.openxmlformats.org/officeDocument/2006/relationships/vmlDrawing" Target="../drawings/vmlDrawing5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12.emf"/></Relationships>
</file>

<file path=ppt/slideLayouts/_rels/slideLayout8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37.xml"/><Relationship Id="rId7" Type="http://schemas.openxmlformats.org/officeDocument/2006/relationships/image" Target="../media/image11.emf"/><Relationship Id="rId2" Type="http://schemas.openxmlformats.org/officeDocument/2006/relationships/tags" Target="../tags/tag1136.xml"/><Relationship Id="rId1" Type="http://schemas.openxmlformats.org/officeDocument/2006/relationships/vmlDrawing" Target="../drawings/vmlDrawing5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12.emf"/></Relationships>
</file>

<file path=ppt/slideLayouts/_rels/slideLayout8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39.xml"/><Relationship Id="rId7" Type="http://schemas.openxmlformats.org/officeDocument/2006/relationships/image" Target="../media/image11.emf"/><Relationship Id="rId2" Type="http://schemas.openxmlformats.org/officeDocument/2006/relationships/tags" Target="../tags/tag1138.xml"/><Relationship Id="rId1" Type="http://schemas.openxmlformats.org/officeDocument/2006/relationships/vmlDrawing" Target="../drawings/vmlDrawing5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12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4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8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41.xml"/><Relationship Id="rId7" Type="http://schemas.openxmlformats.org/officeDocument/2006/relationships/image" Target="../media/image11.emf"/><Relationship Id="rId2" Type="http://schemas.openxmlformats.org/officeDocument/2006/relationships/tags" Target="../tags/tag1140.xml"/><Relationship Id="rId1" Type="http://schemas.openxmlformats.org/officeDocument/2006/relationships/vmlDrawing" Target="../drawings/vmlDrawing5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14.emf"/></Relationships>
</file>

<file path=ppt/slideLayouts/_rels/slideLayout8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43.xml"/><Relationship Id="rId7" Type="http://schemas.openxmlformats.org/officeDocument/2006/relationships/image" Target="../media/image11.emf"/><Relationship Id="rId2" Type="http://schemas.openxmlformats.org/officeDocument/2006/relationships/tags" Target="../tags/tag1142.xml"/><Relationship Id="rId1" Type="http://schemas.openxmlformats.org/officeDocument/2006/relationships/vmlDrawing" Target="../drawings/vmlDrawing5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12.emf"/></Relationships>
</file>

<file path=ppt/slideLayouts/_rels/slideLayout8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45.xml"/><Relationship Id="rId7" Type="http://schemas.openxmlformats.org/officeDocument/2006/relationships/image" Target="../media/image11.emf"/><Relationship Id="rId2" Type="http://schemas.openxmlformats.org/officeDocument/2006/relationships/tags" Target="../tags/tag1144.xml"/><Relationship Id="rId1" Type="http://schemas.openxmlformats.org/officeDocument/2006/relationships/vmlDrawing" Target="../drawings/vmlDrawing5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1.xml"/><Relationship Id="rId9" Type="http://schemas.openxmlformats.org/officeDocument/2006/relationships/image" Target="../media/image14.emf"/></Relationships>
</file>

<file path=ppt/slideLayouts/_rels/slideLayout863.xml.rels><?xml version="1.0" encoding="UTF-8" standalone="yes"?>
<Relationships xmlns="http://schemas.openxmlformats.org/package/2006/relationships"><Relationship Id="rId3" Type="http://schemas.openxmlformats.org/officeDocument/2006/relationships/tags" Target="../tags/tag1147.xml"/><Relationship Id="rId2" Type="http://schemas.openxmlformats.org/officeDocument/2006/relationships/tags" Target="../tags/tag1146.xml"/><Relationship Id="rId1" Type="http://schemas.openxmlformats.org/officeDocument/2006/relationships/vmlDrawing" Target="../drawings/vmlDrawing5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1.xml"/></Relationships>
</file>

<file path=ppt/slideLayouts/_rels/slideLayout864.xml.rels><?xml version="1.0" encoding="UTF-8" standalone="yes"?>
<Relationships xmlns="http://schemas.openxmlformats.org/package/2006/relationships"><Relationship Id="rId3" Type="http://schemas.openxmlformats.org/officeDocument/2006/relationships/tags" Target="../tags/tag1149.xml"/><Relationship Id="rId2" Type="http://schemas.openxmlformats.org/officeDocument/2006/relationships/tags" Target="../tags/tag1148.xml"/><Relationship Id="rId1" Type="http://schemas.openxmlformats.org/officeDocument/2006/relationships/vmlDrawing" Target="../drawings/vmlDrawing5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1.xml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tags" Target="../tags/tag1151.xml"/><Relationship Id="rId2" Type="http://schemas.openxmlformats.org/officeDocument/2006/relationships/tags" Target="../tags/tag1150.xml"/><Relationship Id="rId1" Type="http://schemas.openxmlformats.org/officeDocument/2006/relationships/vmlDrawing" Target="../drawings/vmlDrawing5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1.xml"/></Relationships>
</file>

<file path=ppt/slideLayouts/_rels/slideLayout8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tags" Target="../tags/tag1153.xml"/><Relationship Id="rId7" Type="http://schemas.openxmlformats.org/officeDocument/2006/relationships/image" Target="../media/image15.png"/><Relationship Id="rId2" Type="http://schemas.openxmlformats.org/officeDocument/2006/relationships/tags" Target="../tags/tag1152.xml"/><Relationship Id="rId1" Type="http://schemas.openxmlformats.org/officeDocument/2006/relationships/vmlDrawing" Target="../drawings/vmlDrawing5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1.xml"/></Relationships>
</file>

<file path=ppt/slideLayouts/_rels/slideLayout867.xml.rels><?xml version="1.0" encoding="UTF-8" standalone="yes"?>
<Relationships xmlns="http://schemas.openxmlformats.org/package/2006/relationships"><Relationship Id="rId3" Type="http://schemas.openxmlformats.org/officeDocument/2006/relationships/tags" Target="../tags/tag1155.xml"/><Relationship Id="rId2" Type="http://schemas.openxmlformats.org/officeDocument/2006/relationships/tags" Target="../tags/tag1154.xml"/><Relationship Id="rId1" Type="http://schemas.openxmlformats.org/officeDocument/2006/relationships/vmlDrawing" Target="../drawings/vmlDrawing5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8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44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2.png"/></Relationships>
</file>

<file path=ppt/slideLayouts/_rels/slideLayout8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tags" Target="../tags/tag1157.xml"/><Relationship Id="rId7" Type="http://schemas.openxmlformats.org/officeDocument/2006/relationships/image" Target="../media/image15.png"/><Relationship Id="rId2" Type="http://schemas.openxmlformats.org/officeDocument/2006/relationships/tags" Target="../tags/tag1156.xml"/><Relationship Id="rId1" Type="http://schemas.openxmlformats.org/officeDocument/2006/relationships/vmlDrawing" Target="../drawings/vmlDrawing5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1.xml"/></Relationships>
</file>

<file path=ppt/slideLayouts/_rels/slideLayout8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tags" Target="../tags/tag1159.xml"/><Relationship Id="rId7" Type="http://schemas.openxmlformats.org/officeDocument/2006/relationships/image" Target="../media/image15.png"/><Relationship Id="rId2" Type="http://schemas.openxmlformats.org/officeDocument/2006/relationships/tags" Target="../tags/tag1158.xml"/><Relationship Id="rId1" Type="http://schemas.openxmlformats.org/officeDocument/2006/relationships/vmlDrawing" Target="../drawings/vmlDrawing5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2.png"/><Relationship Id="rId2" Type="http://schemas.openxmlformats.org/officeDocument/2006/relationships/tags" Target="../tags/tag1160.xml"/><Relationship Id="rId1" Type="http://schemas.openxmlformats.org/officeDocument/2006/relationships/vmlDrawing" Target="../drawings/vmlDrawing59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8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2.png"/><Relationship Id="rId2" Type="http://schemas.openxmlformats.org/officeDocument/2006/relationships/tags" Target="../tags/tag1161.xml"/><Relationship Id="rId1" Type="http://schemas.openxmlformats.org/officeDocument/2006/relationships/vmlDrawing" Target="../drawings/vmlDrawing59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8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1.xml"/><Relationship Id="rId7" Type="http://schemas.microsoft.com/office/2007/relationships/hdphoto" Target="../media/hdphoto1.wdp"/><Relationship Id="rId2" Type="http://schemas.openxmlformats.org/officeDocument/2006/relationships/tags" Target="../tags/tag1162.xml"/><Relationship Id="rId1" Type="http://schemas.openxmlformats.org/officeDocument/2006/relationships/vmlDrawing" Target="../drawings/vmlDrawing597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Relationship Id="rId9" Type="http://schemas.openxmlformats.org/officeDocument/2006/relationships/image" Target="../media/image2.png"/></Relationships>
</file>

<file path=ppt/slideLayouts/_rels/slideLayout8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8.xml"/><Relationship Id="rId7" Type="http://schemas.openxmlformats.org/officeDocument/2006/relationships/image" Target="../media/image4.png"/><Relationship Id="rId2" Type="http://schemas.openxmlformats.org/officeDocument/2006/relationships/tags" Target="../tags/tag14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66.xml"/><Relationship Id="rId7" Type="http://schemas.openxmlformats.org/officeDocument/2006/relationships/image" Target="../media/image4.png"/><Relationship Id="rId2" Type="http://schemas.openxmlformats.org/officeDocument/2006/relationships/tags" Target="../tags/tag1165.xml"/><Relationship Id="rId1" Type="http://schemas.openxmlformats.org/officeDocument/2006/relationships/vmlDrawing" Target="../drawings/vmlDrawing5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0.bin"/><Relationship Id="rId4" Type="http://schemas.openxmlformats.org/officeDocument/2006/relationships/slideMaster" Target="../slideMasters/slideMaster12.xml"/></Relationships>
</file>

<file path=ppt/slideLayouts/_rels/slideLayout892.xml.rels><?xml version="1.0" encoding="UTF-8" standalone="yes"?>
<Relationships xmlns="http://schemas.openxmlformats.org/package/2006/relationships"><Relationship Id="rId3" Type="http://schemas.openxmlformats.org/officeDocument/2006/relationships/tags" Target="../tags/tag1168.xml"/><Relationship Id="rId2" Type="http://schemas.openxmlformats.org/officeDocument/2006/relationships/tags" Target="../tags/tag1167.xml"/><Relationship Id="rId1" Type="http://schemas.openxmlformats.org/officeDocument/2006/relationships/vmlDrawing" Target="../drawings/vmlDrawing6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8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70.xml"/><Relationship Id="rId7" Type="http://schemas.openxmlformats.org/officeDocument/2006/relationships/image" Target="../media/image1.emf"/><Relationship Id="rId2" Type="http://schemas.openxmlformats.org/officeDocument/2006/relationships/tags" Target="../tags/tag1169.xml"/><Relationship Id="rId1" Type="http://schemas.openxmlformats.org/officeDocument/2006/relationships/vmlDrawing" Target="../drawings/vmlDrawing601.vml"/><Relationship Id="rId6" Type="http://schemas.openxmlformats.org/officeDocument/2006/relationships/oleObject" Target="../embeddings/oleObject142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12.xml"/></Relationships>
</file>

<file path=ppt/slideLayouts/_rels/slideLayout8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171.xml"/><Relationship Id="rId1" Type="http://schemas.openxmlformats.org/officeDocument/2006/relationships/vmlDrawing" Target="../drawings/vmlDrawing60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3.bin"/></Relationships>
</file>

<file path=ppt/slideLayouts/_rels/slideLayout895.xml.rels><?xml version="1.0" encoding="UTF-8" standalone="yes"?>
<Relationships xmlns="http://schemas.openxmlformats.org/package/2006/relationships"><Relationship Id="rId3" Type="http://schemas.openxmlformats.org/officeDocument/2006/relationships/tags" Target="../tags/tag1173.xml"/><Relationship Id="rId7" Type="http://schemas.openxmlformats.org/officeDocument/2006/relationships/image" Target="../media/image2.png"/><Relationship Id="rId2" Type="http://schemas.openxmlformats.org/officeDocument/2006/relationships/tags" Target="../tags/tag1172.xml"/><Relationship Id="rId1" Type="http://schemas.openxmlformats.org/officeDocument/2006/relationships/vmlDrawing" Target="../drawings/vmlDrawing6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12.xml"/></Relationships>
</file>

<file path=ppt/slideLayouts/_rels/slideLayout896.xml.rels><?xml version="1.0" encoding="UTF-8" standalone="yes"?>
<Relationships xmlns="http://schemas.openxmlformats.org/package/2006/relationships"><Relationship Id="rId3" Type="http://schemas.openxmlformats.org/officeDocument/2006/relationships/tags" Target="../tags/tag1175.xml"/><Relationship Id="rId7" Type="http://schemas.openxmlformats.org/officeDocument/2006/relationships/image" Target="../media/image6.png"/><Relationship Id="rId2" Type="http://schemas.openxmlformats.org/officeDocument/2006/relationships/tags" Target="../tags/tag1174.xml"/><Relationship Id="rId1" Type="http://schemas.openxmlformats.org/officeDocument/2006/relationships/vmlDrawing" Target="../drawings/vmlDrawing6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5.bin"/><Relationship Id="rId4" Type="http://schemas.openxmlformats.org/officeDocument/2006/relationships/slideMaster" Target="../slideMasters/slideMaster12.xml"/></Relationships>
</file>

<file path=ppt/slideLayouts/_rels/slideLayout8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77.xml"/><Relationship Id="rId7" Type="http://schemas.openxmlformats.org/officeDocument/2006/relationships/image" Target="../media/image1.emf"/><Relationship Id="rId2" Type="http://schemas.openxmlformats.org/officeDocument/2006/relationships/tags" Target="../tags/tag1176.xml"/><Relationship Id="rId1" Type="http://schemas.openxmlformats.org/officeDocument/2006/relationships/vmlDrawing" Target="../drawings/vmlDrawing605.vml"/><Relationship Id="rId6" Type="http://schemas.openxmlformats.org/officeDocument/2006/relationships/oleObject" Target="../embeddings/oleObject146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12.xml"/></Relationships>
</file>

<file path=ppt/slideLayouts/_rels/slideLayout8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2.xml"/></Relationships>
</file>

<file path=ppt/slideLayouts/_rels/slideLayout899.xml.rels><?xml version="1.0" encoding="UTF-8" standalone="yes"?>
<Relationships xmlns="http://schemas.openxmlformats.org/package/2006/relationships"><Relationship Id="rId3" Type="http://schemas.openxmlformats.org/officeDocument/2006/relationships/tags" Target="../tags/tag1179.xml"/><Relationship Id="rId2" Type="http://schemas.openxmlformats.org/officeDocument/2006/relationships/tags" Target="../tags/tag1178.xml"/><Relationship Id="rId1" Type="http://schemas.openxmlformats.org/officeDocument/2006/relationships/vmlDrawing" Target="../drawings/vmlDrawing6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7.bin"/><Relationship Id="rId4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900.xml.rels><?xml version="1.0" encoding="UTF-8" standalone="yes"?>
<Relationships xmlns="http://schemas.openxmlformats.org/package/2006/relationships"><Relationship Id="rId3" Type="http://schemas.openxmlformats.org/officeDocument/2006/relationships/tags" Target="../tags/tag1181.xml"/><Relationship Id="rId7" Type="http://schemas.openxmlformats.org/officeDocument/2006/relationships/image" Target="../media/image2.png"/><Relationship Id="rId2" Type="http://schemas.openxmlformats.org/officeDocument/2006/relationships/tags" Target="../tags/tag1180.xml"/><Relationship Id="rId1" Type="http://schemas.openxmlformats.org/officeDocument/2006/relationships/vmlDrawing" Target="../drawings/vmlDrawing6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12.xml"/></Relationships>
</file>

<file path=ppt/slideLayouts/_rels/slideLayout901.xml.rels><?xml version="1.0" encoding="UTF-8" standalone="yes"?>
<Relationships xmlns="http://schemas.openxmlformats.org/package/2006/relationships"><Relationship Id="rId3" Type="http://schemas.openxmlformats.org/officeDocument/2006/relationships/tags" Target="../tags/tag1183.xml"/><Relationship Id="rId7" Type="http://schemas.openxmlformats.org/officeDocument/2006/relationships/image" Target="../media/image2.png"/><Relationship Id="rId2" Type="http://schemas.openxmlformats.org/officeDocument/2006/relationships/tags" Target="../tags/tag1182.xml"/><Relationship Id="rId1" Type="http://schemas.openxmlformats.org/officeDocument/2006/relationships/vmlDrawing" Target="../drawings/vmlDrawing6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12.xml"/></Relationships>
</file>

<file path=ppt/slideLayouts/_rels/slideLayout902.xml.rels><?xml version="1.0" encoding="UTF-8" standalone="yes"?>
<Relationships xmlns="http://schemas.openxmlformats.org/package/2006/relationships"><Relationship Id="rId3" Type="http://schemas.openxmlformats.org/officeDocument/2006/relationships/tags" Target="../tags/tag1185.xml"/><Relationship Id="rId7" Type="http://schemas.openxmlformats.org/officeDocument/2006/relationships/image" Target="../media/image2.png"/><Relationship Id="rId2" Type="http://schemas.openxmlformats.org/officeDocument/2006/relationships/tags" Target="../tags/tag1184.xml"/><Relationship Id="rId1" Type="http://schemas.openxmlformats.org/officeDocument/2006/relationships/vmlDrawing" Target="../drawings/vmlDrawing6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12.xml"/></Relationships>
</file>

<file path=ppt/slideLayouts/_rels/slideLayout903.xml.rels><?xml version="1.0" encoding="UTF-8" standalone="yes"?>
<Relationships xmlns="http://schemas.openxmlformats.org/package/2006/relationships"><Relationship Id="rId3" Type="http://schemas.openxmlformats.org/officeDocument/2006/relationships/tags" Target="../tags/tag1187.xml"/><Relationship Id="rId7" Type="http://schemas.openxmlformats.org/officeDocument/2006/relationships/image" Target="../media/image2.png"/><Relationship Id="rId2" Type="http://schemas.openxmlformats.org/officeDocument/2006/relationships/tags" Target="../tags/tag1186.xml"/><Relationship Id="rId1" Type="http://schemas.openxmlformats.org/officeDocument/2006/relationships/vmlDrawing" Target="../drawings/vmlDrawing6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4.bin"/><Relationship Id="rId4" Type="http://schemas.openxmlformats.org/officeDocument/2006/relationships/slideMaster" Target="../slideMasters/slideMaster12.xml"/></Relationships>
</file>

<file path=ppt/slideLayouts/_rels/slideLayout904.xml.rels><?xml version="1.0" encoding="UTF-8" standalone="yes"?>
<Relationships xmlns="http://schemas.openxmlformats.org/package/2006/relationships"><Relationship Id="rId3" Type="http://schemas.openxmlformats.org/officeDocument/2006/relationships/tags" Target="../tags/tag1189.xml"/><Relationship Id="rId2" Type="http://schemas.openxmlformats.org/officeDocument/2006/relationships/tags" Target="../tags/tag1188.xml"/><Relationship Id="rId1" Type="http://schemas.openxmlformats.org/officeDocument/2006/relationships/vmlDrawing" Target="../drawings/vmlDrawing6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05.xml.rels><?xml version="1.0" encoding="UTF-8" standalone="yes"?>
<Relationships xmlns="http://schemas.openxmlformats.org/package/2006/relationships"><Relationship Id="rId3" Type="http://schemas.openxmlformats.org/officeDocument/2006/relationships/tags" Target="../tags/tag1191.xml"/><Relationship Id="rId2" Type="http://schemas.openxmlformats.org/officeDocument/2006/relationships/tags" Target="../tags/tag1190.xml"/><Relationship Id="rId1" Type="http://schemas.openxmlformats.org/officeDocument/2006/relationships/vmlDrawing" Target="../drawings/vmlDrawing6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06.xml.rels><?xml version="1.0" encoding="UTF-8" standalone="yes"?>
<Relationships xmlns="http://schemas.openxmlformats.org/package/2006/relationships"><Relationship Id="rId3" Type="http://schemas.openxmlformats.org/officeDocument/2006/relationships/tags" Target="../tags/tag1193.xml"/><Relationship Id="rId7" Type="http://schemas.openxmlformats.org/officeDocument/2006/relationships/image" Target="../media/image3.emf"/><Relationship Id="rId2" Type="http://schemas.openxmlformats.org/officeDocument/2006/relationships/tags" Target="../tags/tag1192.xml"/><Relationship Id="rId1" Type="http://schemas.openxmlformats.org/officeDocument/2006/relationships/vmlDrawing" Target="../drawings/vmlDrawing6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07.xml.rels><?xml version="1.0" encoding="UTF-8" standalone="yes"?>
<Relationships xmlns="http://schemas.openxmlformats.org/package/2006/relationships"><Relationship Id="rId3" Type="http://schemas.openxmlformats.org/officeDocument/2006/relationships/tags" Target="../tags/tag1195.xml"/><Relationship Id="rId7" Type="http://schemas.openxmlformats.org/officeDocument/2006/relationships/image" Target="../media/image3.emf"/><Relationship Id="rId2" Type="http://schemas.openxmlformats.org/officeDocument/2006/relationships/tags" Target="../tags/tag1194.xml"/><Relationship Id="rId1" Type="http://schemas.openxmlformats.org/officeDocument/2006/relationships/vmlDrawing" Target="../drawings/vmlDrawing6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08.xml.rels><?xml version="1.0" encoding="UTF-8" standalone="yes"?>
<Relationships xmlns="http://schemas.openxmlformats.org/package/2006/relationships"><Relationship Id="rId3" Type="http://schemas.openxmlformats.org/officeDocument/2006/relationships/tags" Target="../tags/tag1197.xml"/><Relationship Id="rId7" Type="http://schemas.openxmlformats.org/officeDocument/2006/relationships/image" Target="../media/image3.emf"/><Relationship Id="rId2" Type="http://schemas.openxmlformats.org/officeDocument/2006/relationships/tags" Target="../tags/tag1196.xml"/><Relationship Id="rId1" Type="http://schemas.openxmlformats.org/officeDocument/2006/relationships/vmlDrawing" Target="../drawings/vmlDrawing6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09.xml.rels><?xml version="1.0" encoding="UTF-8" standalone="yes"?>
<Relationships xmlns="http://schemas.openxmlformats.org/package/2006/relationships"><Relationship Id="rId3" Type="http://schemas.openxmlformats.org/officeDocument/2006/relationships/tags" Target="../tags/tag1199.xml"/><Relationship Id="rId7" Type="http://schemas.openxmlformats.org/officeDocument/2006/relationships/image" Target="../media/image3.emf"/><Relationship Id="rId2" Type="http://schemas.openxmlformats.org/officeDocument/2006/relationships/tags" Target="../tags/tag1198.xml"/><Relationship Id="rId1" Type="http://schemas.openxmlformats.org/officeDocument/2006/relationships/vmlDrawing" Target="../drawings/vmlDrawing6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2.xml"/><Relationship Id="rId7" Type="http://schemas.openxmlformats.org/officeDocument/2006/relationships/image" Target="../media/image1.emf"/><Relationship Id="rId2" Type="http://schemas.openxmlformats.org/officeDocument/2006/relationships/tags" Target="../tags/tag151.xml"/><Relationship Id="rId1" Type="http://schemas.openxmlformats.org/officeDocument/2006/relationships/vmlDrawing" Target="../drawings/vmlDrawing78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2.xml"/></Relationships>
</file>

<file path=ppt/slideLayouts/_rels/slideLayout910.xml.rels><?xml version="1.0" encoding="UTF-8" standalone="yes"?>
<Relationships xmlns="http://schemas.openxmlformats.org/package/2006/relationships"><Relationship Id="rId3" Type="http://schemas.openxmlformats.org/officeDocument/2006/relationships/tags" Target="../tags/tag1201.xml"/><Relationship Id="rId7" Type="http://schemas.openxmlformats.org/officeDocument/2006/relationships/image" Target="../media/image2.png"/><Relationship Id="rId2" Type="http://schemas.openxmlformats.org/officeDocument/2006/relationships/tags" Target="../tags/tag1200.xml"/><Relationship Id="rId1" Type="http://schemas.openxmlformats.org/officeDocument/2006/relationships/vmlDrawing" Target="../drawings/vmlDrawing6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03.xml"/><Relationship Id="rId7" Type="http://schemas.openxmlformats.org/officeDocument/2006/relationships/image" Target="../media/image9.emf"/><Relationship Id="rId2" Type="http://schemas.openxmlformats.org/officeDocument/2006/relationships/tags" Target="../tags/tag1202.xml"/><Relationship Id="rId1" Type="http://schemas.openxmlformats.org/officeDocument/2006/relationships/vmlDrawing" Target="../drawings/vmlDrawing6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05.xml"/><Relationship Id="rId7" Type="http://schemas.openxmlformats.org/officeDocument/2006/relationships/image" Target="../media/image9.emf"/><Relationship Id="rId2" Type="http://schemas.openxmlformats.org/officeDocument/2006/relationships/tags" Target="../tags/tag1204.xml"/><Relationship Id="rId1" Type="http://schemas.openxmlformats.org/officeDocument/2006/relationships/vmlDrawing" Target="../drawings/vmlDrawing6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07.xml"/><Relationship Id="rId7" Type="http://schemas.openxmlformats.org/officeDocument/2006/relationships/image" Target="../media/image9.emf"/><Relationship Id="rId2" Type="http://schemas.openxmlformats.org/officeDocument/2006/relationships/tags" Target="../tags/tag1206.xml"/><Relationship Id="rId1" Type="http://schemas.openxmlformats.org/officeDocument/2006/relationships/vmlDrawing" Target="../drawings/vmlDrawing6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09.xml"/><Relationship Id="rId7" Type="http://schemas.openxmlformats.org/officeDocument/2006/relationships/image" Target="../media/image9.emf"/><Relationship Id="rId2" Type="http://schemas.openxmlformats.org/officeDocument/2006/relationships/tags" Target="../tags/tag1208.xml"/><Relationship Id="rId1" Type="http://schemas.openxmlformats.org/officeDocument/2006/relationships/vmlDrawing" Target="../drawings/vmlDrawing6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11.xml"/><Relationship Id="rId7" Type="http://schemas.openxmlformats.org/officeDocument/2006/relationships/image" Target="../media/image9.emf"/><Relationship Id="rId2" Type="http://schemas.openxmlformats.org/officeDocument/2006/relationships/tags" Target="../tags/tag1210.xml"/><Relationship Id="rId1" Type="http://schemas.openxmlformats.org/officeDocument/2006/relationships/vmlDrawing" Target="../drawings/vmlDrawing6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16.xml.rels><?xml version="1.0" encoding="UTF-8" standalone="yes"?>
<Relationships xmlns="http://schemas.openxmlformats.org/package/2006/relationships"><Relationship Id="rId3" Type="http://schemas.openxmlformats.org/officeDocument/2006/relationships/tags" Target="../tags/tag1213.xml"/><Relationship Id="rId7" Type="http://schemas.openxmlformats.org/officeDocument/2006/relationships/image" Target="../media/image9.emf"/><Relationship Id="rId2" Type="http://schemas.openxmlformats.org/officeDocument/2006/relationships/tags" Target="../tags/tag1212.xml"/><Relationship Id="rId1" Type="http://schemas.openxmlformats.org/officeDocument/2006/relationships/vmlDrawing" Target="../drawings/vmlDrawing6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17.xml.rels><?xml version="1.0" encoding="UTF-8" standalone="yes"?>
<Relationships xmlns="http://schemas.openxmlformats.org/package/2006/relationships"><Relationship Id="rId3" Type="http://schemas.openxmlformats.org/officeDocument/2006/relationships/tags" Target="../tags/tag1215.xml"/><Relationship Id="rId7" Type="http://schemas.openxmlformats.org/officeDocument/2006/relationships/image" Target="../media/image9.emf"/><Relationship Id="rId2" Type="http://schemas.openxmlformats.org/officeDocument/2006/relationships/tags" Target="../tags/tag1214.xml"/><Relationship Id="rId1" Type="http://schemas.openxmlformats.org/officeDocument/2006/relationships/vmlDrawing" Target="../drawings/vmlDrawing6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18.xml.rels><?xml version="1.0" encoding="UTF-8" standalone="yes"?>
<Relationships xmlns="http://schemas.openxmlformats.org/package/2006/relationships"><Relationship Id="rId3" Type="http://schemas.openxmlformats.org/officeDocument/2006/relationships/tags" Target="../tags/tag1217.xml"/><Relationship Id="rId7" Type="http://schemas.openxmlformats.org/officeDocument/2006/relationships/image" Target="../media/image2.png"/><Relationship Id="rId2" Type="http://schemas.openxmlformats.org/officeDocument/2006/relationships/tags" Target="../tags/tag1216.xml"/><Relationship Id="rId1" Type="http://schemas.openxmlformats.org/officeDocument/2006/relationships/vmlDrawing" Target="../drawings/vmlDrawing6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19.xml"/><Relationship Id="rId7" Type="http://schemas.openxmlformats.org/officeDocument/2006/relationships/image" Target="../media/image1.emf"/><Relationship Id="rId2" Type="http://schemas.openxmlformats.org/officeDocument/2006/relationships/tags" Target="../tags/tag1218.xml"/><Relationship Id="rId1" Type="http://schemas.openxmlformats.org/officeDocument/2006/relationships/vmlDrawing" Target="../drawings/vmlDrawing626.vml"/><Relationship Id="rId6" Type="http://schemas.openxmlformats.org/officeDocument/2006/relationships/oleObject" Target="../embeddings/oleObject141.bin"/><Relationship Id="rId5" Type="http://schemas.openxmlformats.org/officeDocument/2006/relationships/image" Target="../media/image10.emf"/><Relationship Id="rId4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9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21.xml"/><Relationship Id="rId7" Type="http://schemas.openxmlformats.org/officeDocument/2006/relationships/image" Target="../media/image10.emf"/><Relationship Id="rId2" Type="http://schemas.openxmlformats.org/officeDocument/2006/relationships/tags" Target="../tags/tag1220.xml"/><Relationship Id="rId1" Type="http://schemas.openxmlformats.org/officeDocument/2006/relationships/vmlDrawing" Target="../drawings/vmlDrawing6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23.xml"/><Relationship Id="rId7" Type="http://schemas.openxmlformats.org/officeDocument/2006/relationships/image" Target="../media/image10.emf"/><Relationship Id="rId2" Type="http://schemas.openxmlformats.org/officeDocument/2006/relationships/tags" Target="../tags/tag1222.xml"/><Relationship Id="rId1" Type="http://schemas.openxmlformats.org/officeDocument/2006/relationships/vmlDrawing" Target="../drawings/vmlDrawing6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25.xml"/><Relationship Id="rId7" Type="http://schemas.openxmlformats.org/officeDocument/2006/relationships/image" Target="../media/image10.emf"/><Relationship Id="rId2" Type="http://schemas.openxmlformats.org/officeDocument/2006/relationships/tags" Target="../tags/tag1224.xml"/><Relationship Id="rId1" Type="http://schemas.openxmlformats.org/officeDocument/2006/relationships/vmlDrawing" Target="../drawings/vmlDrawing6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27.xml"/><Relationship Id="rId7" Type="http://schemas.openxmlformats.org/officeDocument/2006/relationships/image" Target="../media/image10.emf"/><Relationship Id="rId2" Type="http://schemas.openxmlformats.org/officeDocument/2006/relationships/tags" Target="../tags/tag1226.xml"/><Relationship Id="rId1" Type="http://schemas.openxmlformats.org/officeDocument/2006/relationships/vmlDrawing" Target="../drawings/vmlDrawing6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229.xml"/><Relationship Id="rId7" Type="http://schemas.openxmlformats.org/officeDocument/2006/relationships/image" Target="../media/image9.emf"/><Relationship Id="rId2" Type="http://schemas.openxmlformats.org/officeDocument/2006/relationships/tags" Target="../tags/tag1228.xml"/><Relationship Id="rId1" Type="http://schemas.openxmlformats.org/officeDocument/2006/relationships/vmlDrawing" Target="../drawings/vmlDrawing6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25.xml.rels><?xml version="1.0" encoding="UTF-8" standalone="yes"?>
<Relationships xmlns="http://schemas.openxmlformats.org/package/2006/relationships"><Relationship Id="rId3" Type="http://schemas.openxmlformats.org/officeDocument/2006/relationships/tags" Target="../tags/tag1231.xml"/><Relationship Id="rId7" Type="http://schemas.openxmlformats.org/officeDocument/2006/relationships/image" Target="../media/image10.emf"/><Relationship Id="rId2" Type="http://schemas.openxmlformats.org/officeDocument/2006/relationships/tags" Target="../tags/tag1230.xml"/><Relationship Id="rId1" Type="http://schemas.openxmlformats.org/officeDocument/2006/relationships/vmlDrawing" Target="../drawings/vmlDrawing6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26.xml.rels><?xml version="1.0" encoding="UTF-8" standalone="yes"?>
<Relationships xmlns="http://schemas.openxmlformats.org/package/2006/relationships"><Relationship Id="rId3" Type="http://schemas.openxmlformats.org/officeDocument/2006/relationships/tags" Target="../tags/tag1233.xml"/><Relationship Id="rId7" Type="http://schemas.openxmlformats.org/officeDocument/2006/relationships/image" Target="../media/image2.png"/><Relationship Id="rId2" Type="http://schemas.openxmlformats.org/officeDocument/2006/relationships/tags" Target="../tags/tag1232.xml"/><Relationship Id="rId1" Type="http://schemas.openxmlformats.org/officeDocument/2006/relationships/vmlDrawing" Target="../drawings/vmlDrawing6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235.xml"/><Relationship Id="rId7" Type="http://schemas.openxmlformats.org/officeDocument/2006/relationships/image" Target="../media/image2.png"/><Relationship Id="rId2" Type="http://schemas.openxmlformats.org/officeDocument/2006/relationships/tags" Target="../tags/tag1234.xml"/><Relationship Id="rId1" Type="http://schemas.openxmlformats.org/officeDocument/2006/relationships/vmlDrawing" Target="../drawings/vmlDrawing6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37.xml"/><Relationship Id="rId7" Type="http://schemas.openxmlformats.org/officeDocument/2006/relationships/image" Target="../media/image10.emf"/><Relationship Id="rId2" Type="http://schemas.openxmlformats.org/officeDocument/2006/relationships/tags" Target="../tags/tag1236.xml"/><Relationship Id="rId1" Type="http://schemas.openxmlformats.org/officeDocument/2006/relationships/vmlDrawing" Target="../drawings/vmlDrawing6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39.xml"/><Relationship Id="rId7" Type="http://schemas.openxmlformats.org/officeDocument/2006/relationships/image" Target="../media/image10.emf"/><Relationship Id="rId2" Type="http://schemas.openxmlformats.org/officeDocument/2006/relationships/tags" Target="../tags/tag1238.xml"/><Relationship Id="rId1" Type="http://schemas.openxmlformats.org/officeDocument/2006/relationships/vmlDrawing" Target="../drawings/vmlDrawing6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image" Target="../media/image2.png"/><Relationship Id="rId2" Type="http://schemas.openxmlformats.org/officeDocument/2006/relationships/tags" Target="../tags/tag154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9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41.xml"/><Relationship Id="rId7" Type="http://schemas.openxmlformats.org/officeDocument/2006/relationships/image" Target="../media/image10.emf"/><Relationship Id="rId2" Type="http://schemas.openxmlformats.org/officeDocument/2006/relationships/tags" Target="../tags/tag1240.xml"/><Relationship Id="rId1" Type="http://schemas.openxmlformats.org/officeDocument/2006/relationships/vmlDrawing" Target="../drawings/vmlDrawing6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43.xml"/><Relationship Id="rId7" Type="http://schemas.openxmlformats.org/officeDocument/2006/relationships/image" Target="../media/image10.emf"/><Relationship Id="rId2" Type="http://schemas.openxmlformats.org/officeDocument/2006/relationships/tags" Target="../tags/tag1242.xml"/><Relationship Id="rId1" Type="http://schemas.openxmlformats.org/officeDocument/2006/relationships/vmlDrawing" Target="../drawings/vmlDrawing6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32.xml.rels><?xml version="1.0" encoding="UTF-8" standalone="yes"?>
<Relationships xmlns="http://schemas.openxmlformats.org/package/2006/relationships"><Relationship Id="rId3" Type="http://schemas.openxmlformats.org/officeDocument/2006/relationships/tags" Target="../tags/tag1245.xml"/><Relationship Id="rId7" Type="http://schemas.openxmlformats.org/officeDocument/2006/relationships/image" Target="../media/image10.emf"/><Relationship Id="rId2" Type="http://schemas.openxmlformats.org/officeDocument/2006/relationships/tags" Target="../tags/tag1244.xml"/><Relationship Id="rId1" Type="http://schemas.openxmlformats.org/officeDocument/2006/relationships/vmlDrawing" Target="../drawings/vmlDrawing6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33.xml.rels><?xml version="1.0" encoding="UTF-8" standalone="yes"?>
<Relationships xmlns="http://schemas.openxmlformats.org/package/2006/relationships"><Relationship Id="rId3" Type="http://schemas.openxmlformats.org/officeDocument/2006/relationships/tags" Target="../tags/tag1247.xml"/><Relationship Id="rId7" Type="http://schemas.openxmlformats.org/officeDocument/2006/relationships/image" Target="../media/image10.emf"/><Relationship Id="rId2" Type="http://schemas.openxmlformats.org/officeDocument/2006/relationships/tags" Target="../tags/tag1246.xml"/><Relationship Id="rId1" Type="http://schemas.openxmlformats.org/officeDocument/2006/relationships/vmlDrawing" Target="../drawings/vmlDrawing6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34.xml.rels><?xml version="1.0" encoding="UTF-8" standalone="yes"?>
<Relationships xmlns="http://schemas.openxmlformats.org/package/2006/relationships"><Relationship Id="rId3" Type="http://schemas.openxmlformats.org/officeDocument/2006/relationships/tags" Target="../tags/tag1249.xml"/><Relationship Id="rId7" Type="http://schemas.openxmlformats.org/officeDocument/2006/relationships/image" Target="../media/image2.png"/><Relationship Id="rId2" Type="http://schemas.openxmlformats.org/officeDocument/2006/relationships/tags" Target="../tags/tag1248.xml"/><Relationship Id="rId1" Type="http://schemas.openxmlformats.org/officeDocument/2006/relationships/vmlDrawing" Target="../drawings/vmlDrawing6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251.xml"/><Relationship Id="rId7" Type="http://schemas.openxmlformats.org/officeDocument/2006/relationships/image" Target="../media/image2.png"/><Relationship Id="rId2" Type="http://schemas.openxmlformats.org/officeDocument/2006/relationships/tags" Target="../tags/tag1250.xml"/><Relationship Id="rId1" Type="http://schemas.openxmlformats.org/officeDocument/2006/relationships/vmlDrawing" Target="../drawings/vmlDrawing6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53.xml"/><Relationship Id="rId7" Type="http://schemas.openxmlformats.org/officeDocument/2006/relationships/image" Target="../media/image10.emf"/><Relationship Id="rId2" Type="http://schemas.openxmlformats.org/officeDocument/2006/relationships/tags" Target="../tags/tag1252.xml"/><Relationship Id="rId1" Type="http://schemas.openxmlformats.org/officeDocument/2006/relationships/vmlDrawing" Target="../drawings/vmlDrawing6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55.xml"/><Relationship Id="rId7" Type="http://schemas.openxmlformats.org/officeDocument/2006/relationships/image" Target="../media/image10.emf"/><Relationship Id="rId2" Type="http://schemas.openxmlformats.org/officeDocument/2006/relationships/tags" Target="../tags/tag1254.xml"/><Relationship Id="rId1" Type="http://schemas.openxmlformats.org/officeDocument/2006/relationships/vmlDrawing" Target="../drawings/vmlDrawing6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57.xml"/><Relationship Id="rId7" Type="http://schemas.openxmlformats.org/officeDocument/2006/relationships/image" Target="../media/image10.emf"/><Relationship Id="rId2" Type="http://schemas.openxmlformats.org/officeDocument/2006/relationships/tags" Target="../tags/tag1256.xml"/><Relationship Id="rId1" Type="http://schemas.openxmlformats.org/officeDocument/2006/relationships/vmlDrawing" Target="../drawings/vmlDrawing6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59.xml"/><Relationship Id="rId7" Type="http://schemas.openxmlformats.org/officeDocument/2006/relationships/image" Target="../media/image10.emf"/><Relationship Id="rId2" Type="http://schemas.openxmlformats.org/officeDocument/2006/relationships/tags" Target="../tags/tag1258.xml"/><Relationship Id="rId1" Type="http://schemas.openxmlformats.org/officeDocument/2006/relationships/vmlDrawing" Target="../drawings/vmlDrawing6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6.png"/><Relationship Id="rId2" Type="http://schemas.openxmlformats.org/officeDocument/2006/relationships/tags" Target="../tags/tag156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940.xml.rels><?xml version="1.0" encoding="UTF-8" standalone="yes"?>
<Relationships xmlns="http://schemas.openxmlformats.org/package/2006/relationships"><Relationship Id="rId3" Type="http://schemas.openxmlformats.org/officeDocument/2006/relationships/tags" Target="../tags/tag1261.xml"/><Relationship Id="rId7" Type="http://schemas.openxmlformats.org/officeDocument/2006/relationships/image" Target="../media/image10.emf"/><Relationship Id="rId2" Type="http://schemas.openxmlformats.org/officeDocument/2006/relationships/tags" Target="../tags/tag1260.xml"/><Relationship Id="rId1" Type="http://schemas.openxmlformats.org/officeDocument/2006/relationships/vmlDrawing" Target="../drawings/vmlDrawing6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41.xml.rels><?xml version="1.0" encoding="UTF-8" standalone="yes"?>
<Relationships xmlns="http://schemas.openxmlformats.org/package/2006/relationships"><Relationship Id="rId3" Type="http://schemas.openxmlformats.org/officeDocument/2006/relationships/tags" Target="../tags/tag1263.xml"/><Relationship Id="rId7" Type="http://schemas.openxmlformats.org/officeDocument/2006/relationships/image" Target="../media/image10.emf"/><Relationship Id="rId2" Type="http://schemas.openxmlformats.org/officeDocument/2006/relationships/tags" Target="../tags/tag1262.xml"/><Relationship Id="rId1" Type="http://schemas.openxmlformats.org/officeDocument/2006/relationships/vmlDrawing" Target="../drawings/vmlDrawing6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42.xml.rels><?xml version="1.0" encoding="UTF-8" standalone="yes"?>
<Relationships xmlns="http://schemas.openxmlformats.org/package/2006/relationships"><Relationship Id="rId3" Type="http://schemas.openxmlformats.org/officeDocument/2006/relationships/tags" Target="../tags/tag1265.xml"/><Relationship Id="rId2" Type="http://schemas.openxmlformats.org/officeDocument/2006/relationships/tags" Target="../tags/tag1264.xml"/><Relationship Id="rId1" Type="http://schemas.openxmlformats.org/officeDocument/2006/relationships/vmlDrawing" Target="../drawings/vmlDrawing6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12.xml"/></Relationships>
</file>

<file path=ppt/slideLayouts/_rels/slideLayout9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67.xml"/><Relationship Id="rId7" Type="http://schemas.openxmlformats.org/officeDocument/2006/relationships/image" Target="../media/image11.emf"/><Relationship Id="rId2" Type="http://schemas.openxmlformats.org/officeDocument/2006/relationships/tags" Target="../tags/tag1266.xml"/><Relationship Id="rId1" Type="http://schemas.openxmlformats.org/officeDocument/2006/relationships/vmlDrawing" Target="../drawings/vmlDrawing6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2.xml"/><Relationship Id="rId9" Type="http://schemas.openxmlformats.org/officeDocument/2006/relationships/image" Target="../media/image12.emf"/></Relationships>
</file>

<file path=ppt/slideLayouts/_rels/slideLayout9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69.xml"/><Relationship Id="rId7" Type="http://schemas.openxmlformats.org/officeDocument/2006/relationships/image" Target="../media/image11.emf"/><Relationship Id="rId2" Type="http://schemas.openxmlformats.org/officeDocument/2006/relationships/tags" Target="../tags/tag1268.xml"/><Relationship Id="rId1" Type="http://schemas.openxmlformats.org/officeDocument/2006/relationships/vmlDrawing" Target="../drawings/vmlDrawing651.vml"/><Relationship Id="rId6" Type="http://schemas.openxmlformats.org/officeDocument/2006/relationships/image" Target="../media/image1.emf"/><Relationship Id="rId11" Type="http://schemas.openxmlformats.org/officeDocument/2006/relationships/image" Target="../media/image14.emf"/><Relationship Id="rId5" Type="http://schemas.openxmlformats.org/officeDocument/2006/relationships/oleObject" Target="../embeddings/oleObject148.bin"/><Relationship Id="rId10" Type="http://schemas.openxmlformats.org/officeDocument/2006/relationships/image" Target="../media/image12.emf"/><Relationship Id="rId4" Type="http://schemas.openxmlformats.org/officeDocument/2006/relationships/slideMaster" Target="../slideMasters/slideMaster12.xml"/><Relationship Id="rId9" Type="http://schemas.openxmlformats.org/officeDocument/2006/relationships/image" Target="../media/image13.emf"/></Relationships>
</file>

<file path=ppt/slideLayouts/_rels/slideLayout9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71.xml"/><Relationship Id="rId7" Type="http://schemas.openxmlformats.org/officeDocument/2006/relationships/image" Target="../media/image11.emf"/><Relationship Id="rId2" Type="http://schemas.openxmlformats.org/officeDocument/2006/relationships/tags" Target="../tags/tag1270.xml"/><Relationship Id="rId1" Type="http://schemas.openxmlformats.org/officeDocument/2006/relationships/vmlDrawing" Target="../drawings/vmlDrawing6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2.xml"/><Relationship Id="rId9" Type="http://schemas.openxmlformats.org/officeDocument/2006/relationships/image" Target="../media/image12.emf"/></Relationships>
</file>

<file path=ppt/slideLayouts/_rels/slideLayout9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73.xml"/><Relationship Id="rId7" Type="http://schemas.openxmlformats.org/officeDocument/2006/relationships/image" Target="../media/image11.emf"/><Relationship Id="rId2" Type="http://schemas.openxmlformats.org/officeDocument/2006/relationships/tags" Target="../tags/tag1272.xml"/><Relationship Id="rId1" Type="http://schemas.openxmlformats.org/officeDocument/2006/relationships/vmlDrawing" Target="../drawings/vmlDrawing653.vml"/><Relationship Id="rId6" Type="http://schemas.openxmlformats.org/officeDocument/2006/relationships/image" Target="../media/image1.emf"/><Relationship Id="rId11" Type="http://schemas.openxmlformats.org/officeDocument/2006/relationships/image" Target="../media/image13.emf"/><Relationship Id="rId5" Type="http://schemas.openxmlformats.org/officeDocument/2006/relationships/oleObject" Target="../embeddings/oleObject148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2.xml"/><Relationship Id="rId9" Type="http://schemas.openxmlformats.org/officeDocument/2006/relationships/image" Target="../media/image12.emf"/></Relationships>
</file>

<file path=ppt/slideLayouts/_rels/slideLayout9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75.xml"/><Relationship Id="rId7" Type="http://schemas.openxmlformats.org/officeDocument/2006/relationships/image" Target="../media/image11.emf"/><Relationship Id="rId2" Type="http://schemas.openxmlformats.org/officeDocument/2006/relationships/tags" Target="../tags/tag1274.xml"/><Relationship Id="rId1" Type="http://schemas.openxmlformats.org/officeDocument/2006/relationships/vmlDrawing" Target="../drawings/vmlDrawing6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12.xml"/><Relationship Id="rId9" Type="http://schemas.openxmlformats.org/officeDocument/2006/relationships/image" Target="../media/image12.emf"/></Relationships>
</file>

<file path=ppt/slideLayouts/_rels/slideLayout9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77.xml"/><Relationship Id="rId7" Type="http://schemas.openxmlformats.org/officeDocument/2006/relationships/image" Target="../media/image11.emf"/><Relationship Id="rId2" Type="http://schemas.openxmlformats.org/officeDocument/2006/relationships/tags" Target="../tags/tag1276.xml"/><Relationship Id="rId1" Type="http://schemas.openxmlformats.org/officeDocument/2006/relationships/vmlDrawing" Target="../drawings/vmlDrawing6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2.xml"/><Relationship Id="rId9" Type="http://schemas.openxmlformats.org/officeDocument/2006/relationships/image" Target="../media/image12.emf"/></Relationships>
</file>

<file path=ppt/slideLayouts/_rels/slideLayout9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79.xml"/><Relationship Id="rId7" Type="http://schemas.openxmlformats.org/officeDocument/2006/relationships/image" Target="../media/image11.emf"/><Relationship Id="rId2" Type="http://schemas.openxmlformats.org/officeDocument/2006/relationships/tags" Target="../tags/tag1278.xml"/><Relationship Id="rId1" Type="http://schemas.openxmlformats.org/officeDocument/2006/relationships/vmlDrawing" Target="../drawings/vmlDrawing6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12.xml"/><Relationship Id="rId9" Type="http://schemas.openxmlformats.org/officeDocument/2006/relationships/image" Target="../media/image12.emf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9.xml"/><Relationship Id="rId7" Type="http://schemas.openxmlformats.org/officeDocument/2006/relationships/image" Target="../media/image1.emf"/><Relationship Id="rId2" Type="http://schemas.openxmlformats.org/officeDocument/2006/relationships/tags" Target="../tags/tag158.xml"/><Relationship Id="rId1" Type="http://schemas.openxmlformats.org/officeDocument/2006/relationships/vmlDrawing" Target="../drawings/vmlDrawing82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2.xml"/></Relationships>
</file>

<file path=ppt/slideLayouts/_rels/slideLayout9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81.xml"/><Relationship Id="rId7" Type="http://schemas.openxmlformats.org/officeDocument/2006/relationships/image" Target="../media/image11.emf"/><Relationship Id="rId2" Type="http://schemas.openxmlformats.org/officeDocument/2006/relationships/tags" Target="../tags/tag1280.xml"/><Relationship Id="rId1" Type="http://schemas.openxmlformats.org/officeDocument/2006/relationships/vmlDrawing" Target="../drawings/vmlDrawing6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2.xml"/><Relationship Id="rId9" Type="http://schemas.openxmlformats.org/officeDocument/2006/relationships/image" Target="../media/image12.emf"/></Relationships>
</file>

<file path=ppt/slideLayouts/_rels/slideLayout9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83.xml"/><Relationship Id="rId7" Type="http://schemas.openxmlformats.org/officeDocument/2006/relationships/image" Target="../media/image11.emf"/><Relationship Id="rId2" Type="http://schemas.openxmlformats.org/officeDocument/2006/relationships/tags" Target="../tags/tag1282.xml"/><Relationship Id="rId1" Type="http://schemas.openxmlformats.org/officeDocument/2006/relationships/vmlDrawing" Target="../drawings/vmlDrawing6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2.xml"/><Relationship Id="rId9" Type="http://schemas.openxmlformats.org/officeDocument/2006/relationships/image" Target="../media/image12.emf"/></Relationships>
</file>

<file path=ppt/slideLayouts/_rels/slideLayout9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85.xml"/><Relationship Id="rId7" Type="http://schemas.openxmlformats.org/officeDocument/2006/relationships/image" Target="../media/image11.emf"/><Relationship Id="rId2" Type="http://schemas.openxmlformats.org/officeDocument/2006/relationships/tags" Target="../tags/tag1284.xml"/><Relationship Id="rId1" Type="http://schemas.openxmlformats.org/officeDocument/2006/relationships/vmlDrawing" Target="../drawings/vmlDrawing6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10" Type="http://schemas.openxmlformats.org/officeDocument/2006/relationships/image" Target="../media/image13.emf"/><Relationship Id="rId4" Type="http://schemas.openxmlformats.org/officeDocument/2006/relationships/slideMaster" Target="../slideMasters/slideMaster12.xml"/><Relationship Id="rId9" Type="http://schemas.openxmlformats.org/officeDocument/2006/relationships/image" Target="../media/image14.emf"/></Relationships>
</file>

<file path=ppt/slideLayouts/_rels/slideLayout9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87.xml"/><Relationship Id="rId7" Type="http://schemas.openxmlformats.org/officeDocument/2006/relationships/image" Target="../media/image11.emf"/><Relationship Id="rId2" Type="http://schemas.openxmlformats.org/officeDocument/2006/relationships/tags" Target="../tags/tag1286.xml"/><Relationship Id="rId1" Type="http://schemas.openxmlformats.org/officeDocument/2006/relationships/vmlDrawing" Target="../drawings/vmlDrawing6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12.xml"/><Relationship Id="rId9" Type="http://schemas.openxmlformats.org/officeDocument/2006/relationships/image" Target="../media/image12.emf"/></Relationships>
</file>

<file path=ppt/slideLayouts/_rels/slideLayout9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89.xml"/><Relationship Id="rId7" Type="http://schemas.openxmlformats.org/officeDocument/2006/relationships/image" Target="../media/image11.emf"/><Relationship Id="rId2" Type="http://schemas.openxmlformats.org/officeDocument/2006/relationships/tags" Target="../tags/tag1288.xml"/><Relationship Id="rId1" Type="http://schemas.openxmlformats.org/officeDocument/2006/relationships/vmlDrawing" Target="../drawings/vmlDrawing6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12.xml"/><Relationship Id="rId9" Type="http://schemas.openxmlformats.org/officeDocument/2006/relationships/image" Target="../media/image14.emf"/></Relationships>
</file>

<file path=ppt/slideLayouts/_rels/slideLayout955.xml.rels><?xml version="1.0" encoding="UTF-8" standalone="yes"?>
<Relationships xmlns="http://schemas.openxmlformats.org/package/2006/relationships"><Relationship Id="rId3" Type="http://schemas.openxmlformats.org/officeDocument/2006/relationships/tags" Target="../tags/tag1291.xml"/><Relationship Id="rId2" Type="http://schemas.openxmlformats.org/officeDocument/2006/relationships/tags" Target="../tags/tag1290.xml"/><Relationship Id="rId1" Type="http://schemas.openxmlformats.org/officeDocument/2006/relationships/vmlDrawing" Target="../drawings/vmlDrawing6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12.xml"/></Relationships>
</file>

<file path=ppt/slideLayouts/_rels/slideLayout956.xml.rels><?xml version="1.0" encoding="UTF-8" standalone="yes"?>
<Relationships xmlns="http://schemas.openxmlformats.org/package/2006/relationships"><Relationship Id="rId3" Type="http://schemas.openxmlformats.org/officeDocument/2006/relationships/tags" Target="../tags/tag1293.xml"/><Relationship Id="rId2" Type="http://schemas.openxmlformats.org/officeDocument/2006/relationships/tags" Target="../tags/tag1292.xml"/><Relationship Id="rId1" Type="http://schemas.openxmlformats.org/officeDocument/2006/relationships/vmlDrawing" Target="../drawings/vmlDrawing6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12.xml"/></Relationships>
</file>

<file path=ppt/slideLayouts/_rels/slideLayout957.xml.rels><?xml version="1.0" encoding="UTF-8" standalone="yes"?>
<Relationships xmlns="http://schemas.openxmlformats.org/package/2006/relationships"><Relationship Id="rId3" Type="http://schemas.openxmlformats.org/officeDocument/2006/relationships/tags" Target="../tags/tag1295.xml"/><Relationship Id="rId2" Type="http://schemas.openxmlformats.org/officeDocument/2006/relationships/tags" Target="../tags/tag1294.xml"/><Relationship Id="rId1" Type="http://schemas.openxmlformats.org/officeDocument/2006/relationships/vmlDrawing" Target="../drawings/vmlDrawing6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12.xml"/></Relationships>
</file>

<file path=ppt/slideLayouts/_rels/slideLayout9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tags" Target="../tags/tag1297.xml"/><Relationship Id="rId7" Type="http://schemas.openxmlformats.org/officeDocument/2006/relationships/image" Target="../media/image15.png"/><Relationship Id="rId2" Type="http://schemas.openxmlformats.org/officeDocument/2006/relationships/tags" Target="../tags/tag1296.xml"/><Relationship Id="rId1" Type="http://schemas.openxmlformats.org/officeDocument/2006/relationships/vmlDrawing" Target="../drawings/vmlDrawing6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12.xml"/></Relationships>
</file>

<file path=ppt/slideLayouts/_rels/slideLayout959.xml.rels><?xml version="1.0" encoding="UTF-8" standalone="yes"?>
<Relationships xmlns="http://schemas.openxmlformats.org/package/2006/relationships"><Relationship Id="rId3" Type="http://schemas.openxmlformats.org/officeDocument/2006/relationships/tags" Target="../tags/tag1299.xml"/><Relationship Id="rId2" Type="http://schemas.openxmlformats.org/officeDocument/2006/relationships/tags" Target="../tags/tag1298.xml"/><Relationship Id="rId1" Type="http://schemas.openxmlformats.org/officeDocument/2006/relationships/vmlDrawing" Target="../drawings/vmlDrawing6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9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tags" Target="../tags/tag1301.xml"/><Relationship Id="rId7" Type="http://schemas.openxmlformats.org/officeDocument/2006/relationships/image" Target="../media/image15.png"/><Relationship Id="rId2" Type="http://schemas.openxmlformats.org/officeDocument/2006/relationships/tags" Target="../tags/tag1300.xml"/><Relationship Id="rId1" Type="http://schemas.openxmlformats.org/officeDocument/2006/relationships/vmlDrawing" Target="../drawings/vmlDrawing6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9.bin"/><Relationship Id="rId4" Type="http://schemas.openxmlformats.org/officeDocument/2006/relationships/slideMaster" Target="../slideMasters/slideMaster12.xml"/></Relationships>
</file>

<file path=ppt/slideLayouts/_rels/slideLayout9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tags" Target="../tags/tag1303.xml"/><Relationship Id="rId7" Type="http://schemas.openxmlformats.org/officeDocument/2006/relationships/image" Target="../media/image15.png"/><Relationship Id="rId2" Type="http://schemas.openxmlformats.org/officeDocument/2006/relationships/tags" Target="../tags/tag1302.xml"/><Relationship Id="rId1" Type="http://schemas.openxmlformats.org/officeDocument/2006/relationships/vmlDrawing" Target="../drawings/vmlDrawing6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9.bin"/><Relationship Id="rId4" Type="http://schemas.openxmlformats.org/officeDocument/2006/relationships/slideMaster" Target="../slideMasters/slideMaster12.xml"/></Relationships>
</file>

<file path=ppt/slideLayouts/_rels/slideLayout9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.png"/><Relationship Id="rId2" Type="http://schemas.openxmlformats.org/officeDocument/2006/relationships/tags" Target="../tags/tag1304.xml"/><Relationship Id="rId1" Type="http://schemas.openxmlformats.org/officeDocument/2006/relationships/vmlDrawing" Target="../drawings/vmlDrawing66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9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.png"/><Relationship Id="rId2" Type="http://schemas.openxmlformats.org/officeDocument/2006/relationships/tags" Target="../tags/tag1305.xml"/><Relationship Id="rId1" Type="http://schemas.openxmlformats.org/officeDocument/2006/relationships/vmlDrawing" Target="../drawings/vmlDrawing67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9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2.xml"/><Relationship Id="rId7" Type="http://schemas.microsoft.com/office/2007/relationships/hdphoto" Target="../media/hdphoto1.wdp"/><Relationship Id="rId2" Type="http://schemas.openxmlformats.org/officeDocument/2006/relationships/tags" Target="../tags/tag1306.xml"/><Relationship Id="rId1" Type="http://schemas.openxmlformats.org/officeDocument/2006/relationships/vmlDrawing" Target="../drawings/vmlDrawing671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Relationship Id="rId9" Type="http://schemas.openxmlformats.org/officeDocument/2006/relationships/image" Target="../media/image2.png"/></Relationships>
</file>

<file path=ppt/slideLayouts/_rels/slideLayout9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7" Type="http://schemas.openxmlformats.org/officeDocument/2006/relationships/image" Target="../media/image2.png"/><Relationship Id="rId2" Type="http://schemas.openxmlformats.org/officeDocument/2006/relationships/tags" Target="../tags/tag162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9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2.xml.rels><?xml version="1.0" encoding="UTF-8" standalone="yes"?>
<Relationships xmlns="http://schemas.openxmlformats.org/package/2006/relationships"><Relationship Id="rId3" Type="http://schemas.openxmlformats.org/officeDocument/2006/relationships/tags" Target="../tags/tag1308.xml"/><Relationship Id="rId2" Type="http://schemas.openxmlformats.org/officeDocument/2006/relationships/tags" Target="../tags/tag1307.xml"/><Relationship Id="rId1" Type="http://schemas.openxmlformats.org/officeDocument/2006/relationships/vmlDrawing" Target="../drawings/vmlDrawing6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1.bin"/><Relationship Id="rId4" Type="http://schemas.openxmlformats.org/officeDocument/2006/relationships/slideMaster" Target="../slideMasters/slideMaster12.xml"/></Relationships>
</file>

<file path=ppt/slideLayouts/_rels/slideLayout9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9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12.xml"/><Relationship Id="rId7" Type="http://schemas.openxmlformats.org/officeDocument/2006/relationships/image" Target="../media/image4.png"/><Relationship Id="rId2" Type="http://schemas.openxmlformats.org/officeDocument/2006/relationships/tags" Target="../tags/tag1311.xml"/><Relationship Id="rId1" Type="http://schemas.openxmlformats.org/officeDocument/2006/relationships/vmlDrawing" Target="../drawings/vmlDrawing6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3.xml"/></Relationships>
</file>

<file path=ppt/slideLayouts/_rels/slideLayout988.xml.rels><?xml version="1.0" encoding="UTF-8" standalone="yes"?>
<Relationships xmlns="http://schemas.openxmlformats.org/package/2006/relationships"><Relationship Id="rId3" Type="http://schemas.openxmlformats.org/officeDocument/2006/relationships/tags" Target="../tags/tag1314.xml"/><Relationship Id="rId2" Type="http://schemas.openxmlformats.org/officeDocument/2006/relationships/tags" Target="../tags/tag1313.xml"/><Relationship Id="rId1" Type="http://schemas.openxmlformats.org/officeDocument/2006/relationships/vmlDrawing" Target="../drawings/vmlDrawing6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3.xml"/></Relationships>
</file>

<file path=ppt/slideLayouts/_rels/slideLayout9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16.xml"/><Relationship Id="rId7" Type="http://schemas.openxmlformats.org/officeDocument/2006/relationships/image" Target="../media/image1.emf"/><Relationship Id="rId2" Type="http://schemas.openxmlformats.org/officeDocument/2006/relationships/tags" Target="../tags/tag1315.xml"/><Relationship Id="rId1" Type="http://schemas.openxmlformats.org/officeDocument/2006/relationships/vmlDrawing" Target="../drawings/vmlDrawing676.vml"/><Relationship Id="rId6" Type="http://schemas.openxmlformats.org/officeDocument/2006/relationships/oleObject" Target="../embeddings/oleObject32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7" Type="http://schemas.openxmlformats.org/officeDocument/2006/relationships/image" Target="../media/image2.png"/><Relationship Id="rId2" Type="http://schemas.openxmlformats.org/officeDocument/2006/relationships/tags" Target="../tags/tag164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9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317.xml"/><Relationship Id="rId1" Type="http://schemas.openxmlformats.org/officeDocument/2006/relationships/vmlDrawing" Target="../drawings/vmlDrawing67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991.xml.rels><?xml version="1.0" encoding="UTF-8" standalone="yes"?>
<Relationships xmlns="http://schemas.openxmlformats.org/package/2006/relationships"><Relationship Id="rId3" Type="http://schemas.openxmlformats.org/officeDocument/2006/relationships/tags" Target="../tags/tag1319.xml"/><Relationship Id="rId7" Type="http://schemas.openxmlformats.org/officeDocument/2006/relationships/image" Target="../media/image2.png"/><Relationship Id="rId2" Type="http://schemas.openxmlformats.org/officeDocument/2006/relationships/tags" Target="../tags/tag1318.xml"/><Relationship Id="rId1" Type="http://schemas.openxmlformats.org/officeDocument/2006/relationships/vmlDrawing" Target="../drawings/vmlDrawing6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3.xml"/></Relationships>
</file>

<file path=ppt/slideLayouts/_rels/slideLayout992.xml.rels><?xml version="1.0" encoding="UTF-8" standalone="yes"?>
<Relationships xmlns="http://schemas.openxmlformats.org/package/2006/relationships"><Relationship Id="rId3" Type="http://schemas.openxmlformats.org/officeDocument/2006/relationships/tags" Target="../tags/tag1321.xml"/><Relationship Id="rId7" Type="http://schemas.openxmlformats.org/officeDocument/2006/relationships/image" Target="../media/image6.png"/><Relationship Id="rId2" Type="http://schemas.openxmlformats.org/officeDocument/2006/relationships/tags" Target="../tags/tag1320.xml"/><Relationship Id="rId1" Type="http://schemas.openxmlformats.org/officeDocument/2006/relationships/vmlDrawing" Target="../drawings/vmlDrawing6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3.xml"/></Relationships>
</file>

<file path=ppt/slideLayouts/_rels/slideLayout9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23.xml"/><Relationship Id="rId7" Type="http://schemas.openxmlformats.org/officeDocument/2006/relationships/image" Target="../media/image1.emf"/><Relationship Id="rId2" Type="http://schemas.openxmlformats.org/officeDocument/2006/relationships/tags" Target="../tags/tag1322.xml"/><Relationship Id="rId1" Type="http://schemas.openxmlformats.org/officeDocument/2006/relationships/vmlDrawing" Target="../drawings/vmlDrawing680.vml"/><Relationship Id="rId6" Type="http://schemas.openxmlformats.org/officeDocument/2006/relationships/oleObject" Target="../embeddings/oleObject36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13.xml"/></Relationships>
</file>

<file path=ppt/slideLayouts/_rels/slideLayout9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3.xml"/></Relationships>
</file>

<file path=ppt/slideLayouts/_rels/slideLayout995.xml.rels><?xml version="1.0" encoding="UTF-8" standalone="yes"?>
<Relationships xmlns="http://schemas.openxmlformats.org/package/2006/relationships"><Relationship Id="rId3" Type="http://schemas.openxmlformats.org/officeDocument/2006/relationships/tags" Target="../tags/tag1325.xml"/><Relationship Id="rId2" Type="http://schemas.openxmlformats.org/officeDocument/2006/relationships/tags" Target="../tags/tag1324.xml"/><Relationship Id="rId1" Type="http://schemas.openxmlformats.org/officeDocument/2006/relationships/vmlDrawing" Target="../drawings/vmlDrawing6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3.xml"/></Relationships>
</file>

<file path=ppt/slideLayouts/_rels/slideLayout996.xml.rels><?xml version="1.0" encoding="UTF-8" standalone="yes"?>
<Relationships xmlns="http://schemas.openxmlformats.org/package/2006/relationships"><Relationship Id="rId3" Type="http://schemas.openxmlformats.org/officeDocument/2006/relationships/tags" Target="../tags/tag1327.xml"/><Relationship Id="rId7" Type="http://schemas.openxmlformats.org/officeDocument/2006/relationships/image" Target="../media/image2.png"/><Relationship Id="rId2" Type="http://schemas.openxmlformats.org/officeDocument/2006/relationships/tags" Target="../tags/tag1326.xml"/><Relationship Id="rId1" Type="http://schemas.openxmlformats.org/officeDocument/2006/relationships/vmlDrawing" Target="../drawings/vmlDrawing6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3.xml"/></Relationships>
</file>

<file path=ppt/slideLayouts/_rels/slideLayout997.xml.rels><?xml version="1.0" encoding="UTF-8" standalone="yes"?>
<Relationships xmlns="http://schemas.openxmlformats.org/package/2006/relationships"><Relationship Id="rId3" Type="http://schemas.openxmlformats.org/officeDocument/2006/relationships/tags" Target="../tags/tag1329.xml"/><Relationship Id="rId7" Type="http://schemas.openxmlformats.org/officeDocument/2006/relationships/image" Target="../media/image2.png"/><Relationship Id="rId2" Type="http://schemas.openxmlformats.org/officeDocument/2006/relationships/tags" Target="../tags/tag1328.xml"/><Relationship Id="rId1" Type="http://schemas.openxmlformats.org/officeDocument/2006/relationships/vmlDrawing" Target="../drawings/vmlDrawing6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3.xml"/></Relationships>
</file>

<file path=ppt/slideLayouts/_rels/slideLayout998.xml.rels><?xml version="1.0" encoding="UTF-8" standalone="yes"?>
<Relationships xmlns="http://schemas.openxmlformats.org/package/2006/relationships"><Relationship Id="rId3" Type="http://schemas.openxmlformats.org/officeDocument/2006/relationships/tags" Target="../tags/tag1331.xml"/><Relationship Id="rId7" Type="http://schemas.openxmlformats.org/officeDocument/2006/relationships/image" Target="../media/image2.png"/><Relationship Id="rId2" Type="http://schemas.openxmlformats.org/officeDocument/2006/relationships/tags" Target="../tags/tag1330.xml"/><Relationship Id="rId1" Type="http://schemas.openxmlformats.org/officeDocument/2006/relationships/vmlDrawing" Target="../drawings/vmlDrawing6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3.xml"/></Relationships>
</file>

<file path=ppt/slideLayouts/_rels/slideLayout999.xml.rels><?xml version="1.0" encoding="UTF-8" standalone="yes"?>
<Relationships xmlns="http://schemas.openxmlformats.org/package/2006/relationships"><Relationship Id="rId3" Type="http://schemas.openxmlformats.org/officeDocument/2006/relationships/tags" Target="../tags/tag1333.xml"/><Relationship Id="rId7" Type="http://schemas.openxmlformats.org/officeDocument/2006/relationships/image" Target="../media/image2.png"/><Relationship Id="rId2" Type="http://schemas.openxmlformats.org/officeDocument/2006/relationships/tags" Target="../tags/tag1332.xml"/><Relationship Id="rId1" Type="http://schemas.openxmlformats.org/officeDocument/2006/relationships/vmlDrawing" Target="../drawings/vmlDrawing6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3692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/>
              <a:t>tittel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Undertittel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292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3872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512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C0ED4626-A3F3-4EB6-B615-E33DF81FC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923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682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68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005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07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9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/>
              <a:t>Your </a:t>
            </a:r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here</a:t>
            </a:r>
            <a:endParaRPr lang="nb-NO" noProof="0" dirty="0"/>
          </a:p>
          <a:p>
            <a:pPr lvl="1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1</a:t>
            </a:r>
          </a:p>
          <a:p>
            <a:pPr lvl="2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60734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9741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9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 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514368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4412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9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change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</a:t>
            </a:r>
            <a:r>
              <a:rPr lang="nb-NO" noProof="0" dirty="0" err="1"/>
              <a:t>text</a:t>
            </a:r>
            <a:r>
              <a:rPr lang="nb-NO" noProof="0" dirty="0"/>
              <a:t> styles </a:t>
            </a:r>
            <a:r>
              <a:rPr lang="nb-NO" noProof="0" dirty="0" err="1"/>
              <a:t>on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slide master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39459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0231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95270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317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38203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589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0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08574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809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0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33822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5729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0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31321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3590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0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66555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0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9816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104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1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27619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6647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1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32043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6852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1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34010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6878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01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69306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5618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3093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120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42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7C4457B5-A8C3-46A7-868D-52171EF747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26096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4845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5ABA2AAA-2D64-4286-AA8D-E8C4B33EF1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18929B-5A27-4738-A956-5210DE317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17823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238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2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A05C525A-2558-46E8-80B5-941389990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39E13C7-429D-4FD8-8D51-1CD98F0746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66022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1619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2B4A1FD1-2F6F-4AF1-B710-F76E885B22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66FD42-E6CB-4E63-977B-EE506F961D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79412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415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2D1E5417-BAA4-429E-95E5-698476B661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ED434F4-3F5A-4CC8-AF47-2D44BC94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47758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3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104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0712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3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Cadre 17">
            <a:extLst>
              <a:ext uri="{FF2B5EF4-FFF2-40B4-BE49-F238E27FC236}">
                <a16:creationId xmlns:a16="http://schemas.microsoft.com/office/drawing/2014/main" id="{285449E9-76FD-41C4-AB0F-35C777B4B5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59EC62-365E-4C00-96A9-63E12DBFEC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91493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0122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3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F5012EE-F70F-4DC9-B099-EE7C58FBE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16370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6542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4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83498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1474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4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4E714486-5B7B-4F48-BEFC-281DDDE322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BCED95E-D46F-45DA-A8CA-82C0D5EC5C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23AE9234-7A03-47E3-B9FB-3011472759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019215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9266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7C69250-80AB-4E19-908E-FE1A9C259E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21F5727-3448-4D99-A3D4-D79C85230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82956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3808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86041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2841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5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88440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971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5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39617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6292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5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93AA855-02DB-4B05-8E81-A158AE9F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5260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2527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5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1B1BC3B-7D47-4411-98E0-572B5105AF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06324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5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/>
              <a:t>Your </a:t>
            </a:r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here</a:t>
            </a:r>
            <a:endParaRPr lang="nb-NO" noProof="0" dirty="0"/>
          </a:p>
          <a:p>
            <a:pPr lvl="1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1</a:t>
            </a:r>
          </a:p>
          <a:p>
            <a:pPr lvl="2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33158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7342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6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90145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160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6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1F5493F3-3396-494C-B7AA-936DEA3472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A54449-0787-49BE-8221-6DC2BB765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3BCC29E8-FA01-420B-86AB-93C9CF30F36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722274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423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6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BBDD52F3-BBB0-4B91-8EEB-208C077F83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5925EE1-CD2E-4A0E-9B4A-F4222DBCD6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23839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62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6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69985D8-FF27-401D-AE13-C8809DEE9C6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1E443905-DD6D-4529-8F0A-C4C0DAAF9F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5072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374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6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752D4BAC-73DB-4CB5-B77A-A9F7350DB6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6EDF6B-3086-43E5-A0E3-18E19E75A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62349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50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7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B232E484-4563-4A71-9DDC-EE6C0E44D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40076C0-E4EA-4B32-8A67-B88BF86ECC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56926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40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7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78CCC-EDB7-4322-A715-598B7CD25A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582851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2555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7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090C5BD-4BCD-4A76-B315-2E94DF2794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16700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777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7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22212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491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8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DEB3BC3E-E116-4E0A-97F3-66A29CB1DC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8438A79-7265-451F-8F84-EB08D57EE5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21792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8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 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42019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325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8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</a:pPr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00506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3467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8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37573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19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98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1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58317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4442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9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39490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1124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52873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5461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9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16677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71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9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31944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562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0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61388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1138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0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48891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3289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0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63009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0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change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</a:t>
            </a:r>
            <a:r>
              <a:rPr lang="nb-NO" noProof="0" dirty="0" err="1"/>
              <a:t>text</a:t>
            </a:r>
            <a:r>
              <a:rPr lang="nb-NO" noProof="0" dirty="0"/>
              <a:t> styles </a:t>
            </a:r>
            <a:r>
              <a:rPr lang="nb-NO" noProof="0" dirty="0" err="1"/>
              <a:t>on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slide master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24215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2480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0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978959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287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1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5151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0908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1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BF7A0D0E-8184-4BA8-BEDC-8D6B253B3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370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9766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11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95FA30DA-C1C6-46AC-9495-9AC59758C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15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4588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1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CE5B38A0-F8CE-4105-8A52-31B103BD64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215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505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2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55495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418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A049C2FF-866E-4770-BF24-2A2A45738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514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9382E897-FE3C-46CE-9ACE-BEA0D33725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357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CEA53D01-537F-435D-939E-B46D503CAC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970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2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81616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763275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1F327ED3-8F17-47CC-A13B-08AE8ED17B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727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EF680AAE-5E06-4510-A29A-EA1B5C3FC6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323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AFA2E4AD-7204-43D7-8512-89DC1D3D22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442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146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slidE</a:t>
            </a:r>
            <a:endParaRPr lang="fr-FR" dirty="0"/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949336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6743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2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439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6800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2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FF22C7FD-AB94-474F-A263-6F71CCCBC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729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70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487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5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62072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943189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7655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274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655296"/>
      </p:ext>
    </p:extLst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9889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298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278664" y="2845969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2000"/>
              </a:prstClr>
            </a:outerShdw>
          </a:effectLst>
        </p:spPr>
      </p:pic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-9525"/>
            <a:ext cx="12192000" cy="6894909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436106"/>
      </p:ext>
    </p:extLst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6092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322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3322414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3141104" cy="1354217"/>
            <a:chOff x="794460" y="1664804"/>
            <a:chExt cx="3141104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T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A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  <p:sp>
          <p:nvSpPr>
            <p:cNvPr id="16" name="TextBox 12">
              <a:extLst>
                <a:ext uri="{FF2B5EF4-FFF2-40B4-BE49-F238E27FC236}">
                  <a16:creationId xmlns:a16="http://schemas.microsoft.com/office/drawing/2014/main" id="{2DF71DA4-98CD-454B-B3E1-EFAF31A3C87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21239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</p:grp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32116"/>
      </p:ext>
    </p:extLst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18D0A-39B3-4570-968F-E99FA57C9B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9166" y="934041"/>
            <a:ext cx="573409" cy="178639"/>
          </a:xfrm>
          <a:solidFill>
            <a:schemeClr val="tx1"/>
          </a:solidFill>
        </p:spPr>
        <p:txBody>
          <a:bodyPr wrap="none" lIns="72000" tIns="0" rIns="72000" bIns="0" numCol="1">
            <a:spAutoFit/>
          </a:bodyPr>
          <a:lstStyle>
            <a:lvl1pPr>
              <a:defRPr lang="en-US" sz="1161" b="1" kern="1200" cap="all" baseline="0" dirty="0">
                <a:solidFill>
                  <a:schemeClr val="bg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 algn="l" defTabSz="1696196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241"/>
              </a:spcAft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en-US" dirty="0"/>
              <a:t>BLANK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94AB055C-0BA7-4A19-937C-FEBD6EC944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9166" y="1199661"/>
            <a:ext cx="674397" cy="178639"/>
          </a:xfrm>
          <a:solidFill>
            <a:schemeClr val="tx1"/>
          </a:solidFill>
        </p:spPr>
        <p:txBody>
          <a:bodyPr wrap="none" lIns="72000" tIns="0" rIns="72000" bIns="0" numCol="1">
            <a:spAutoFit/>
          </a:bodyPr>
          <a:lstStyle>
            <a:lvl1pPr>
              <a:defRPr lang="en-US" sz="1161" b="1" kern="1200" cap="all" baseline="0" dirty="0">
                <a:solidFill>
                  <a:schemeClr val="bg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 algn="l" defTabSz="1696196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241"/>
              </a:spcAft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en-US" dirty="0"/>
              <a:t>LAYOUT</a:t>
            </a:r>
          </a:p>
        </p:txBody>
      </p:sp>
    </p:spTree>
    <p:extLst>
      <p:ext uri="{BB962C8B-B14F-4D97-AF65-F5344CB8AC3E}">
        <p14:creationId xmlns:p14="http://schemas.microsoft.com/office/powerpoint/2010/main" val="895289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 Section Head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0444" y="3306925"/>
            <a:ext cx="4952573" cy="960263"/>
          </a:xfrm>
        </p:spPr>
        <p:txBody>
          <a:bodyPr lIns="0" anchor="t"/>
          <a:lstStyle>
            <a:lvl1pPr>
              <a:lnSpc>
                <a:spcPct val="80000"/>
              </a:lnSpc>
              <a:spcBef>
                <a:spcPts val="816"/>
              </a:spcBef>
              <a:defRPr sz="78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LOR SIT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5753" y="2477745"/>
            <a:ext cx="8044963" cy="829179"/>
          </a:xfrm>
        </p:spPr>
        <p:txBody>
          <a:bodyPr anchor="b">
            <a:normAutofit/>
          </a:bodyPr>
          <a:lstStyle>
            <a:lvl1pPr>
              <a:spcBef>
                <a:spcPts val="1224"/>
              </a:spcBef>
              <a:defRPr sz="27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29" name="TextBox 28"/>
          <p:cNvSpPr txBox="1"/>
          <p:nvPr userDrawn="1"/>
        </p:nvSpPr>
        <p:spPr>
          <a:xfrm>
            <a:off x="319512" y="6249103"/>
            <a:ext cx="409584" cy="317340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lvl="0" indent="0" algn="l" defTabSz="924237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990C03-C3A3-48FE-AF6D-3AE397C8962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24237" rtl="0" eaLnBrk="1" fontAlgn="auto" latinLnBrk="0" hangingPunct="1">
                <a:lnSpc>
                  <a:spcPct val="85000"/>
                </a:lnSpc>
                <a:spcBef>
                  <a:spcPts val="20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 userDrawn="1"/>
        </p:nvSpPr>
        <p:spPr>
          <a:xfrm>
            <a:off x="839649" y="6341238"/>
            <a:ext cx="921563" cy="225209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lvl="0" indent="0" algn="l" defTabSz="924237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18 Ipsos.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2530583"/>
      </p:ext>
    </p:extLst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2000" y="815054"/>
            <a:ext cx="5641072" cy="369397"/>
          </a:xfrm>
        </p:spPr>
        <p:txBody>
          <a:bodyPr anchor="t"/>
          <a:lstStyle>
            <a:lvl1pPr>
              <a:defRPr sz="2667" b="1" cap="none"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001" y="331098"/>
            <a:ext cx="8957556" cy="590215"/>
          </a:xfrm>
        </p:spPr>
        <p:txBody>
          <a:bodyPr anchor="b">
            <a:noAutofit/>
          </a:bodyPr>
          <a:lstStyle>
            <a:lvl1pPr marL="116414" indent="0">
              <a:buNone/>
              <a:defRPr sz="2533" b="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4368214"/>
      </p:ext>
    </p:extLst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6045C8-54C0-4418-B8C0-3C6DC70FA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5B749-F855-4E96-8B52-6739412A101B}" type="datetimeFigureOut">
              <a:rPr kumimoji="0" lang="nb-NO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.09.2020</a:t>
            </a:fld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0C7FD-F13B-4BDD-A845-443847899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91CAE7-8178-48E1-A5BC-400E60970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64CC03-275E-4516-905C-65BB718DBE74}" type="slidenum">
              <a:rPr kumimoji="0" lang="nb-NO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900" b="1" i="0" u="none" strike="noStrike" kern="1200" cap="none" spc="0" normalizeH="0" baseline="0" noProof="0" dirty="0">
              <a:ln>
                <a:noFill/>
              </a:ln>
              <a:solidFill>
                <a:srgbClr val="2F469C">
                  <a:lumMod val="75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3036998"/>
      </p:ext>
    </p:extLst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9836" y="857958"/>
            <a:ext cx="11536437" cy="443199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09836" y="331098"/>
            <a:ext cx="8967721" cy="590215"/>
          </a:xfrm>
        </p:spPr>
        <p:txBody>
          <a:bodyPr anchor="b">
            <a:normAutofit/>
          </a:bodyPr>
          <a:lstStyle>
            <a:lvl1pPr marL="0" indent="0">
              <a:buNone/>
              <a:defRPr sz="253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0201" y="1851257"/>
            <a:ext cx="10493855" cy="35240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1674930"/>
      </p:ext>
    </p:extLst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675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138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/>
              <a:t>tittel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Undertittel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974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7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73989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1800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1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4786" y="1357678"/>
            <a:ext cx="2090814" cy="353943"/>
          </a:xfrm>
          <a:prstGeom prst="rect">
            <a:avLst/>
          </a:prstGeom>
          <a:noFill/>
        </p:spPr>
        <p:txBody>
          <a:bodyPr wrap="squar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D3309618-CC75-4177-8883-1C656B8EF5F0}"/>
              </a:ext>
            </a:extLst>
          </p:cNvPr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1000">
                <a:srgbClr val="131313">
                  <a:alpha val="55000"/>
                </a:srgbClr>
              </a:gs>
              <a:gs pos="38000">
                <a:schemeClr val="tx1">
                  <a:lumMod val="85000"/>
                  <a:lumOff val="15000"/>
                  <a:alpha val="16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4885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36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 dirty="0"/>
              <a:t>Undertittel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 dirty="0"/>
              <a:t>Tittel 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475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683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460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genda/</a:t>
            </a:r>
            <a:r>
              <a:rPr lang="en-GB" dirty="0" err="1"/>
              <a:t>innhold</a:t>
            </a:r>
            <a:endParaRPr lang="en-GB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8208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3925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48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666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234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50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978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2254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7532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270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0" y="2101"/>
            <a:ext cx="11998725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6000"/>
                </a:schemeClr>
              </a:gs>
              <a:gs pos="67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text</a:t>
            </a:r>
            <a:r>
              <a:rPr lang="fr-FR" dirty="0"/>
              <a:t> of the slide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AA4E60BF-8266-4954-89D7-E523061AB5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219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55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570943" cy="1446550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1808820"/>
            <a:ext cx="7551996" cy="2123658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nb-NO" noProof="0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3" y="6031463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/>
              <a:t>Subtitle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6" y="6875869"/>
            <a:ext cx="360037" cy="4572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3001820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1993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58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270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549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060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392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0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03825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0835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162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C0ED4626-A3F3-4EB6-B615-E33DF81FC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14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7355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5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410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513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67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379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945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70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/>
              <a:t>Your </a:t>
            </a:r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here</a:t>
            </a:r>
            <a:endParaRPr lang="nb-NO" noProof="0" dirty="0"/>
          </a:p>
          <a:p>
            <a:pPr lvl="1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1</a:t>
            </a:r>
          </a:p>
          <a:p>
            <a:pPr lvl="2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82605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4184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72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 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70507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6538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674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change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</a:t>
            </a:r>
            <a:r>
              <a:rPr lang="nb-NO" noProof="0" dirty="0" err="1"/>
              <a:t>text</a:t>
            </a:r>
            <a:r>
              <a:rPr lang="nb-NO" noProof="0" dirty="0"/>
              <a:t> styles </a:t>
            </a:r>
            <a:r>
              <a:rPr lang="nb-NO" noProof="0" dirty="0" err="1"/>
              <a:t>on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slide master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50435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2676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777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63310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8242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79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9964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718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82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34820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4509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084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06125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9170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298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28716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1536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186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8685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361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89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35115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156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91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79615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855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94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22823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6359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96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96510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571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98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26750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027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801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25623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1515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9036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7C4457B5-A8C3-46A7-868D-52171EF747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46544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665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006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5ABA2AAA-2D64-4286-AA8D-E8C4B33EF1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18929B-5A27-4738-A956-5210DE317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19504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0433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108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A05C525A-2558-46E8-80B5-941389990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39E13C7-429D-4FD8-8D51-1CD98F0746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84670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4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21822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0866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210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2B4A1FD1-2F6F-4AF1-B710-F76E885B22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66FD42-E6CB-4E63-977B-EE506F961D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83901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868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3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2D1E5417-BAA4-429E-95E5-698476B661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ED434F4-3F5A-4CC8-AF47-2D44BC94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82639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8050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15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Cadre 17">
            <a:extLst>
              <a:ext uri="{FF2B5EF4-FFF2-40B4-BE49-F238E27FC236}">
                <a16:creationId xmlns:a16="http://schemas.microsoft.com/office/drawing/2014/main" id="{285449E9-76FD-41C4-AB0F-35C777B4B5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59EC62-365E-4C00-96A9-63E12DBFEC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23842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679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18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F5012EE-F70F-4DC9-B099-EE7C58FBE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82761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2654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20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26052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145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22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4E714486-5B7B-4F48-BEFC-281DDDE322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BCED95E-D46F-45DA-A8CA-82C0D5EC5C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23AE9234-7A03-47E3-B9FB-3011472759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574603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890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825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7C69250-80AB-4E19-908E-FE1A9C259E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21F5727-3448-4D99-A3D4-D79C85230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17631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1098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27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43964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6745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030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62511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609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132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85073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7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66062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8267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234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93AA855-02DB-4B05-8E81-A158AE9F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28591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872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37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1B1BC3B-7D47-4411-98E0-572B5105AF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00568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7275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39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0484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9227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42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1F5493F3-3396-494C-B7AA-936DEA3472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A54449-0787-49BE-8221-6DC2BB765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3BCC29E8-FA01-420B-86AB-93C9CF30F36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645303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8128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644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BBDD52F3-BBB0-4B91-8EEB-208C077F83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5925EE1-CD2E-4A0E-9B4A-F4222DBCD6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910007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7934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746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69985D8-FF27-401D-AE13-C8809DEE9C6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1E443905-DD6D-4529-8F0A-C4C0DAAF9F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94504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9215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849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752D4BAC-73DB-4CB5-B77A-A9F7350DB6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6EDF6B-3086-43E5-A0E3-18E19E75A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13380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118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951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B232E484-4563-4A71-9DDC-EE6C0E44D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40076C0-E4EA-4B32-8A67-B88BF86ECC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45517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6384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054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78CCC-EDB7-4322-A715-598B7CD25A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24678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722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156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090C5BD-4BCD-4A76-B315-2E94DF2794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46686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9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29901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9564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58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61817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8718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1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DEB3BC3E-E116-4E0A-97F3-66A29CB1DC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8438A79-7265-451F-8F84-EB08D57EE5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11214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4297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3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</a:pPr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68293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8748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66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892390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42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68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1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57142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5693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70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45236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37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73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86885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2232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75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95047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6178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78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993418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1433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80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4341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2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06570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369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82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53458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9493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5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15766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1930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87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05126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8813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90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17691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8764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92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BF7A0D0E-8184-4BA8-BEDC-8D6B253B3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549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3088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94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95FA30DA-C1C6-46AC-9495-9AC59758C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5527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9045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97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CE5B38A0-F8CE-4105-8A52-31B103BD64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207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7612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99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4830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097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A049C2FF-866E-4770-BF24-2A2A45738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545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4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39320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9382E897-FE3C-46CE-9ACE-BEA0D33725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057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CEA53D01-537F-435D-939E-B46D503CAC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908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669898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1F327ED3-8F17-47CC-A13B-08AE8ED17B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750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EF680AAE-5E06-4510-A29A-EA1B5C3FC6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204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AFA2E4AD-7204-43D7-8512-89DC1D3D22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675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788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slidE</a:t>
            </a:r>
            <a:endParaRPr lang="fr-FR" dirty="0"/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704872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05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02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460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0701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204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FF22C7FD-AB94-474F-A263-6F71CCCBC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657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6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47898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06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313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595352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6610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3068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430858"/>
      </p:ext>
    </p:extLst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855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092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278664" y="2845969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2000"/>
              </a:prstClr>
            </a:outerShdw>
          </a:effectLst>
        </p:spPr>
      </p:pic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-9525"/>
            <a:ext cx="12192000" cy="6894909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456907"/>
      </p:ext>
    </p:extLst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529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116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3322414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3141104" cy="1354217"/>
            <a:chOff x="794460" y="1664804"/>
            <a:chExt cx="3141104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T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A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  <p:sp>
          <p:nvSpPr>
            <p:cNvPr id="16" name="TextBox 12">
              <a:extLst>
                <a:ext uri="{FF2B5EF4-FFF2-40B4-BE49-F238E27FC236}">
                  <a16:creationId xmlns:a16="http://schemas.microsoft.com/office/drawing/2014/main" id="{2DF71DA4-98CD-454B-B3E1-EFAF31A3C87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21239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</p:grp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083246"/>
      </p:ext>
    </p:extLst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18D0A-39B3-4570-968F-E99FA57C9B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9166" y="934041"/>
            <a:ext cx="573409" cy="178639"/>
          </a:xfrm>
          <a:solidFill>
            <a:schemeClr val="tx1"/>
          </a:solidFill>
        </p:spPr>
        <p:txBody>
          <a:bodyPr wrap="none" lIns="72000" tIns="0" rIns="72000" bIns="0" numCol="1">
            <a:spAutoFit/>
          </a:bodyPr>
          <a:lstStyle>
            <a:lvl1pPr>
              <a:defRPr lang="en-US" sz="1161" b="1" kern="1200" cap="all" baseline="0" dirty="0">
                <a:solidFill>
                  <a:schemeClr val="bg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 algn="l" defTabSz="1696196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241"/>
              </a:spcAft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en-US" dirty="0"/>
              <a:t>BLANK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94AB055C-0BA7-4A19-937C-FEBD6EC944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9166" y="1199661"/>
            <a:ext cx="674397" cy="178639"/>
          </a:xfrm>
          <a:solidFill>
            <a:schemeClr val="tx1"/>
          </a:solidFill>
        </p:spPr>
        <p:txBody>
          <a:bodyPr wrap="none" lIns="72000" tIns="0" rIns="72000" bIns="0" numCol="1">
            <a:spAutoFit/>
          </a:bodyPr>
          <a:lstStyle>
            <a:lvl1pPr>
              <a:defRPr lang="en-US" sz="1161" b="1" kern="1200" cap="all" baseline="0" dirty="0">
                <a:solidFill>
                  <a:schemeClr val="bg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 algn="l" defTabSz="1696196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241"/>
              </a:spcAft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en-US" dirty="0"/>
              <a:t>LAYOUT</a:t>
            </a:r>
          </a:p>
        </p:txBody>
      </p:sp>
    </p:spTree>
    <p:extLst>
      <p:ext uri="{BB962C8B-B14F-4D97-AF65-F5344CB8AC3E}">
        <p14:creationId xmlns:p14="http://schemas.microsoft.com/office/powerpoint/2010/main" val="1532010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 Section Head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0444" y="3306925"/>
            <a:ext cx="4952573" cy="960263"/>
          </a:xfrm>
        </p:spPr>
        <p:txBody>
          <a:bodyPr lIns="0" anchor="t"/>
          <a:lstStyle>
            <a:lvl1pPr>
              <a:lnSpc>
                <a:spcPct val="80000"/>
              </a:lnSpc>
              <a:spcBef>
                <a:spcPts val="816"/>
              </a:spcBef>
              <a:defRPr sz="78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LOR SIT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5753" y="2477745"/>
            <a:ext cx="8044963" cy="829179"/>
          </a:xfrm>
        </p:spPr>
        <p:txBody>
          <a:bodyPr anchor="b">
            <a:normAutofit/>
          </a:bodyPr>
          <a:lstStyle>
            <a:lvl1pPr>
              <a:spcBef>
                <a:spcPts val="1224"/>
              </a:spcBef>
              <a:defRPr sz="27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29" name="TextBox 28"/>
          <p:cNvSpPr txBox="1"/>
          <p:nvPr userDrawn="1"/>
        </p:nvSpPr>
        <p:spPr>
          <a:xfrm>
            <a:off x="319512" y="6249103"/>
            <a:ext cx="409584" cy="317340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lvl="0" indent="0" algn="l" defTabSz="924237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990C03-C3A3-48FE-AF6D-3AE397C8962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24237" rtl="0" eaLnBrk="1" fontAlgn="auto" latinLnBrk="0" hangingPunct="1">
                <a:lnSpc>
                  <a:spcPct val="85000"/>
                </a:lnSpc>
                <a:spcBef>
                  <a:spcPts val="20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 userDrawn="1"/>
        </p:nvSpPr>
        <p:spPr>
          <a:xfrm>
            <a:off x="839649" y="6341238"/>
            <a:ext cx="921563" cy="225209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lvl="0" indent="0" algn="l" defTabSz="924237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18 Ipsos.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9046963"/>
      </p:ext>
    </p:extLst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2000" y="815054"/>
            <a:ext cx="5641072" cy="369397"/>
          </a:xfrm>
        </p:spPr>
        <p:txBody>
          <a:bodyPr anchor="t"/>
          <a:lstStyle>
            <a:lvl1pPr>
              <a:defRPr sz="2667" b="1" cap="none"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001" y="331098"/>
            <a:ext cx="8957556" cy="590215"/>
          </a:xfrm>
        </p:spPr>
        <p:txBody>
          <a:bodyPr anchor="b">
            <a:noAutofit/>
          </a:bodyPr>
          <a:lstStyle>
            <a:lvl1pPr marL="116414" indent="0">
              <a:buNone/>
              <a:defRPr sz="2533" b="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9156419"/>
      </p:ext>
    </p:extLst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6045C8-54C0-4418-B8C0-3C6DC70FA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5B749-F855-4E96-8B52-6739412A101B}" type="datetimeFigureOut">
              <a:rPr kumimoji="0" lang="nb-NO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.09.2020</a:t>
            </a:fld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0C7FD-F13B-4BDD-A845-443847899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91CAE7-8178-48E1-A5BC-400E60970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64CC03-275E-4516-905C-65BB718DBE74}" type="slidenum">
              <a:rPr kumimoji="0" lang="nb-NO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900" b="1" i="0" u="none" strike="noStrike" kern="1200" cap="none" spc="0" normalizeH="0" baseline="0" noProof="0" dirty="0">
              <a:ln>
                <a:noFill/>
              </a:ln>
              <a:solidFill>
                <a:srgbClr val="2F469C">
                  <a:lumMod val="75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681622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93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7C4457B5-A8C3-46A7-868D-52171EF747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17005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9836" y="857958"/>
            <a:ext cx="11536437" cy="443199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09836" y="331098"/>
            <a:ext cx="8967721" cy="590215"/>
          </a:xfrm>
        </p:spPr>
        <p:txBody>
          <a:bodyPr anchor="b">
            <a:normAutofit/>
          </a:bodyPr>
          <a:lstStyle>
            <a:lvl1pPr marL="0" indent="0">
              <a:buNone/>
              <a:defRPr sz="253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0201" y="1851257"/>
            <a:ext cx="10493855" cy="35240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85357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1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5ABA2AAA-2D64-4286-AA8D-E8C4B33EF1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18929B-5A27-4738-A956-5210DE317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97064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4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A05C525A-2558-46E8-80B5-941389990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39E13C7-429D-4FD8-8D51-1CD98F0746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20616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9079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C0ED4626-A3F3-4EB6-B615-E33DF81FC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517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2B4A1FD1-2F6F-4AF1-B710-F76E885B22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66FD42-E6CB-4E63-977B-EE506F961D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76551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8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2D1E5417-BAA4-429E-95E5-698476B661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ED434F4-3F5A-4CC8-AF47-2D44BC94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79264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1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Cadre 17">
            <a:extLst>
              <a:ext uri="{FF2B5EF4-FFF2-40B4-BE49-F238E27FC236}">
                <a16:creationId xmlns:a16="http://schemas.microsoft.com/office/drawing/2014/main" id="{285449E9-76FD-41C4-AB0F-35C777B4B5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59EC62-365E-4C00-96A9-63E12DBFEC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47972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3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F5012EE-F70F-4DC9-B099-EE7C58FBE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50510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6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503137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8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4E714486-5B7B-4F48-BEFC-281DDDE322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BCED95E-D46F-45DA-A8CA-82C0D5EC5C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23AE9234-7A03-47E3-B9FB-3011472759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2344109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0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7C69250-80AB-4E19-908E-FE1A9C259E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21F5727-3448-4D99-A3D4-D79C85230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31855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3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60107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5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69649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8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07535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9554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732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93AA855-02DB-4B05-8E81-A158AE9F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13080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2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1B1BC3B-7D47-4411-98E0-572B5105AF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53151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5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45962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7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1F5493F3-3396-494C-B7AA-936DEA3472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A54449-0787-49BE-8221-6DC2BB765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3BCC29E8-FA01-420B-86AB-93C9CF30F36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856039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0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BBDD52F3-BBB0-4B91-8EEB-208C077F83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5925EE1-CD2E-4A0E-9B4A-F4222DBCD6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48578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2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69985D8-FF27-401D-AE13-C8809DEE9C6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1E443905-DD6D-4529-8F0A-C4C0DAAF9F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88539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4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752D4BAC-73DB-4CB5-B77A-A9F7350DB6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6EDF6B-3086-43E5-A0E3-18E19E75A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77053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7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B232E484-4563-4A71-9DDC-EE6C0E44D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40076C0-E4EA-4B32-8A67-B88BF86ECC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61705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9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78CCC-EDB7-4322-A715-598B7CD25A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65135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2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090C5BD-4BCD-4A76-B315-2E94DF2794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99611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0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397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9557" y="6409099"/>
            <a:ext cx="360037" cy="365125"/>
          </a:xfrm>
        </p:spPr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37962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6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DEB3BC3E-E116-4E0A-97F3-66A29CB1DC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8438A79-7265-451F-8F84-EB08D57EE5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01762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9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</a:pPr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3324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1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15236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4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1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833090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6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5008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8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06251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1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17268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3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84592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6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82844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2365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/>
              <a:t>Your </a:t>
            </a:r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here</a:t>
            </a:r>
            <a:endParaRPr lang="nb-NO" noProof="0" dirty="0"/>
          </a:p>
          <a:p>
            <a:pPr lvl="1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1</a:t>
            </a:r>
          </a:p>
          <a:p>
            <a:pPr lvl="2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7137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96238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0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91915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3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8969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5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15850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8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BF7A0D0E-8184-4BA8-BEDC-8D6B253B3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267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0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95FA30DA-C1C6-46AC-9495-9AC59758C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1657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2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CE5B38A0-F8CE-4105-8A52-31B103BD64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539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5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64831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186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A049C2FF-866E-4770-BF24-2A2A45738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221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8278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 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38721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9382E897-FE3C-46CE-9ACE-BEA0D33725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48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CEA53D01-537F-435D-939E-B46D503CAC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24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631988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1F327ED3-8F17-47CC-A13B-08AE8ED17B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448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EF680AAE-5E06-4510-A29A-EA1B5C3FC6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670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AFA2E4AD-7204-43D7-8512-89DC1D3D22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91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722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slidE</a:t>
            </a:r>
            <a:endParaRPr lang="fr-FR" dirty="0"/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588566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7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243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0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FF22C7FD-AB94-474F-A263-6F71CCCBC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816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826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change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</a:t>
            </a:r>
            <a:r>
              <a:rPr lang="nb-NO" noProof="0" dirty="0" err="1"/>
              <a:t>text</a:t>
            </a:r>
            <a:r>
              <a:rPr lang="nb-NO" noProof="0" dirty="0"/>
              <a:t> styles </a:t>
            </a:r>
            <a:r>
              <a:rPr lang="nb-NO" noProof="0" dirty="0" err="1"/>
              <a:t>on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slide master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36959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821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200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910797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5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07924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49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278664" y="2845969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2000"/>
              </a:prstClr>
            </a:outerShdw>
          </a:effectLst>
        </p:spPr>
      </p:pic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-9525"/>
            <a:ext cx="12192000" cy="6894909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26929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73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3322414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3141104" cy="1354217"/>
            <a:chOff x="794460" y="1664804"/>
            <a:chExt cx="3141104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T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A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  <p:sp>
          <p:nvSpPr>
            <p:cNvPr id="16" name="TextBox 12">
              <a:extLst>
                <a:ext uri="{FF2B5EF4-FFF2-40B4-BE49-F238E27FC236}">
                  <a16:creationId xmlns:a16="http://schemas.microsoft.com/office/drawing/2014/main" id="{2DF71DA4-98CD-454B-B3E1-EFAF31A3C87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21239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</p:grp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77089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2001" y="857958"/>
            <a:ext cx="11529295" cy="48013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001" y="331098"/>
            <a:ext cx="8957556" cy="590215"/>
          </a:xfrm>
        </p:spPr>
        <p:txBody>
          <a:bodyPr anchor="b">
            <a:noAutofit/>
          </a:bodyPr>
          <a:lstStyle>
            <a:lvl1pPr marL="0" indent="0">
              <a:buNone/>
              <a:defRPr sz="2533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99465" y="5620954"/>
            <a:ext cx="8957433" cy="424383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72"/>
              </a:spcBef>
              <a:defRPr sz="1333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761664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- Cover -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1E8FE0F8-A7AF-4A8D-A267-73126E65CAC2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62734" y="162705"/>
            <a:ext cx="11878055" cy="65311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5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place image (or select frame and copy/paste image into it)</a:t>
            </a:r>
          </a:p>
        </p:txBody>
      </p:sp>
      <p:sp>
        <p:nvSpPr>
          <p:cNvPr id="11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9867" y="2943718"/>
            <a:ext cx="3078087" cy="468349"/>
          </a:xfrm>
          <a:prstGeom prst="rect">
            <a:avLst/>
          </a:prstGeom>
          <a:solidFill>
            <a:srgbClr val="000000"/>
          </a:solidFill>
        </p:spPr>
        <p:txBody>
          <a:bodyPr wrap="none" lIns="0" tIns="41410" rIns="0" bIns="41410" rtlCol="0" anchor="t">
            <a:spAutoFit/>
          </a:bodyPr>
          <a:lstStyle>
            <a:lvl1pPr marL="0" indent="0">
              <a:lnSpc>
                <a:spcPts val="3047"/>
              </a:lnSpc>
              <a:spcAft>
                <a:spcPts val="0"/>
              </a:spcAft>
              <a:buNone/>
              <a:defRPr lang="en-GB" sz="254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subtit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89865" y="2158653"/>
            <a:ext cx="2942491" cy="614100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cap="all" baseline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Title line 2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489865" y="1482723"/>
            <a:ext cx="2942491" cy="614100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cap="all" baseline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Title line 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663052" y="6711425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57674F0-7228-463A-B456-020DAFFCD045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  <p:pic>
        <p:nvPicPr>
          <p:cNvPr id="20" name="Picture 19" descr="IPSOS_GAMECHANGERS_blue.png">
            <a:extLst>
              <a:ext uri="{FF2B5EF4-FFF2-40B4-BE49-F238E27FC236}">
                <a16:creationId xmlns:a16="http://schemas.microsoft.com/office/drawing/2014/main" id="{A65C61B2-9B4F-4093-ADA2-55F9FB1747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1003084" y="6127877"/>
            <a:ext cx="1452017" cy="291592"/>
          </a:xfrm>
          <a:prstGeom prst="rect">
            <a:avLst/>
          </a:prstGeom>
        </p:spPr>
      </p:pic>
      <p:sp>
        <p:nvSpPr>
          <p:cNvPr id="21" name="Footer Placeholder 10">
            <a:extLst>
              <a:ext uri="{FF2B5EF4-FFF2-40B4-BE49-F238E27FC236}">
                <a16:creationId xmlns:a16="http://schemas.microsoft.com/office/drawing/2014/main" id="{C24BEF5F-45E8-49DC-AB15-06D38B4843D3}"/>
              </a:ext>
            </a:extLst>
          </p:cNvPr>
          <p:cNvSpPr txBox="1">
            <a:spLocks/>
          </p:cNvSpPr>
          <p:nvPr userDrawn="1"/>
        </p:nvSpPr>
        <p:spPr>
          <a:xfrm>
            <a:off x="10066225" y="6171885"/>
            <a:ext cx="1959319" cy="5259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51802" rtl="0" eaLnBrk="1" latinLnBrk="0" hangingPunct="1">
              <a:defRPr sz="1000" kern="1200">
                <a:solidFill>
                  <a:schemeClr val="accent4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259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704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606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507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408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310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211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3891"/>
            <a:r>
              <a:rPr lang="en-US" sz="635" dirty="0">
                <a:solidFill>
                  <a:prstClr val="white"/>
                </a:solidFill>
                <a:latin typeface="Segoe UI"/>
              </a:rPr>
              <a:t>© 2018 Ipsos.  All rights reserved. Contains Ipsos' Confidential and Proprietary information and may not be disclosed or reproduced without the prior written consent of Ipsos</a:t>
            </a:r>
            <a:r>
              <a:rPr lang="en-US" sz="816" dirty="0">
                <a:solidFill>
                  <a:prstClr val="white"/>
                </a:solidFill>
                <a:latin typeface="Segoe UI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60760532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with image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62734" y="162705"/>
            <a:ext cx="11878055" cy="65311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5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place image (or select frame and copy/paste image into it)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9665" y="2188113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2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10317" y="2855222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3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10971" y="3522599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baseline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4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9013" y="1526790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1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663052" y="6711425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5823661"/>
            <a:ext cx="445939" cy="359168"/>
          </a:xfrm>
          <a:prstGeom prst="rect">
            <a:avLst/>
          </a:prstGeom>
        </p:spPr>
      </p:pic>
      <p:pic>
        <p:nvPicPr>
          <p:cNvPr id="16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003245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ABE4403-49FB-4592-87D4-5C34EF076590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A36F028F-F74F-45CD-AAC2-E9C4AF2ACE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971" y="332733"/>
            <a:ext cx="645012" cy="1107996"/>
          </a:xfrm>
          <a:prstGeom prst="rect">
            <a:avLst/>
          </a:prstGeom>
          <a:noFill/>
        </p:spPr>
        <p:txBody>
          <a:bodyPr vert="horz" wrap="none" lIns="72000" tIns="0" rIns="72000" bIns="0" rtlCol="0" anchor="ctr"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7253" b="1" baseline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>
              <a:spcBef>
                <a:spcPct val="0"/>
              </a:spcBef>
              <a:buNone/>
            </a:pPr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2981CD3-C6C6-46FF-A7B8-C571027C1942}"/>
              </a:ext>
            </a:extLst>
          </p:cNvPr>
          <p:cNvSpPr/>
          <p:nvPr userDrawn="1"/>
        </p:nvSpPr>
        <p:spPr bwMode="gray">
          <a:xfrm>
            <a:off x="9887943" y="279966"/>
            <a:ext cx="1535288" cy="20978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96000" rIns="48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r>
              <a:rPr lang="nb-NO" sz="1333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orske Spisefakta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1DFA7C0-BFF8-4D74-9C80-A35A5BA906C4}"/>
              </a:ext>
            </a:extLst>
          </p:cNvPr>
          <p:cNvSpPr/>
          <p:nvPr userDrawn="1"/>
        </p:nvSpPr>
        <p:spPr bwMode="gray">
          <a:xfrm>
            <a:off x="11416223" y="284564"/>
            <a:ext cx="496532" cy="20518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96000" rIns="48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r>
              <a:rPr lang="nb-NO" sz="1333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3965800842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ly - v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162735" y="162703"/>
            <a:ext cx="11884699" cy="326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32" tIns="75116" rIns="150232" bIns="751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489866" y="4965178"/>
            <a:ext cx="11213925" cy="903565"/>
          </a:xfrm>
          <a:prstGeom prst="rect">
            <a:avLst/>
          </a:prstGeom>
        </p:spPr>
        <p:txBody>
          <a:bodyPr wrap="square" lIns="82819" tIns="41410" rIns="82819" bIns="41410">
            <a:normAutofit/>
          </a:bodyPr>
          <a:lstStyle>
            <a:lvl1pPr marL="0" indent="0">
              <a:spcBef>
                <a:spcPts val="1252"/>
              </a:spcBef>
              <a:buNone/>
              <a:defRPr sz="1723">
                <a:solidFill>
                  <a:schemeClr val="tx1"/>
                </a:solidFill>
              </a:defRPr>
            </a:lvl1pPr>
            <a:lvl2pPr marL="476947" indent="0">
              <a:buNone/>
              <a:defRPr>
                <a:solidFill>
                  <a:schemeClr val="bg1"/>
                </a:solidFill>
              </a:defRPr>
            </a:lvl2pPr>
            <a:lvl3pPr marL="953891" indent="0">
              <a:buNone/>
              <a:defRPr>
                <a:solidFill>
                  <a:schemeClr val="bg1"/>
                </a:solidFill>
              </a:defRPr>
            </a:lvl3pPr>
            <a:lvl4pPr marL="1430836" indent="0">
              <a:buNone/>
              <a:defRPr>
                <a:solidFill>
                  <a:schemeClr val="bg1"/>
                </a:solidFill>
              </a:defRPr>
            </a:lvl4pPr>
            <a:lvl5pPr marL="19077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162736" y="162704"/>
            <a:ext cx="11865093" cy="31846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51" baseline="0"/>
            </a:lvl1pPr>
          </a:lstStyle>
          <a:p>
            <a:r>
              <a:rPr lang="en-GB" dirty="0"/>
              <a:t>Picture placeholder – insert image here</a:t>
            </a:r>
          </a:p>
        </p:txBody>
      </p:sp>
      <p:sp>
        <p:nvSpPr>
          <p:cNvPr id="11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89865" y="3733914"/>
            <a:ext cx="3899496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>
              <a:buFontTx/>
              <a:buNone/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9866" y="4357071"/>
            <a:ext cx="3150790" cy="3908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0" bIns="0" rtlCol="0">
            <a:spAutoFit/>
          </a:bodyPr>
          <a:lstStyle>
            <a:lvl1pPr>
              <a:defRPr lang="en-US" sz="254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3347371"/>
            <a:ext cx="12105683" cy="163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663052" y="6711425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5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7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F15EC50-97F2-40D0-AAB0-47F3ECBC0B4E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257058927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8270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93077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ly 2 - Image Left">
    <p:bg>
      <p:bgPr>
        <a:blipFill dpi="0" rotWithShape="1">
          <a:blip r:embed="rId2">
            <a:lum/>
          </a:blip>
          <a:srcRect/>
          <a:stretch>
            <a:fillRect t="-19000" b="-1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164402" y="162704"/>
            <a:ext cx="5855501" cy="652902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540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017314" y="98159"/>
            <a:ext cx="163289" cy="6603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464383" y="1595149"/>
            <a:ext cx="5198669" cy="369332"/>
          </a:xfrm>
          <a:prstGeom prst="rect">
            <a:avLst/>
          </a:prstGeom>
          <a:noFill/>
        </p:spPr>
        <p:txBody>
          <a:bodyPr wrap="square" lIns="82819" tIns="0" rIns="82819" bIns="0" rtlCol="0" anchor="ctr">
            <a:normAutofit/>
          </a:bodyPr>
          <a:lstStyle>
            <a:lvl1pPr algn="ctr">
              <a:defRPr lang="en-GB" sz="2400" b="1" baseline="0" dirty="0">
                <a:solidFill>
                  <a:srgbClr val="000000"/>
                </a:solidFill>
              </a:defRPr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Fly style 2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464753" y="3559622"/>
            <a:ext cx="5227612" cy="288272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1813">
                <a:solidFill>
                  <a:schemeClr val="tx1"/>
                </a:solidFill>
              </a:defRPr>
            </a:lvl1pPr>
            <a:lvl2pPr marL="476831" indent="0">
              <a:buNone/>
              <a:defRPr sz="1813">
                <a:solidFill>
                  <a:schemeClr val="bg1"/>
                </a:solidFill>
              </a:defRPr>
            </a:lvl2pPr>
            <a:lvl3pPr marL="953661" indent="0">
              <a:buNone/>
              <a:defRPr sz="1632">
                <a:solidFill>
                  <a:schemeClr val="bg1"/>
                </a:solidFill>
              </a:defRPr>
            </a:lvl3pPr>
            <a:lvl4pPr marL="1430492" indent="0">
              <a:buNone/>
              <a:defRPr sz="1632">
                <a:solidFill>
                  <a:schemeClr val="bg1"/>
                </a:solidFill>
              </a:defRPr>
            </a:lvl4pPr>
            <a:lvl5pPr marL="1907322" indent="0">
              <a:buNone/>
              <a:defRPr sz="163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20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B5126A-DDD3-4AAD-9E87-6FB85D1DB341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1415148069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olour fill - Title, Full Pag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9865" y="489745"/>
            <a:ext cx="3950952" cy="502531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algn="l">
              <a:defRPr b="0"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514035" y="1578090"/>
            <a:ext cx="11163933" cy="428354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663052" y="6711425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3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7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113F409-AE59-458C-9DB5-51F78B52307C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2046681713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ur fill - Title+Sub, Full Pag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9865" y="489745"/>
            <a:ext cx="3950952" cy="502531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algn="l">
              <a:defRPr b="0">
                <a:latin typeface="+mj-lt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489866" y="1926857"/>
            <a:ext cx="11163933" cy="4097471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362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663052" y="6711425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3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7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D063399-E4F3-4019-8737-B73A8AE1FBE7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3211924733"/>
      </p:ext>
    </p:extLst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ly/Statement - 1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6178087" y="162706"/>
            <a:ext cx="5855501" cy="65393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540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5117" y="2254831"/>
            <a:ext cx="2318870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algn="l">
              <a:defRPr lang="en-GB" b="0" baseline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Fly style 1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017314" y="98159"/>
            <a:ext cx="163289" cy="6603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05115" y="2906521"/>
            <a:ext cx="3150790" cy="3908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0" bIns="0" rtlCol="0">
            <a:spAutoFit/>
          </a:bodyPr>
          <a:lstStyle>
            <a:lvl1pPr>
              <a:defRPr lang="en-US" sz="254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05486" y="3559622"/>
            <a:ext cx="5227612" cy="189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13">
                <a:solidFill>
                  <a:schemeClr val="bg1"/>
                </a:solidFill>
              </a:defRPr>
            </a:lvl1pPr>
            <a:lvl2pPr marL="476831" indent="0">
              <a:buNone/>
              <a:defRPr sz="1813">
                <a:solidFill>
                  <a:schemeClr val="bg1"/>
                </a:solidFill>
              </a:defRPr>
            </a:lvl2pPr>
            <a:lvl3pPr marL="953661" indent="0">
              <a:buNone/>
              <a:defRPr sz="1632">
                <a:solidFill>
                  <a:schemeClr val="bg1"/>
                </a:solidFill>
              </a:defRPr>
            </a:lvl3pPr>
            <a:lvl4pPr marL="1430492" indent="0">
              <a:buNone/>
              <a:defRPr sz="1632">
                <a:solidFill>
                  <a:schemeClr val="bg1"/>
                </a:solidFill>
              </a:defRPr>
            </a:lvl4pPr>
            <a:lvl5pPr marL="1907322" indent="0">
              <a:buNone/>
              <a:defRPr sz="163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7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B3818DB-FC2F-41E4-BA23-B6D121C90B5F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2892089543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Full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489866" y="1577261"/>
            <a:ext cx="11163933" cy="444706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>
            <a:lvl1pPr algn="l">
              <a:defRPr b="0"/>
            </a:lvl1pPr>
          </a:lstStyle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2114829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Full Page Content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14039" y="706100"/>
            <a:ext cx="2875871" cy="502531"/>
          </a:xfrm>
          <a:prstGeom prst="rect">
            <a:avLst/>
          </a:prstGeom>
          <a:noFill/>
        </p:spPr>
        <p:txBody>
          <a:bodyPr/>
          <a:lstStyle>
            <a:lvl1pPr algn="l">
              <a:defRPr b="0"/>
            </a:lvl1pPr>
          </a:lstStyle>
          <a:p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89866" y="1579294"/>
            <a:ext cx="11163933" cy="428233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6631256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Full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9866" y="2027853"/>
            <a:ext cx="11163933" cy="38337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0016381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9865" y="2027853"/>
            <a:ext cx="6847264" cy="38337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7533098" y="2027308"/>
            <a:ext cx="4180785" cy="3834317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3466037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Full, Base, Source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489866" y="1998597"/>
            <a:ext cx="11163933" cy="338972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14038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0629674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xContent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9865" y="1577263"/>
            <a:ext cx="7306875" cy="44470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8229963" y="1577263"/>
            <a:ext cx="3448004" cy="44470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497026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3126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07804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xContent v1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89865" y="1577257"/>
            <a:ext cx="7306875" cy="394168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8229963" y="1577257"/>
            <a:ext cx="3448004" cy="394168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9866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5055210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xContent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89865" y="2084858"/>
            <a:ext cx="7306875" cy="34340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29963" y="2084858"/>
            <a:ext cx="3448004" cy="34340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9367396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xContent v1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89865" y="2027855"/>
            <a:ext cx="7306875" cy="34910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8229963" y="2027855"/>
            <a:ext cx="3448004" cy="34910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89866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8253928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x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489866" y="1599675"/>
            <a:ext cx="5379249" cy="39192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6295098" y="1599675"/>
            <a:ext cx="5382869" cy="39192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9874421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xContent v2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89866" y="1599672"/>
            <a:ext cx="5379249" cy="391926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295098" y="1599672"/>
            <a:ext cx="5382869" cy="391926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9866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7017524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x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89866" y="2027853"/>
            <a:ext cx="5379249" cy="3491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295098" y="2027853"/>
            <a:ext cx="5382869" cy="3491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0182629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xContent v2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84279" y="2029223"/>
            <a:ext cx="5379249" cy="348971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6265342" y="2029223"/>
            <a:ext cx="5382869" cy="348971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4279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84279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4279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568303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xContent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9866" y="1599677"/>
            <a:ext cx="3448005" cy="391926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4371094" y="1599677"/>
            <a:ext cx="7306873" cy="39192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6378989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xContent v3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89866" y="1600202"/>
            <a:ext cx="3448005" cy="391874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544"/>
              </a:spcBef>
              <a:defRPr/>
            </a:lvl1pPr>
            <a:lvl2pPr>
              <a:lnSpc>
                <a:spcPct val="110000"/>
              </a:lnSpc>
              <a:spcBef>
                <a:spcPts val="544"/>
              </a:spcBef>
              <a:defRPr/>
            </a:lvl2pPr>
            <a:lvl3pPr>
              <a:lnSpc>
                <a:spcPct val="110000"/>
              </a:lnSpc>
              <a:spcBef>
                <a:spcPts val="544"/>
              </a:spcBef>
              <a:defRPr/>
            </a:lvl3pPr>
            <a:lvl4pPr>
              <a:lnSpc>
                <a:spcPct val="110000"/>
              </a:lnSpc>
              <a:spcBef>
                <a:spcPts val="544"/>
              </a:spcBef>
              <a:defRPr/>
            </a:lvl4pPr>
            <a:lvl5pPr>
              <a:lnSpc>
                <a:spcPct val="110000"/>
              </a:lnSpc>
              <a:spcBef>
                <a:spcPts val="544"/>
              </a:spcBef>
              <a:defRPr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4371101" y="1600202"/>
            <a:ext cx="7306876" cy="391874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544"/>
              </a:spcBef>
              <a:defRPr/>
            </a:lvl1pPr>
            <a:lvl2pPr>
              <a:lnSpc>
                <a:spcPct val="110000"/>
              </a:lnSpc>
              <a:spcBef>
                <a:spcPts val="544"/>
              </a:spcBef>
              <a:defRPr/>
            </a:lvl2pPr>
            <a:lvl3pPr>
              <a:lnSpc>
                <a:spcPct val="110000"/>
              </a:lnSpc>
              <a:spcBef>
                <a:spcPts val="544"/>
              </a:spcBef>
              <a:defRPr/>
            </a:lvl3pPr>
            <a:lvl4pPr>
              <a:lnSpc>
                <a:spcPct val="110000"/>
              </a:lnSpc>
              <a:spcBef>
                <a:spcPts val="544"/>
              </a:spcBef>
              <a:defRPr/>
            </a:lvl4pPr>
            <a:lvl5pPr>
              <a:lnSpc>
                <a:spcPct val="110000"/>
              </a:lnSpc>
              <a:spcBef>
                <a:spcPts val="544"/>
              </a:spcBef>
              <a:defRPr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89866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8839888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xContent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89866" y="2027853"/>
            <a:ext cx="3448005" cy="3491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371094" y="2027853"/>
            <a:ext cx="7306873" cy="3491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318516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0546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4786" y="1357678"/>
            <a:ext cx="2090814" cy="353943"/>
          </a:xfrm>
          <a:prstGeom prst="rect">
            <a:avLst/>
          </a:prstGeom>
          <a:noFill/>
        </p:spPr>
        <p:txBody>
          <a:bodyPr wrap="squar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008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8644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84379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xContent v3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89866" y="2027855"/>
            <a:ext cx="3448005" cy="34910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4371094" y="2027855"/>
            <a:ext cx="7306873" cy="34910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14038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8137927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x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489866" y="1599677"/>
            <a:ext cx="3448005" cy="391926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371095" y="1599677"/>
            <a:ext cx="3449815" cy="391926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8229963" y="1599677"/>
            <a:ext cx="3448004" cy="391926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6967882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xContent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4" hasCustomPrompt="1"/>
          </p:nvPr>
        </p:nvSpPr>
        <p:spPr>
          <a:xfrm>
            <a:off x="489866" y="1599672"/>
            <a:ext cx="3448005" cy="391926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4371095" y="1599672"/>
            <a:ext cx="3449815" cy="3919269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6" hasCustomPrompt="1"/>
          </p:nvPr>
        </p:nvSpPr>
        <p:spPr>
          <a:xfrm>
            <a:off x="8229963" y="1599672"/>
            <a:ext cx="3448004" cy="3919269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89866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6896406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x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489866" y="2027861"/>
            <a:ext cx="3448005" cy="349108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371095" y="2027861"/>
            <a:ext cx="3449815" cy="349108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8229963" y="2027861"/>
            <a:ext cx="3448004" cy="349108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8056913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xContent v3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6" hasCustomPrompt="1"/>
          </p:nvPr>
        </p:nvSpPr>
        <p:spPr>
          <a:xfrm>
            <a:off x="489866" y="2027855"/>
            <a:ext cx="3448005" cy="34910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4371095" y="2027855"/>
            <a:ext cx="3449815" cy="34910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8" hasCustomPrompt="1"/>
          </p:nvPr>
        </p:nvSpPr>
        <p:spPr>
          <a:xfrm>
            <a:off x="8229963" y="2027855"/>
            <a:ext cx="3448004" cy="34910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521974"/>
            <a:ext cx="2308884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14038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7188754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2859504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4038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614340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6891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9400073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Only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6891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14038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8162765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343269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8972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04544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- Fly 3 - Tri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6106863" y="72018"/>
            <a:ext cx="5982395" cy="66522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89865" y="2382099"/>
            <a:ext cx="2318870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marL="518174" indent="-518174">
              <a:buFontTx/>
              <a:buNone/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Fly Style 3</a:t>
            </a:r>
            <a:endParaRPr lang="en-GB" dirty="0"/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9867" y="3591619"/>
            <a:ext cx="5206843" cy="2432709"/>
          </a:xfrm>
          <a:prstGeom prst="rect">
            <a:avLst/>
          </a:prstGeom>
        </p:spPr>
        <p:txBody>
          <a:bodyPr wrap="square" lIns="82819" tIns="41410" rIns="82819" bIns="41410">
            <a:normAutofit/>
          </a:bodyPr>
          <a:lstStyle>
            <a:lvl1pPr marL="0" indent="0">
              <a:spcBef>
                <a:spcPts val="1252"/>
              </a:spcBef>
              <a:buNone/>
              <a:defRPr sz="1723">
                <a:solidFill>
                  <a:schemeClr val="tx1"/>
                </a:solidFill>
              </a:defRPr>
            </a:lvl1pPr>
            <a:lvl2pPr marL="476831" indent="0">
              <a:buNone/>
              <a:defRPr>
                <a:solidFill>
                  <a:schemeClr val="bg1"/>
                </a:solidFill>
              </a:defRPr>
            </a:lvl2pPr>
            <a:lvl3pPr marL="953660" indent="0">
              <a:buNone/>
              <a:defRPr>
                <a:solidFill>
                  <a:schemeClr val="bg1"/>
                </a:solidFill>
              </a:defRPr>
            </a:lvl3pPr>
            <a:lvl4pPr marL="1430490" indent="0">
              <a:buNone/>
              <a:defRPr>
                <a:solidFill>
                  <a:schemeClr val="bg1"/>
                </a:solidFill>
              </a:defRPr>
            </a:lvl4pPr>
            <a:lvl5pPr marL="190732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8190438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76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10196278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76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184602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76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6014453" y="144449"/>
            <a:ext cx="4174963" cy="6631483"/>
            <a:chOff x="6629995" y="159259"/>
            <a:chExt cx="4602244" cy="7209945"/>
          </a:xfrm>
          <a:solidFill>
            <a:schemeClr val="bg1"/>
          </a:solidFill>
        </p:grpSpPr>
        <p:sp>
          <p:nvSpPr>
            <p:cNvPr id="4" name="Rectangle 3"/>
            <p:cNvSpPr/>
            <p:nvPr userDrawn="1"/>
          </p:nvSpPr>
          <p:spPr bwMode="gray">
            <a:xfrm>
              <a:off x="6629995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endParaRPr lang="en-GB" sz="2903" dirty="0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  <p:sp>
          <p:nvSpPr>
            <p:cNvPr id="29" name="Rectangle 28"/>
            <p:cNvSpPr/>
            <p:nvPr userDrawn="1"/>
          </p:nvSpPr>
          <p:spPr bwMode="gray">
            <a:xfrm>
              <a:off x="11052239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endParaRPr lang="en-GB" sz="2903" dirty="0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gray">
            <a:xfrm>
              <a:off x="8841117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endParaRPr lang="en-GB" sz="2903" dirty="0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</p:grp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9865" y="3005256"/>
            <a:ext cx="3146075" cy="390811"/>
          </a:xfrm>
          <a:prstGeom prst="rect">
            <a:avLst/>
          </a:prstGeom>
          <a:solidFill>
            <a:schemeClr val="tx1"/>
          </a:solidFill>
        </p:spPr>
        <p:txBody>
          <a:bodyPr wrap="none" lIns="72000" t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None/>
              <a:defRPr sz="2540" b="1">
                <a:solidFill>
                  <a:schemeClr val="bg1"/>
                </a:solidFill>
                <a:latin typeface="+mj-lt"/>
              </a:defRPr>
            </a:lvl1pPr>
            <a:lvl2pPr marL="476831" indent="0">
              <a:buNone/>
              <a:defRPr/>
            </a:lvl2pPr>
            <a:lvl3pPr marL="953661" indent="0">
              <a:buNone/>
              <a:defRPr/>
            </a:lvl3pPr>
            <a:lvl4pPr marL="1430492" indent="0">
              <a:buNone/>
              <a:defRPr/>
            </a:lvl4pPr>
            <a:lvl5pPr marL="1907322" indent="0"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26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6B6433C-2538-4B62-B8B6-EECE75FBB76F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3766887829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ly 4 - Double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6106863" y="72018"/>
            <a:ext cx="5982395" cy="66522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05119" y="3591619"/>
            <a:ext cx="5332263" cy="243270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1252"/>
              </a:spcBef>
              <a:buNone/>
              <a:defRPr sz="1723">
                <a:solidFill>
                  <a:schemeClr val="tx1"/>
                </a:solidFill>
              </a:defRPr>
            </a:lvl1pPr>
            <a:lvl2pPr marL="476831" indent="0">
              <a:buNone/>
              <a:defRPr>
                <a:solidFill>
                  <a:schemeClr val="bg1"/>
                </a:solidFill>
              </a:defRPr>
            </a:lvl2pPr>
            <a:lvl3pPr marL="953660" indent="0">
              <a:buNone/>
              <a:defRPr>
                <a:solidFill>
                  <a:schemeClr val="bg1"/>
                </a:solidFill>
              </a:defRPr>
            </a:lvl3pPr>
            <a:lvl4pPr marL="1430490" indent="0">
              <a:buNone/>
              <a:defRPr>
                <a:solidFill>
                  <a:schemeClr val="bg1"/>
                </a:solidFill>
              </a:defRPr>
            </a:lvl4pPr>
            <a:lvl5pPr marL="190732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014358" y="146223"/>
            <a:ext cx="163289" cy="65393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77646" y="3506756"/>
            <a:ext cx="5845959" cy="31849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540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35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77646" y="163472"/>
            <a:ext cx="5845959" cy="32020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540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6132110" y="3347371"/>
            <a:ext cx="5957145" cy="163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1931" tIns="95965" rIns="191931" bIns="95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endParaRPr lang="en-GB" sz="2631" dirty="0">
              <a:solidFill>
                <a:schemeClr val="bg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5117" y="2382099"/>
            <a:ext cx="2318870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marL="518174" indent="-518174">
              <a:buFontTx/>
              <a:buNone/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Fly style 4</a:t>
            </a:r>
            <a:endParaRPr lang="en-GB" dirty="0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05115" y="3005257"/>
            <a:ext cx="3150790" cy="3908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0" bIns="0" rtlCol="0">
            <a:spAutoFit/>
          </a:bodyPr>
          <a:lstStyle>
            <a:lvl1pPr>
              <a:buFontTx/>
              <a:buNone/>
              <a:defRPr lang="en-US" sz="254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22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57DE88E-7779-4419-8009-5499F1CE8D40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235340178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 with image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62735" y="162706"/>
            <a:ext cx="11878055" cy="223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5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place image (or select frame and copy/paste image into it)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9667" y="2188114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89" b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2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10317" y="2855223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89" b="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3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10972" y="3522601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89" b="0" baseline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4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9013" y="1526791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89" b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1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9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71C186B-D1CE-4E88-9E39-92AFDF845135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3816649263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with colour fi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9667" y="2188114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518174" indent="-518174" algn="l">
              <a:lnSpc>
                <a:spcPct val="100000"/>
              </a:lnSpc>
              <a:buFont typeface="Wingdings" panose="05000000000000000000" pitchFamily="2" charset="2"/>
              <a:buChar char="§"/>
              <a:defRPr lang="en-US" sz="3989" b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2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10317" y="2855223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518174" indent="-518174" algn="l">
              <a:lnSpc>
                <a:spcPct val="100000"/>
              </a:lnSpc>
              <a:buFont typeface="Wingdings" panose="05000000000000000000" pitchFamily="2" charset="2"/>
              <a:buChar char="§"/>
              <a:defRPr lang="en-US" sz="3989" b="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3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10972" y="3522601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518174" indent="-518174" algn="l">
              <a:lnSpc>
                <a:spcPct val="100000"/>
              </a:lnSpc>
              <a:buFont typeface="Wingdings" panose="05000000000000000000" pitchFamily="2" charset="2"/>
              <a:buChar char="§"/>
              <a:defRPr lang="en-US" sz="3989" b="0" baseline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4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9013" y="1526791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518174" indent="-518174" algn="l">
              <a:lnSpc>
                <a:spcPct val="100000"/>
              </a:lnSpc>
              <a:buFont typeface="Wingdings" panose="05000000000000000000" pitchFamily="2" charset="2"/>
              <a:buChar char="§"/>
              <a:defRPr lang="en-US" sz="3989" b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1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6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D414F06-85B7-4AE7-801B-823B321A5340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2846278785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lour fill - Title+Sub, Full Pag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9865" y="476921"/>
            <a:ext cx="3950952" cy="502531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algn="l">
              <a:defRPr b="0">
                <a:latin typeface="+mj-lt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489866" y="1926858"/>
            <a:ext cx="11163933" cy="179994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362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4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20BAA32-D026-4EC9-9845-65232D5A726B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3401015512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Full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489866" y="1577262"/>
            <a:ext cx="11163933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>
            <a:lvl1pPr algn="l">
              <a:defRPr b="0"/>
            </a:lvl1pPr>
          </a:lstStyle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531571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Full Page Content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14039" y="693276"/>
            <a:ext cx="2875871" cy="502531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algn="l">
              <a:defRPr b="0"/>
            </a:lvl1pPr>
          </a:lstStyle>
          <a:p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89866" y="1579295"/>
            <a:ext cx="11163933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6024327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89867" y="6024327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</p:spTree>
    <p:extLst>
      <p:ext uri="{BB962C8B-B14F-4D97-AF65-F5344CB8AC3E}">
        <p14:creationId xmlns:p14="http://schemas.microsoft.com/office/powerpoint/2010/main" val="4115209900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9865" y="2027854"/>
            <a:ext cx="6847264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7533100" y="2027308"/>
            <a:ext cx="4180785" cy="25112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3523607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Full, Base, Source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489866" y="1998598"/>
            <a:ext cx="11163933" cy="12555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14039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7147768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Long title &amp; Question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371094" y="1985430"/>
            <a:ext cx="7306873" cy="359882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540"/>
            </a:lvl1pPr>
            <a:lvl2pPr>
              <a:defRPr sz="2176"/>
            </a:lvl2pPr>
            <a:lvl3pPr>
              <a:defRPr sz="1904"/>
            </a:lvl3pPr>
            <a:lvl4pPr>
              <a:defRPr sz="1723"/>
            </a:lvl4pPr>
            <a:lvl5pPr>
              <a:defRPr sz="1723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514034" y="2368503"/>
            <a:ext cx="3448005" cy="32431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904" b="1"/>
            </a:lvl1pPr>
          </a:lstStyle>
          <a:p>
            <a:pPr lvl="0"/>
            <a:r>
              <a:rPr lang="en-US" dirty="0"/>
              <a:t>Question text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99142" y="1985434"/>
            <a:ext cx="670903" cy="326517"/>
          </a:xfrm>
          <a:prstGeom prst="rect">
            <a:avLst/>
          </a:prstGeom>
          <a:solidFill>
            <a:schemeClr val="accent3"/>
          </a:solidFill>
        </p:spPr>
        <p:txBody>
          <a:bodyPr lIns="36000" tIns="0" rIns="36000" bIns="0">
            <a:noAutofit/>
          </a:bodyPr>
          <a:lstStyle>
            <a:lvl1pPr marL="0" indent="0" algn="l">
              <a:buNone/>
              <a:defRPr sz="217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#</a:t>
            </a:r>
            <a:endParaRPr lang="en-GB" dirty="0"/>
          </a:p>
        </p:txBody>
      </p:sp>
      <p:sp>
        <p:nvSpPr>
          <p:cNvPr id="18" name="Title 17"/>
          <p:cNvSpPr>
            <a:spLocks noGrp="1"/>
          </p:cNvSpPr>
          <p:nvPr>
            <p:ph type="title" hasCustomPrompt="1"/>
          </p:nvPr>
        </p:nvSpPr>
        <p:spPr>
          <a:xfrm>
            <a:off x="507693" y="620645"/>
            <a:ext cx="11238268" cy="1175592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>
            <a:lvl1pPr marL="0" algn="l" defTabSz="953660" rtl="0" eaLnBrk="1" latinLnBrk="0" hangingPunct="1">
              <a:lnSpc>
                <a:spcPct val="120000"/>
              </a:lnSpc>
              <a:spcAft>
                <a:spcPts val="1044"/>
              </a:spcAft>
              <a:defRPr lang="en-GB" sz="2540" b="1" kern="1200" baseline="0" dirty="0">
                <a:solidFill>
                  <a:srgbClr val="FFFFFF"/>
                </a:solidFill>
                <a:highlight>
                  <a:srgbClr val="808080"/>
                </a:highlight>
                <a:latin typeface="+mn-lt"/>
                <a:ea typeface="Calibri"/>
                <a:cs typeface="Times New Roman"/>
              </a:defRPr>
            </a:lvl1pPr>
          </a:lstStyle>
          <a:p>
            <a:r>
              <a:rPr lang="en-US" dirty="0"/>
              <a:t>Long titles Click to edit Master title allows for 3 lines</a:t>
            </a:r>
            <a:br>
              <a:rPr lang="en-US" dirty="0"/>
            </a:br>
            <a:endParaRPr lang="en-GB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4039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</p:spTree>
    <p:extLst>
      <p:ext uri="{BB962C8B-B14F-4D97-AF65-F5344CB8AC3E}">
        <p14:creationId xmlns:p14="http://schemas.microsoft.com/office/powerpoint/2010/main" val="415315501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7058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7146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xContent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9865" y="1577265"/>
            <a:ext cx="7306875" cy="12555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8229963" y="1577265"/>
            <a:ext cx="3448004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8" y="476921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8894967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xContent v1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89865" y="1577258"/>
            <a:ext cx="730687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8229963" y="1577258"/>
            <a:ext cx="3448004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9867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7450345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xContent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89865" y="2084859"/>
            <a:ext cx="730687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29963" y="2084859"/>
            <a:ext cx="3448004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7848600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xContent v1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89865" y="2027857"/>
            <a:ext cx="730687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8229963" y="2027857"/>
            <a:ext cx="3448004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89867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4283616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x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489868" y="1599677"/>
            <a:ext cx="5379249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6295098" y="1599677"/>
            <a:ext cx="5382869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6943316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xContent v2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89868" y="1599674"/>
            <a:ext cx="5379249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295098" y="1599674"/>
            <a:ext cx="5382869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9867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4830466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x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89868" y="2027855"/>
            <a:ext cx="5379249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295098" y="2027855"/>
            <a:ext cx="5382869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8114075"/>
      </p:ext>
    </p:extLst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xContent v2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84279" y="2029225"/>
            <a:ext cx="5379249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6265342" y="2029225"/>
            <a:ext cx="5382869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4280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84281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4279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1558770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xContent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9866" y="1599679"/>
            <a:ext cx="344800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4371094" y="1599679"/>
            <a:ext cx="7306873" cy="12555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8" y="476921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4864636"/>
      </p:ext>
    </p:extLst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xContent v3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89866" y="1600203"/>
            <a:ext cx="3448005" cy="1660364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544"/>
              </a:spcBef>
              <a:defRPr/>
            </a:lvl1pPr>
            <a:lvl2pPr>
              <a:lnSpc>
                <a:spcPct val="110000"/>
              </a:lnSpc>
              <a:spcBef>
                <a:spcPts val="544"/>
              </a:spcBef>
              <a:defRPr/>
            </a:lvl2pPr>
            <a:lvl3pPr>
              <a:lnSpc>
                <a:spcPct val="110000"/>
              </a:lnSpc>
              <a:spcBef>
                <a:spcPts val="544"/>
              </a:spcBef>
              <a:defRPr/>
            </a:lvl3pPr>
            <a:lvl4pPr>
              <a:lnSpc>
                <a:spcPct val="110000"/>
              </a:lnSpc>
              <a:spcBef>
                <a:spcPts val="544"/>
              </a:spcBef>
              <a:defRPr/>
            </a:lvl4pPr>
            <a:lvl5pPr>
              <a:lnSpc>
                <a:spcPct val="110000"/>
              </a:lnSpc>
              <a:spcBef>
                <a:spcPts val="544"/>
              </a:spcBef>
              <a:defRPr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4371102" y="1600203"/>
            <a:ext cx="7306876" cy="1660364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544"/>
              </a:spcBef>
              <a:defRPr/>
            </a:lvl1pPr>
            <a:lvl2pPr>
              <a:lnSpc>
                <a:spcPct val="110000"/>
              </a:lnSpc>
              <a:spcBef>
                <a:spcPts val="544"/>
              </a:spcBef>
              <a:defRPr/>
            </a:lvl2pPr>
            <a:lvl3pPr>
              <a:lnSpc>
                <a:spcPct val="110000"/>
              </a:lnSpc>
              <a:spcBef>
                <a:spcPts val="544"/>
              </a:spcBef>
              <a:defRPr/>
            </a:lvl3pPr>
            <a:lvl4pPr>
              <a:lnSpc>
                <a:spcPct val="110000"/>
              </a:lnSpc>
              <a:spcBef>
                <a:spcPts val="544"/>
              </a:spcBef>
              <a:defRPr/>
            </a:lvl4pPr>
            <a:lvl5pPr>
              <a:lnSpc>
                <a:spcPct val="110000"/>
              </a:lnSpc>
              <a:spcBef>
                <a:spcPts val="544"/>
              </a:spcBef>
              <a:defRPr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89867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847225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8224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97146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xContent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89866" y="2027855"/>
            <a:ext cx="344800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371094" y="2027855"/>
            <a:ext cx="7306873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4075856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xContent v3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89866" y="2027857"/>
            <a:ext cx="344800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4371094" y="2027857"/>
            <a:ext cx="7306873" cy="12555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14039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451468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3x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489866" y="1599679"/>
            <a:ext cx="344800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371095" y="1599679"/>
            <a:ext cx="344981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8229963" y="1599679"/>
            <a:ext cx="3448004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0446537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3xContent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4" hasCustomPrompt="1"/>
          </p:nvPr>
        </p:nvSpPr>
        <p:spPr>
          <a:xfrm>
            <a:off x="489866" y="1599674"/>
            <a:ext cx="344800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4371095" y="1599674"/>
            <a:ext cx="3449815" cy="125559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6" hasCustomPrompt="1"/>
          </p:nvPr>
        </p:nvSpPr>
        <p:spPr>
          <a:xfrm>
            <a:off x="8229963" y="1599674"/>
            <a:ext cx="3448004" cy="125559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89867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1512653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3x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489866" y="2027862"/>
            <a:ext cx="344800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371095" y="2027862"/>
            <a:ext cx="344981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8229963" y="2027862"/>
            <a:ext cx="3448004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6778741"/>
      </p:ext>
    </p:extLst>
  </p:cSld>
  <p:clrMapOvr>
    <a:masterClrMapping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3xContent v3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6" hasCustomPrompt="1"/>
          </p:nvPr>
        </p:nvSpPr>
        <p:spPr>
          <a:xfrm>
            <a:off x="489866" y="2027857"/>
            <a:ext cx="344800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4371095" y="2027857"/>
            <a:ext cx="344981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8" hasCustomPrompt="1"/>
          </p:nvPr>
        </p:nvSpPr>
        <p:spPr>
          <a:xfrm>
            <a:off x="8229963" y="2027857"/>
            <a:ext cx="3448004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521974"/>
            <a:ext cx="2308884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14039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9386363"/>
      </p:ext>
    </p:extLst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8" y="476921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5111893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4039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8" y="476921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1081639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6891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8" y="476921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1258269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Only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6891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14039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8" y="476921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150416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63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54425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4039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</p:spTree>
    <p:extLst>
      <p:ext uri="{BB962C8B-B14F-4D97-AF65-F5344CB8AC3E}">
        <p14:creationId xmlns:p14="http://schemas.microsoft.com/office/powerpoint/2010/main" val="307240473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picture left - content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164402" y="162706"/>
            <a:ext cx="5855501" cy="653935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51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017314" y="98159"/>
            <a:ext cx="163289" cy="6603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2"/>
          </p:nvPr>
        </p:nvSpPr>
        <p:spPr>
          <a:xfrm>
            <a:off x="6425932" y="2235381"/>
            <a:ext cx="5418461" cy="3610113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2176">
                <a:solidFill>
                  <a:schemeClr val="tx1"/>
                </a:solidFill>
              </a:defRPr>
            </a:lvl1pPr>
            <a:lvl2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813">
                <a:solidFill>
                  <a:schemeClr val="tx1"/>
                </a:solidFill>
              </a:defRPr>
            </a:lvl2pPr>
            <a:lvl3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tx1"/>
                </a:solidFill>
              </a:defRPr>
            </a:lvl3pPr>
            <a:lvl4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tx1"/>
                </a:solidFill>
              </a:defRPr>
            </a:lvl4pPr>
            <a:lvl5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456564" y="866364"/>
            <a:ext cx="3899496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algn="l"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456564" y="1532598"/>
            <a:ext cx="2778050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20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5547269-4871-409B-B6EE-BA59347CFACA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3938689996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picture right - content le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6178087" y="162706"/>
            <a:ext cx="5855501" cy="653935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32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017314" y="98159"/>
            <a:ext cx="163289" cy="6603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2"/>
          </p:nvPr>
        </p:nvSpPr>
        <p:spPr>
          <a:xfrm>
            <a:off x="489866" y="2235381"/>
            <a:ext cx="5418461" cy="3610113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2176">
                <a:solidFill>
                  <a:schemeClr val="tx1"/>
                </a:solidFill>
              </a:defRPr>
            </a:lvl1pPr>
            <a:lvl2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813">
                <a:solidFill>
                  <a:schemeClr val="tx1"/>
                </a:solidFill>
              </a:defRPr>
            </a:lvl2pPr>
            <a:lvl3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tx1"/>
                </a:solidFill>
              </a:defRPr>
            </a:lvl3pPr>
            <a:lvl4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tx1"/>
                </a:solidFill>
              </a:defRPr>
            </a:lvl4pPr>
            <a:lvl5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89865" y="855306"/>
            <a:ext cx="3899496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marL="518174" indent="-518174">
              <a:buFontTx/>
              <a:buNone/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89865" y="1521539"/>
            <a:ext cx="2778050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20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2AA4AFE-8366-473F-A6D6-23061479A5F8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368757975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ictures right - content le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6106863" y="72018"/>
            <a:ext cx="5982395" cy="66522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014358" y="146223"/>
            <a:ext cx="163289" cy="65393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77646" y="3506756"/>
            <a:ext cx="5845959" cy="31849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540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35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77646" y="163472"/>
            <a:ext cx="5845959" cy="32020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540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6132110" y="3347371"/>
            <a:ext cx="5957145" cy="163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1931" tIns="95965" rIns="191931" bIns="95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endParaRPr lang="en-GB" sz="2631" dirty="0">
              <a:solidFill>
                <a:schemeClr val="bg1"/>
              </a:solidFill>
            </a:endParaRPr>
          </a:p>
        </p:txBody>
      </p:sp>
      <p:sp>
        <p:nvSpPr>
          <p:cNvPr id="17" name="Content Placeholder 6"/>
          <p:cNvSpPr>
            <a:spLocks noGrp="1"/>
          </p:cNvSpPr>
          <p:nvPr>
            <p:ph sz="quarter" idx="12"/>
          </p:nvPr>
        </p:nvSpPr>
        <p:spPr>
          <a:xfrm>
            <a:off x="474483" y="2235381"/>
            <a:ext cx="5418461" cy="3610113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2176">
                <a:solidFill>
                  <a:schemeClr val="tx1"/>
                </a:solidFill>
              </a:defRPr>
            </a:lvl1pPr>
            <a:lvl2pPr>
              <a:spcBef>
                <a:spcPts val="544"/>
              </a:spcBef>
              <a:spcAft>
                <a:spcPts val="544"/>
              </a:spcAft>
              <a:buClrTx/>
              <a:defRPr sz="1813">
                <a:solidFill>
                  <a:schemeClr val="tx1"/>
                </a:solidFill>
              </a:defRPr>
            </a:lvl2pPr>
            <a:lvl3pPr>
              <a:spcBef>
                <a:spcPts val="544"/>
              </a:spcBef>
              <a:spcAft>
                <a:spcPts val="544"/>
              </a:spcAft>
              <a:buClrTx/>
              <a:defRPr sz="1632">
                <a:solidFill>
                  <a:schemeClr val="tx1"/>
                </a:solidFill>
              </a:defRPr>
            </a:lvl3pPr>
            <a:lvl4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632">
                <a:solidFill>
                  <a:schemeClr val="tx1"/>
                </a:solidFill>
              </a:defRPr>
            </a:lvl4pPr>
            <a:lvl5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6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5115" y="855306"/>
            <a:ext cx="3899496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>
              <a:buFontTx/>
              <a:buNone/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05115" y="1521539"/>
            <a:ext cx="2778050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23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DA1BFDD-A97F-444A-B8B2-1D7B656BAA53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1951112746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ictures right - content le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6106863" y="72018"/>
            <a:ext cx="5982395" cy="66522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8190438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51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10196278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51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184602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51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6014453" y="144449"/>
            <a:ext cx="4174963" cy="6631483"/>
            <a:chOff x="6629995" y="159259"/>
            <a:chExt cx="4602244" cy="7209945"/>
          </a:xfrm>
          <a:solidFill>
            <a:schemeClr val="bg1"/>
          </a:solidFill>
        </p:grpSpPr>
        <p:sp>
          <p:nvSpPr>
            <p:cNvPr id="4" name="Rectangle 3"/>
            <p:cNvSpPr/>
            <p:nvPr userDrawn="1"/>
          </p:nvSpPr>
          <p:spPr bwMode="gray">
            <a:xfrm>
              <a:off x="6629995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endParaRPr lang="en-GB" sz="2903" dirty="0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  <p:sp>
          <p:nvSpPr>
            <p:cNvPr id="29" name="Rectangle 28"/>
            <p:cNvSpPr/>
            <p:nvPr userDrawn="1"/>
          </p:nvSpPr>
          <p:spPr bwMode="gray">
            <a:xfrm>
              <a:off x="11052239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endParaRPr lang="en-GB" sz="2903" dirty="0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gray">
            <a:xfrm>
              <a:off x="8841117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endParaRPr lang="en-GB" sz="2903" dirty="0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</p:grpSp>
      <p:sp>
        <p:nvSpPr>
          <p:cNvPr id="27" name="Content Placeholder 6"/>
          <p:cNvSpPr>
            <a:spLocks noGrp="1"/>
          </p:cNvSpPr>
          <p:nvPr>
            <p:ph sz="quarter" idx="12"/>
          </p:nvPr>
        </p:nvSpPr>
        <p:spPr>
          <a:xfrm>
            <a:off x="474483" y="2235381"/>
            <a:ext cx="5418461" cy="3610113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2176">
                <a:solidFill>
                  <a:schemeClr val="tx1"/>
                </a:solidFill>
              </a:defRPr>
            </a:lvl1pPr>
            <a:lvl2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813">
                <a:solidFill>
                  <a:schemeClr val="tx1"/>
                </a:solidFill>
              </a:defRPr>
            </a:lvl2pPr>
            <a:lvl3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632">
                <a:solidFill>
                  <a:schemeClr val="tx1"/>
                </a:solidFill>
              </a:defRPr>
            </a:lvl3pPr>
            <a:lvl4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632">
                <a:solidFill>
                  <a:schemeClr val="tx1"/>
                </a:solidFill>
              </a:defRPr>
            </a:lvl4pPr>
            <a:lvl5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6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5115" y="855306"/>
            <a:ext cx="3899496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marL="518174" indent="-518174">
              <a:buFontTx/>
              <a:buNone/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5115" y="1521539"/>
            <a:ext cx="2778050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24" name="TextBox 23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26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C97C09DB-9A21-47C8-AF0C-4AE756AFE357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17548937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ictures Left - content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151641" y="115482"/>
            <a:ext cx="5869692" cy="66045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174087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76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162414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76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4003942" y="144449"/>
            <a:ext cx="163289" cy="66314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 bwMode="gray">
          <a:xfrm>
            <a:off x="1998105" y="144449"/>
            <a:ext cx="163289" cy="66314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168251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76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18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014456" y="144449"/>
            <a:ext cx="163289" cy="66314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27" name="Content Placeholder 6"/>
          <p:cNvSpPr>
            <a:spLocks noGrp="1"/>
          </p:cNvSpPr>
          <p:nvPr>
            <p:ph sz="quarter" idx="12"/>
          </p:nvPr>
        </p:nvSpPr>
        <p:spPr>
          <a:xfrm>
            <a:off x="6445919" y="2235381"/>
            <a:ext cx="5418461" cy="3610113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spcBef>
                <a:spcPts val="544"/>
              </a:spcBef>
              <a:spcAft>
                <a:spcPts val="544"/>
              </a:spcAft>
              <a:buClrTx/>
              <a:defRPr sz="2176">
                <a:solidFill>
                  <a:schemeClr val="tx1"/>
                </a:solidFill>
              </a:defRPr>
            </a:lvl1pPr>
            <a:lvl2pPr>
              <a:spcBef>
                <a:spcPts val="544"/>
              </a:spcBef>
              <a:spcAft>
                <a:spcPts val="544"/>
              </a:spcAft>
              <a:buClrTx/>
              <a:defRPr sz="1813">
                <a:solidFill>
                  <a:schemeClr val="tx1"/>
                </a:solidFill>
              </a:defRPr>
            </a:lvl2pPr>
            <a:lvl3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632">
                <a:solidFill>
                  <a:schemeClr val="tx1"/>
                </a:solidFill>
              </a:defRPr>
            </a:lvl3pPr>
            <a:lvl4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632">
                <a:solidFill>
                  <a:schemeClr val="tx1"/>
                </a:solidFill>
              </a:defRPr>
            </a:lvl4pPr>
            <a:lvl5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6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456564" y="855306"/>
            <a:ext cx="3899496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456564" y="1521539"/>
            <a:ext cx="2778050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D9F82D9-5335-43C7-9532-DF4F98087F53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1735209219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1718156" y="2990582"/>
            <a:ext cx="8755697" cy="876843"/>
          </a:xfrm>
          <a:prstGeom prst="rect">
            <a:avLst/>
          </a:prstGeom>
          <a:noFill/>
        </p:spPr>
        <p:txBody>
          <a:bodyPr wrap="none" anchor="ctr"/>
          <a:lstStyle>
            <a:lvl1pPr algn="ctr">
              <a:lnSpc>
                <a:spcPct val="110000"/>
              </a:lnSpc>
              <a:defRPr sz="562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statement</a:t>
            </a:r>
            <a:endParaRPr lang="en-GB" dirty="0"/>
          </a:p>
        </p:txBody>
      </p:sp>
      <p:sp>
        <p:nvSpPr>
          <p:cNvPr id="9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2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4D2298A-C8BD-4415-977D-D9B413F8C828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3773218994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a fi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4991" y="4082105"/>
            <a:ext cx="5582136" cy="1249243"/>
          </a:xfrm>
          <a:prstGeom prst="rect">
            <a:avLst/>
          </a:prstGeom>
        </p:spPr>
        <p:txBody>
          <a:bodyPr wrap="square" lIns="82819" tIns="41410" rIns="82819" bIns="41410">
            <a:normAutofit/>
          </a:bodyPr>
          <a:lstStyle>
            <a:lvl1pPr marL="0" indent="0">
              <a:spcBef>
                <a:spcPts val="1252"/>
              </a:spcBef>
              <a:buNone/>
              <a:defRPr sz="1723">
                <a:solidFill>
                  <a:schemeClr val="bg1"/>
                </a:solidFill>
              </a:defRPr>
            </a:lvl1pPr>
            <a:lvl2pPr marL="476831" indent="0">
              <a:buNone/>
              <a:defRPr>
                <a:solidFill>
                  <a:schemeClr val="bg1"/>
                </a:solidFill>
              </a:defRPr>
            </a:lvl2pPr>
            <a:lvl3pPr marL="953660" indent="0">
              <a:buNone/>
              <a:defRPr>
                <a:solidFill>
                  <a:schemeClr val="bg1"/>
                </a:solidFill>
              </a:defRPr>
            </a:lvl3pPr>
            <a:lvl4pPr marL="1430490" indent="0">
              <a:buNone/>
              <a:defRPr>
                <a:solidFill>
                  <a:schemeClr val="bg1"/>
                </a:solidFill>
              </a:defRPr>
            </a:lvl4pPr>
            <a:lvl5pPr marL="190732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5121" y="3494312"/>
            <a:ext cx="3245342" cy="468349"/>
          </a:xfrm>
          <a:prstGeom prst="rect">
            <a:avLst/>
          </a:prstGeom>
          <a:solidFill>
            <a:schemeClr val="accent2"/>
          </a:solidFill>
        </p:spPr>
        <p:txBody>
          <a:bodyPr wrap="none" lIns="82819" tIns="41410" rIns="82819" bIns="41410" rtlCol="0" anchor="t">
            <a:spAutoFit/>
          </a:bodyPr>
          <a:lstStyle>
            <a:lvl1pPr marL="0" indent="0">
              <a:lnSpc>
                <a:spcPts val="3045"/>
              </a:lnSpc>
              <a:spcAft>
                <a:spcPts val="0"/>
              </a:spcAft>
              <a:buNone/>
              <a:defRPr lang="en-GB" sz="254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subtitle</a:t>
            </a:r>
            <a:endParaRPr lang="en-GB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5114" y="2703140"/>
            <a:ext cx="5339697" cy="842970"/>
          </a:xfrm>
          <a:prstGeom prst="rect">
            <a:avLst/>
          </a:prstGeom>
          <a:solidFill>
            <a:schemeClr val="accent3"/>
          </a:solidFill>
        </p:spPr>
        <p:txBody>
          <a:bodyPr tIns="144000" bIns="0" anchor="ctr"/>
          <a:lstStyle>
            <a:lvl1pPr algn="l">
              <a:defRPr sz="4533">
                <a:latin typeface="+mj-lt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784" b="38176"/>
          <a:stretch/>
        </p:blipFill>
        <p:spPr>
          <a:xfrm>
            <a:off x="440879" y="6314391"/>
            <a:ext cx="890117" cy="277264"/>
          </a:xfrm>
          <a:prstGeom prst="rect">
            <a:avLst/>
          </a:prstGeom>
        </p:spPr>
      </p:pic>
      <p:sp>
        <p:nvSpPr>
          <p:cNvPr id="3" name="Media Placeholder 2"/>
          <p:cNvSpPr>
            <a:spLocks noGrp="1"/>
          </p:cNvSpPr>
          <p:nvPr>
            <p:ph type="media" sz="quarter" idx="12" hasCustomPrompt="1"/>
          </p:nvPr>
        </p:nvSpPr>
        <p:spPr>
          <a:xfrm>
            <a:off x="153936" y="163833"/>
            <a:ext cx="11884133" cy="6530337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buNone/>
              <a:defRPr sz="145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media here – this will keep your chosen media within a fram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6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942BF75-3B11-466C-8CF3-B4DED2B7E488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3375328528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- half page  media fi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017314" y="98159"/>
            <a:ext cx="163289" cy="6603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2"/>
          </p:nvPr>
        </p:nvSpPr>
        <p:spPr>
          <a:xfrm>
            <a:off x="6425932" y="2235381"/>
            <a:ext cx="5418461" cy="3610113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2176">
                <a:solidFill>
                  <a:schemeClr val="bg1"/>
                </a:solidFill>
              </a:defRPr>
            </a:lvl1pPr>
            <a:lvl2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813">
                <a:solidFill>
                  <a:schemeClr val="bg1"/>
                </a:solidFill>
              </a:defRPr>
            </a:lvl2pPr>
            <a:lvl3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bg1"/>
                </a:solidFill>
              </a:defRPr>
            </a:lvl3pPr>
            <a:lvl4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bg1"/>
                </a:solidFill>
              </a:defRPr>
            </a:lvl4pPr>
            <a:lvl5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456564" y="866364"/>
            <a:ext cx="3899496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456564" y="1532598"/>
            <a:ext cx="2778050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14"/>
          </p:nvPr>
        </p:nvSpPr>
        <p:spPr>
          <a:xfrm>
            <a:off x="162737" y="164601"/>
            <a:ext cx="5852257" cy="25112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media</a:t>
            </a:r>
            <a:endParaRPr lang="en-GB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20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F742D9D-3BCF-475B-9E7A-EB3B67997E0F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2881094014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resentation - 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7695" y="157665"/>
            <a:ext cx="11876615" cy="22320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451" baseline="0"/>
            </a:lvl1pPr>
          </a:lstStyle>
          <a:p>
            <a:r>
              <a:rPr lang="en-GB" dirty="0"/>
              <a:t>Insert image by clicking the picture icon and selecting file.  Image may then be cropped as desire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05123" y="1077819"/>
            <a:ext cx="7316135" cy="1419016"/>
          </a:xfrm>
          <a:prstGeom prst="rect">
            <a:avLst/>
          </a:prstGeom>
          <a:noFill/>
        </p:spPr>
        <p:txBody>
          <a:bodyPr wrap="square" anchor="t"/>
          <a:lstStyle>
            <a:lvl1pPr algn="l">
              <a:lnSpc>
                <a:spcPts val="5531"/>
              </a:lnSpc>
              <a:defRPr sz="489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tatement or with </a:t>
            </a:r>
            <a:br>
              <a:rPr lang="en-US" dirty="0"/>
            </a:br>
            <a:r>
              <a:rPr lang="en-US" dirty="0"/>
              <a:t>quote with image</a:t>
            </a:r>
            <a:endParaRPr lang="en-GB" dirty="0"/>
          </a:p>
        </p:txBody>
      </p:sp>
      <p:sp>
        <p:nvSpPr>
          <p:cNvPr id="9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3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8D20A27-4BD3-4618-9761-64C94509CB7F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143953088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1077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58752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16:9 Cover Colou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gray">
          <a:xfrm>
            <a:off x="162735" y="162706"/>
            <a:ext cx="11878055" cy="65311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90640" y="6720064"/>
            <a:ext cx="656795" cy="990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635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635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sp>
        <p:nvSpPr>
          <p:cNvPr id="2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5115" y="2199111"/>
            <a:ext cx="6049028" cy="61388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GB" sz="3989" baseline="0" dirty="0">
                <a:solidFill>
                  <a:schemeClr val="bg1"/>
                </a:solidFill>
              </a:defRPr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Fly 1- Click to edit title</a:t>
            </a:r>
            <a:endParaRPr lang="en-GB" dirty="0"/>
          </a:p>
        </p:txBody>
      </p:sp>
      <p:sp>
        <p:nvSpPr>
          <p:cNvPr id="30" name="Freeform 36"/>
          <p:cNvSpPr>
            <a:spLocks noEditPoints="1"/>
          </p:cNvSpPr>
          <p:nvPr userDrawn="1"/>
        </p:nvSpPr>
        <p:spPr bwMode="auto">
          <a:xfrm>
            <a:off x="522763" y="6157659"/>
            <a:ext cx="1924691" cy="261232"/>
          </a:xfrm>
          <a:custGeom>
            <a:avLst/>
            <a:gdLst>
              <a:gd name="T0" fmla="*/ 432 w 18254"/>
              <a:gd name="T1" fmla="*/ 1592 h 2478"/>
              <a:gd name="T2" fmla="*/ 1564 w 18254"/>
              <a:gd name="T3" fmla="*/ 1932 h 2478"/>
              <a:gd name="T4" fmla="*/ 2064 w 18254"/>
              <a:gd name="T5" fmla="*/ 1364 h 2478"/>
              <a:gd name="T6" fmla="*/ 1696 w 18254"/>
              <a:gd name="T7" fmla="*/ 648 h 2478"/>
              <a:gd name="T8" fmla="*/ 720 w 18254"/>
              <a:gd name="T9" fmla="*/ 662 h 2478"/>
              <a:gd name="T10" fmla="*/ 1218 w 18254"/>
              <a:gd name="T11" fmla="*/ 944 h 2478"/>
              <a:gd name="T12" fmla="*/ 1716 w 18254"/>
              <a:gd name="T13" fmla="*/ 1448 h 2478"/>
              <a:gd name="T14" fmla="*/ 1100 w 18254"/>
              <a:gd name="T15" fmla="*/ 1342 h 2478"/>
              <a:gd name="T16" fmla="*/ 2228 w 18254"/>
              <a:gd name="T17" fmla="*/ 910 h 2478"/>
              <a:gd name="T18" fmla="*/ 2788 w 18254"/>
              <a:gd name="T19" fmla="*/ 1538 h 2478"/>
              <a:gd name="T20" fmla="*/ 2416 w 18254"/>
              <a:gd name="T21" fmla="*/ 1916 h 2478"/>
              <a:gd name="T22" fmla="*/ 3124 w 18254"/>
              <a:gd name="T23" fmla="*/ 1556 h 2478"/>
              <a:gd name="T24" fmla="*/ 2560 w 18254"/>
              <a:gd name="T25" fmla="*/ 928 h 2478"/>
              <a:gd name="T26" fmla="*/ 3336 w 18254"/>
              <a:gd name="T27" fmla="*/ 1620 h 2478"/>
              <a:gd name="T28" fmla="*/ 4106 w 18254"/>
              <a:gd name="T29" fmla="*/ 1904 h 2478"/>
              <a:gd name="T30" fmla="*/ 4550 w 18254"/>
              <a:gd name="T31" fmla="*/ 1228 h 2478"/>
              <a:gd name="T32" fmla="*/ 4006 w 18254"/>
              <a:gd name="T33" fmla="*/ 614 h 2478"/>
              <a:gd name="T34" fmla="*/ 3296 w 18254"/>
              <a:gd name="T35" fmla="*/ 994 h 2478"/>
              <a:gd name="T36" fmla="*/ 3940 w 18254"/>
              <a:gd name="T37" fmla="*/ 878 h 2478"/>
              <a:gd name="T38" fmla="*/ 4042 w 18254"/>
              <a:gd name="T39" fmla="*/ 1634 h 2478"/>
              <a:gd name="T40" fmla="*/ 5282 w 18254"/>
              <a:gd name="T41" fmla="*/ 610 h 2478"/>
              <a:gd name="T42" fmla="*/ 4764 w 18254"/>
              <a:gd name="T43" fmla="*/ 1112 h 2478"/>
              <a:gd name="T44" fmla="*/ 5264 w 18254"/>
              <a:gd name="T45" fmla="*/ 1630 h 2478"/>
              <a:gd name="T46" fmla="*/ 5262 w 18254"/>
              <a:gd name="T47" fmla="*/ 1920 h 2478"/>
              <a:gd name="T48" fmla="*/ 5512 w 18254"/>
              <a:gd name="T49" fmla="*/ 1304 h 2478"/>
              <a:gd name="T50" fmla="*/ 5180 w 18254"/>
              <a:gd name="T51" fmla="*/ 858 h 2478"/>
              <a:gd name="T52" fmla="*/ 7918 w 18254"/>
              <a:gd name="T53" fmla="*/ 1894 h 2478"/>
              <a:gd name="T54" fmla="*/ 8180 w 18254"/>
              <a:gd name="T55" fmla="*/ 150 h 2478"/>
              <a:gd name="T56" fmla="*/ 6722 w 18254"/>
              <a:gd name="T57" fmla="*/ 1532 h 2478"/>
              <a:gd name="T58" fmla="*/ 9988 w 18254"/>
              <a:gd name="T59" fmla="*/ 720 h 2478"/>
              <a:gd name="T60" fmla="*/ 9500 w 18254"/>
              <a:gd name="T61" fmla="*/ 840 h 2478"/>
              <a:gd name="T62" fmla="*/ 9326 w 18254"/>
              <a:gd name="T63" fmla="*/ 1110 h 2478"/>
              <a:gd name="T64" fmla="*/ 9070 w 18254"/>
              <a:gd name="T65" fmla="*/ 1772 h 2478"/>
              <a:gd name="T66" fmla="*/ 9852 w 18254"/>
              <a:gd name="T67" fmla="*/ 1734 h 2478"/>
              <a:gd name="T68" fmla="*/ 9400 w 18254"/>
              <a:gd name="T69" fmla="*/ 1630 h 2478"/>
              <a:gd name="T70" fmla="*/ 9730 w 18254"/>
              <a:gd name="T71" fmla="*/ 1256 h 2478"/>
              <a:gd name="T72" fmla="*/ 10954 w 18254"/>
              <a:gd name="T73" fmla="*/ 890 h 2478"/>
              <a:gd name="T74" fmla="*/ 10762 w 18254"/>
              <a:gd name="T75" fmla="*/ 804 h 2478"/>
              <a:gd name="T76" fmla="*/ 11684 w 18254"/>
              <a:gd name="T77" fmla="*/ 466 h 2478"/>
              <a:gd name="T78" fmla="*/ 12038 w 18254"/>
              <a:gd name="T79" fmla="*/ 1210 h 2478"/>
              <a:gd name="T80" fmla="*/ 13118 w 18254"/>
              <a:gd name="T81" fmla="*/ 1628 h 2478"/>
              <a:gd name="T82" fmla="*/ 13636 w 18254"/>
              <a:gd name="T83" fmla="*/ 842 h 2478"/>
              <a:gd name="T84" fmla="*/ 12856 w 18254"/>
              <a:gd name="T85" fmla="*/ 674 h 2478"/>
              <a:gd name="T86" fmla="*/ 12566 w 18254"/>
              <a:gd name="T87" fmla="*/ 1382 h 2478"/>
              <a:gd name="T88" fmla="*/ 13308 w 18254"/>
              <a:gd name="T89" fmla="*/ 1934 h 2478"/>
              <a:gd name="T90" fmla="*/ 13220 w 18254"/>
              <a:gd name="T91" fmla="*/ 884 h 2478"/>
              <a:gd name="T92" fmla="*/ 14392 w 18254"/>
              <a:gd name="T93" fmla="*/ 1604 h 2478"/>
              <a:gd name="T94" fmla="*/ 14030 w 18254"/>
              <a:gd name="T95" fmla="*/ 882 h 2478"/>
              <a:gd name="T96" fmla="*/ 14494 w 18254"/>
              <a:gd name="T97" fmla="*/ 1934 h 2478"/>
              <a:gd name="T98" fmla="*/ 14854 w 18254"/>
              <a:gd name="T99" fmla="*/ 662 h 2478"/>
              <a:gd name="T100" fmla="*/ 17626 w 18254"/>
              <a:gd name="T101" fmla="*/ 620 h 2478"/>
              <a:gd name="T102" fmla="*/ 16944 w 18254"/>
              <a:gd name="T103" fmla="*/ 986 h 2478"/>
              <a:gd name="T104" fmla="*/ 17122 w 18254"/>
              <a:gd name="T105" fmla="*/ 1804 h 2478"/>
              <a:gd name="T106" fmla="*/ 17872 w 18254"/>
              <a:gd name="T107" fmla="*/ 1740 h 2478"/>
              <a:gd name="T108" fmla="*/ 17430 w 18254"/>
              <a:gd name="T109" fmla="*/ 2208 h 2478"/>
              <a:gd name="T110" fmla="*/ 18004 w 18254"/>
              <a:gd name="T111" fmla="*/ 2340 h 2478"/>
              <a:gd name="T112" fmla="*/ 18254 w 18254"/>
              <a:gd name="T113" fmla="*/ 632 h 2478"/>
              <a:gd name="T114" fmla="*/ 17822 w 18254"/>
              <a:gd name="T115" fmla="*/ 994 h 2478"/>
              <a:gd name="T116" fmla="*/ 17460 w 18254"/>
              <a:gd name="T117" fmla="*/ 1648 h 2478"/>
              <a:gd name="T118" fmla="*/ 15880 w 18254"/>
              <a:gd name="T119" fmla="*/ 1048 h 2478"/>
              <a:gd name="T120" fmla="*/ 16326 w 18254"/>
              <a:gd name="T121" fmla="*/ 1474 h 2478"/>
              <a:gd name="T122" fmla="*/ 16456 w 18254"/>
              <a:gd name="T123" fmla="*/ 660 h 2478"/>
              <a:gd name="T124" fmla="*/ 15772 w 18254"/>
              <a:gd name="T125" fmla="*/ 680 h 24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54" h="2478">
                <a:moveTo>
                  <a:pt x="36" y="1894"/>
                </a:moveTo>
                <a:lnTo>
                  <a:pt x="36" y="1894"/>
                </a:lnTo>
                <a:lnTo>
                  <a:pt x="42" y="1790"/>
                </a:lnTo>
                <a:lnTo>
                  <a:pt x="46" y="1690"/>
                </a:lnTo>
                <a:lnTo>
                  <a:pt x="48" y="1576"/>
                </a:lnTo>
                <a:lnTo>
                  <a:pt x="48" y="1442"/>
                </a:lnTo>
                <a:lnTo>
                  <a:pt x="48" y="762"/>
                </a:lnTo>
                <a:lnTo>
                  <a:pt x="48" y="762"/>
                </a:lnTo>
                <a:lnTo>
                  <a:pt x="48" y="672"/>
                </a:lnTo>
                <a:lnTo>
                  <a:pt x="46" y="588"/>
                </a:lnTo>
                <a:lnTo>
                  <a:pt x="42" y="508"/>
                </a:lnTo>
                <a:lnTo>
                  <a:pt x="38" y="432"/>
                </a:lnTo>
                <a:lnTo>
                  <a:pt x="30" y="358"/>
                </a:lnTo>
                <a:lnTo>
                  <a:pt x="22" y="288"/>
                </a:lnTo>
                <a:lnTo>
                  <a:pt x="12" y="218"/>
                </a:lnTo>
                <a:lnTo>
                  <a:pt x="0" y="150"/>
                </a:lnTo>
                <a:lnTo>
                  <a:pt x="428" y="150"/>
                </a:lnTo>
                <a:lnTo>
                  <a:pt x="428" y="150"/>
                </a:lnTo>
                <a:lnTo>
                  <a:pt x="426" y="252"/>
                </a:lnTo>
                <a:lnTo>
                  <a:pt x="422" y="370"/>
                </a:lnTo>
                <a:lnTo>
                  <a:pt x="418" y="502"/>
                </a:lnTo>
                <a:lnTo>
                  <a:pt x="416" y="644"/>
                </a:lnTo>
                <a:lnTo>
                  <a:pt x="416" y="1282"/>
                </a:lnTo>
                <a:lnTo>
                  <a:pt x="416" y="1282"/>
                </a:lnTo>
                <a:lnTo>
                  <a:pt x="418" y="1352"/>
                </a:lnTo>
                <a:lnTo>
                  <a:pt x="420" y="1428"/>
                </a:lnTo>
                <a:lnTo>
                  <a:pt x="426" y="1510"/>
                </a:lnTo>
                <a:lnTo>
                  <a:pt x="432" y="1592"/>
                </a:lnTo>
                <a:lnTo>
                  <a:pt x="448" y="1752"/>
                </a:lnTo>
                <a:lnTo>
                  <a:pt x="466" y="1894"/>
                </a:lnTo>
                <a:lnTo>
                  <a:pt x="36" y="1894"/>
                </a:lnTo>
                <a:close/>
                <a:moveTo>
                  <a:pt x="744" y="2452"/>
                </a:moveTo>
                <a:lnTo>
                  <a:pt x="1148" y="2426"/>
                </a:lnTo>
                <a:lnTo>
                  <a:pt x="1148" y="2426"/>
                </a:lnTo>
                <a:lnTo>
                  <a:pt x="1140" y="2356"/>
                </a:lnTo>
                <a:lnTo>
                  <a:pt x="1134" y="2284"/>
                </a:lnTo>
                <a:lnTo>
                  <a:pt x="1130" y="2214"/>
                </a:lnTo>
                <a:lnTo>
                  <a:pt x="1126" y="2148"/>
                </a:lnTo>
                <a:lnTo>
                  <a:pt x="1124" y="2034"/>
                </a:lnTo>
                <a:lnTo>
                  <a:pt x="1124" y="1960"/>
                </a:lnTo>
                <a:lnTo>
                  <a:pt x="1124" y="1812"/>
                </a:lnTo>
                <a:lnTo>
                  <a:pt x="1124" y="1812"/>
                </a:lnTo>
                <a:lnTo>
                  <a:pt x="1192" y="1854"/>
                </a:lnTo>
                <a:lnTo>
                  <a:pt x="1230" y="1874"/>
                </a:lnTo>
                <a:lnTo>
                  <a:pt x="1272" y="1894"/>
                </a:lnTo>
                <a:lnTo>
                  <a:pt x="1294" y="1902"/>
                </a:lnTo>
                <a:lnTo>
                  <a:pt x="1318" y="1910"/>
                </a:lnTo>
                <a:lnTo>
                  <a:pt x="1344" y="1918"/>
                </a:lnTo>
                <a:lnTo>
                  <a:pt x="1372" y="1924"/>
                </a:lnTo>
                <a:lnTo>
                  <a:pt x="1402" y="1928"/>
                </a:lnTo>
                <a:lnTo>
                  <a:pt x="1434" y="1932"/>
                </a:lnTo>
                <a:lnTo>
                  <a:pt x="1466" y="1934"/>
                </a:lnTo>
                <a:lnTo>
                  <a:pt x="1502" y="1934"/>
                </a:lnTo>
                <a:lnTo>
                  <a:pt x="1502" y="1934"/>
                </a:lnTo>
                <a:lnTo>
                  <a:pt x="1534" y="1934"/>
                </a:lnTo>
                <a:lnTo>
                  <a:pt x="1564" y="1932"/>
                </a:lnTo>
                <a:lnTo>
                  <a:pt x="1594" y="1928"/>
                </a:lnTo>
                <a:lnTo>
                  <a:pt x="1624" y="1922"/>
                </a:lnTo>
                <a:lnTo>
                  <a:pt x="1652" y="1916"/>
                </a:lnTo>
                <a:lnTo>
                  <a:pt x="1680" y="1908"/>
                </a:lnTo>
                <a:lnTo>
                  <a:pt x="1706" y="1898"/>
                </a:lnTo>
                <a:lnTo>
                  <a:pt x="1732" y="1886"/>
                </a:lnTo>
                <a:lnTo>
                  <a:pt x="1758" y="1874"/>
                </a:lnTo>
                <a:lnTo>
                  <a:pt x="1782" y="1860"/>
                </a:lnTo>
                <a:lnTo>
                  <a:pt x="1806" y="1846"/>
                </a:lnTo>
                <a:lnTo>
                  <a:pt x="1828" y="1830"/>
                </a:lnTo>
                <a:lnTo>
                  <a:pt x="1850" y="1812"/>
                </a:lnTo>
                <a:lnTo>
                  <a:pt x="1872" y="1794"/>
                </a:lnTo>
                <a:lnTo>
                  <a:pt x="1892" y="1774"/>
                </a:lnTo>
                <a:lnTo>
                  <a:pt x="1910" y="1754"/>
                </a:lnTo>
                <a:lnTo>
                  <a:pt x="1928" y="1732"/>
                </a:lnTo>
                <a:lnTo>
                  <a:pt x="1946" y="1710"/>
                </a:lnTo>
                <a:lnTo>
                  <a:pt x="1962" y="1686"/>
                </a:lnTo>
                <a:lnTo>
                  <a:pt x="1976" y="1660"/>
                </a:lnTo>
                <a:lnTo>
                  <a:pt x="1990" y="1634"/>
                </a:lnTo>
                <a:lnTo>
                  <a:pt x="2002" y="1608"/>
                </a:lnTo>
                <a:lnTo>
                  <a:pt x="2014" y="1580"/>
                </a:lnTo>
                <a:lnTo>
                  <a:pt x="2026" y="1552"/>
                </a:lnTo>
                <a:lnTo>
                  <a:pt x="2034" y="1522"/>
                </a:lnTo>
                <a:lnTo>
                  <a:pt x="2042" y="1492"/>
                </a:lnTo>
                <a:lnTo>
                  <a:pt x="2050" y="1462"/>
                </a:lnTo>
                <a:lnTo>
                  <a:pt x="2056" y="1430"/>
                </a:lnTo>
                <a:lnTo>
                  <a:pt x="2060" y="1396"/>
                </a:lnTo>
                <a:lnTo>
                  <a:pt x="2064" y="1364"/>
                </a:lnTo>
                <a:lnTo>
                  <a:pt x="2066" y="1330"/>
                </a:lnTo>
                <a:lnTo>
                  <a:pt x="2066" y="1296"/>
                </a:lnTo>
                <a:lnTo>
                  <a:pt x="2066" y="1296"/>
                </a:lnTo>
                <a:lnTo>
                  <a:pt x="2066" y="1258"/>
                </a:lnTo>
                <a:lnTo>
                  <a:pt x="2064" y="1222"/>
                </a:lnTo>
                <a:lnTo>
                  <a:pt x="2060" y="1186"/>
                </a:lnTo>
                <a:lnTo>
                  <a:pt x="2056" y="1150"/>
                </a:lnTo>
                <a:lnTo>
                  <a:pt x="2050" y="1116"/>
                </a:lnTo>
                <a:lnTo>
                  <a:pt x="2042" y="1084"/>
                </a:lnTo>
                <a:lnTo>
                  <a:pt x="2034" y="1050"/>
                </a:lnTo>
                <a:lnTo>
                  <a:pt x="2024" y="1018"/>
                </a:lnTo>
                <a:lnTo>
                  <a:pt x="2012" y="988"/>
                </a:lnTo>
                <a:lnTo>
                  <a:pt x="2000" y="958"/>
                </a:lnTo>
                <a:lnTo>
                  <a:pt x="1988" y="930"/>
                </a:lnTo>
                <a:lnTo>
                  <a:pt x="1974" y="902"/>
                </a:lnTo>
                <a:lnTo>
                  <a:pt x="1958" y="874"/>
                </a:lnTo>
                <a:lnTo>
                  <a:pt x="1942" y="850"/>
                </a:lnTo>
                <a:lnTo>
                  <a:pt x="1924" y="824"/>
                </a:lnTo>
                <a:lnTo>
                  <a:pt x="1906" y="802"/>
                </a:lnTo>
                <a:lnTo>
                  <a:pt x="1886" y="778"/>
                </a:lnTo>
                <a:lnTo>
                  <a:pt x="1866" y="758"/>
                </a:lnTo>
                <a:lnTo>
                  <a:pt x="1844" y="738"/>
                </a:lnTo>
                <a:lnTo>
                  <a:pt x="1822" y="720"/>
                </a:lnTo>
                <a:lnTo>
                  <a:pt x="1798" y="702"/>
                </a:lnTo>
                <a:lnTo>
                  <a:pt x="1774" y="686"/>
                </a:lnTo>
                <a:lnTo>
                  <a:pt x="1748" y="672"/>
                </a:lnTo>
                <a:lnTo>
                  <a:pt x="1724" y="658"/>
                </a:lnTo>
                <a:lnTo>
                  <a:pt x="1696" y="648"/>
                </a:lnTo>
                <a:lnTo>
                  <a:pt x="1668" y="636"/>
                </a:lnTo>
                <a:lnTo>
                  <a:pt x="1640" y="628"/>
                </a:lnTo>
                <a:lnTo>
                  <a:pt x="1612" y="620"/>
                </a:lnTo>
                <a:lnTo>
                  <a:pt x="1582" y="616"/>
                </a:lnTo>
                <a:lnTo>
                  <a:pt x="1552" y="612"/>
                </a:lnTo>
                <a:lnTo>
                  <a:pt x="1520" y="608"/>
                </a:lnTo>
                <a:lnTo>
                  <a:pt x="1488" y="608"/>
                </a:lnTo>
                <a:lnTo>
                  <a:pt x="1488" y="608"/>
                </a:lnTo>
                <a:lnTo>
                  <a:pt x="1446" y="610"/>
                </a:lnTo>
                <a:lnTo>
                  <a:pt x="1406" y="614"/>
                </a:lnTo>
                <a:lnTo>
                  <a:pt x="1368" y="620"/>
                </a:lnTo>
                <a:lnTo>
                  <a:pt x="1334" y="628"/>
                </a:lnTo>
                <a:lnTo>
                  <a:pt x="1302" y="638"/>
                </a:lnTo>
                <a:lnTo>
                  <a:pt x="1274" y="650"/>
                </a:lnTo>
                <a:lnTo>
                  <a:pt x="1246" y="664"/>
                </a:lnTo>
                <a:lnTo>
                  <a:pt x="1222" y="680"/>
                </a:lnTo>
                <a:lnTo>
                  <a:pt x="1198" y="696"/>
                </a:lnTo>
                <a:lnTo>
                  <a:pt x="1178" y="712"/>
                </a:lnTo>
                <a:lnTo>
                  <a:pt x="1158" y="730"/>
                </a:lnTo>
                <a:lnTo>
                  <a:pt x="1138" y="748"/>
                </a:lnTo>
                <a:lnTo>
                  <a:pt x="1106" y="784"/>
                </a:lnTo>
                <a:lnTo>
                  <a:pt x="1074" y="818"/>
                </a:lnTo>
                <a:lnTo>
                  <a:pt x="1074" y="818"/>
                </a:lnTo>
                <a:lnTo>
                  <a:pt x="1064" y="770"/>
                </a:lnTo>
                <a:lnTo>
                  <a:pt x="1054" y="724"/>
                </a:lnTo>
                <a:lnTo>
                  <a:pt x="1044" y="680"/>
                </a:lnTo>
                <a:lnTo>
                  <a:pt x="1030" y="638"/>
                </a:lnTo>
                <a:lnTo>
                  <a:pt x="720" y="662"/>
                </a:lnTo>
                <a:lnTo>
                  <a:pt x="720" y="662"/>
                </a:lnTo>
                <a:lnTo>
                  <a:pt x="748" y="822"/>
                </a:lnTo>
                <a:lnTo>
                  <a:pt x="760" y="900"/>
                </a:lnTo>
                <a:lnTo>
                  <a:pt x="770" y="978"/>
                </a:lnTo>
                <a:lnTo>
                  <a:pt x="780" y="1056"/>
                </a:lnTo>
                <a:lnTo>
                  <a:pt x="786" y="1136"/>
                </a:lnTo>
                <a:lnTo>
                  <a:pt x="792" y="1216"/>
                </a:lnTo>
                <a:lnTo>
                  <a:pt x="792" y="1298"/>
                </a:lnTo>
                <a:lnTo>
                  <a:pt x="792" y="1812"/>
                </a:lnTo>
                <a:lnTo>
                  <a:pt x="792" y="1812"/>
                </a:lnTo>
                <a:lnTo>
                  <a:pt x="792" y="1888"/>
                </a:lnTo>
                <a:lnTo>
                  <a:pt x="786" y="1972"/>
                </a:lnTo>
                <a:lnTo>
                  <a:pt x="780" y="2064"/>
                </a:lnTo>
                <a:lnTo>
                  <a:pt x="774" y="2156"/>
                </a:lnTo>
                <a:lnTo>
                  <a:pt x="756" y="2328"/>
                </a:lnTo>
                <a:lnTo>
                  <a:pt x="744" y="2452"/>
                </a:lnTo>
                <a:close/>
                <a:moveTo>
                  <a:pt x="1098" y="1298"/>
                </a:moveTo>
                <a:lnTo>
                  <a:pt x="1098" y="1298"/>
                </a:lnTo>
                <a:lnTo>
                  <a:pt x="1100" y="1252"/>
                </a:lnTo>
                <a:lnTo>
                  <a:pt x="1104" y="1208"/>
                </a:lnTo>
                <a:lnTo>
                  <a:pt x="1110" y="1166"/>
                </a:lnTo>
                <a:lnTo>
                  <a:pt x="1118" y="1128"/>
                </a:lnTo>
                <a:lnTo>
                  <a:pt x="1128" y="1090"/>
                </a:lnTo>
                <a:lnTo>
                  <a:pt x="1142" y="1056"/>
                </a:lnTo>
                <a:lnTo>
                  <a:pt x="1158" y="1024"/>
                </a:lnTo>
                <a:lnTo>
                  <a:pt x="1176" y="994"/>
                </a:lnTo>
                <a:lnTo>
                  <a:pt x="1196" y="968"/>
                </a:lnTo>
                <a:lnTo>
                  <a:pt x="1218" y="944"/>
                </a:lnTo>
                <a:lnTo>
                  <a:pt x="1244" y="924"/>
                </a:lnTo>
                <a:lnTo>
                  <a:pt x="1272" y="908"/>
                </a:lnTo>
                <a:lnTo>
                  <a:pt x="1302" y="894"/>
                </a:lnTo>
                <a:lnTo>
                  <a:pt x="1334" y="884"/>
                </a:lnTo>
                <a:lnTo>
                  <a:pt x="1370" y="880"/>
                </a:lnTo>
                <a:lnTo>
                  <a:pt x="1408" y="878"/>
                </a:lnTo>
                <a:lnTo>
                  <a:pt x="1408" y="878"/>
                </a:lnTo>
                <a:lnTo>
                  <a:pt x="1442" y="880"/>
                </a:lnTo>
                <a:lnTo>
                  <a:pt x="1478" y="886"/>
                </a:lnTo>
                <a:lnTo>
                  <a:pt x="1510" y="894"/>
                </a:lnTo>
                <a:lnTo>
                  <a:pt x="1540" y="908"/>
                </a:lnTo>
                <a:lnTo>
                  <a:pt x="1570" y="924"/>
                </a:lnTo>
                <a:lnTo>
                  <a:pt x="1596" y="946"/>
                </a:lnTo>
                <a:lnTo>
                  <a:pt x="1622" y="968"/>
                </a:lnTo>
                <a:lnTo>
                  <a:pt x="1644" y="994"/>
                </a:lnTo>
                <a:lnTo>
                  <a:pt x="1664" y="1024"/>
                </a:lnTo>
                <a:lnTo>
                  <a:pt x="1682" y="1056"/>
                </a:lnTo>
                <a:lnTo>
                  <a:pt x="1698" y="1090"/>
                </a:lnTo>
                <a:lnTo>
                  <a:pt x="1712" y="1128"/>
                </a:lnTo>
                <a:lnTo>
                  <a:pt x="1722" y="1168"/>
                </a:lnTo>
                <a:lnTo>
                  <a:pt x="1730" y="1210"/>
                </a:lnTo>
                <a:lnTo>
                  <a:pt x="1734" y="1252"/>
                </a:lnTo>
                <a:lnTo>
                  <a:pt x="1736" y="1298"/>
                </a:lnTo>
                <a:lnTo>
                  <a:pt x="1736" y="1298"/>
                </a:lnTo>
                <a:lnTo>
                  <a:pt x="1734" y="1338"/>
                </a:lnTo>
                <a:lnTo>
                  <a:pt x="1730" y="1378"/>
                </a:lnTo>
                <a:lnTo>
                  <a:pt x="1724" y="1414"/>
                </a:lnTo>
                <a:lnTo>
                  <a:pt x="1716" y="1448"/>
                </a:lnTo>
                <a:lnTo>
                  <a:pt x="1704" y="1482"/>
                </a:lnTo>
                <a:lnTo>
                  <a:pt x="1692" y="1512"/>
                </a:lnTo>
                <a:lnTo>
                  <a:pt x="1676" y="1540"/>
                </a:lnTo>
                <a:lnTo>
                  <a:pt x="1656" y="1564"/>
                </a:lnTo>
                <a:lnTo>
                  <a:pt x="1636" y="1588"/>
                </a:lnTo>
                <a:lnTo>
                  <a:pt x="1612" y="1608"/>
                </a:lnTo>
                <a:lnTo>
                  <a:pt x="1586" y="1624"/>
                </a:lnTo>
                <a:lnTo>
                  <a:pt x="1558" y="1640"/>
                </a:lnTo>
                <a:lnTo>
                  <a:pt x="1528" y="1650"/>
                </a:lnTo>
                <a:lnTo>
                  <a:pt x="1496" y="1658"/>
                </a:lnTo>
                <a:lnTo>
                  <a:pt x="1460" y="1664"/>
                </a:lnTo>
                <a:lnTo>
                  <a:pt x="1422" y="1666"/>
                </a:lnTo>
                <a:lnTo>
                  <a:pt x="1422" y="1666"/>
                </a:lnTo>
                <a:lnTo>
                  <a:pt x="1384" y="1664"/>
                </a:lnTo>
                <a:lnTo>
                  <a:pt x="1350" y="1660"/>
                </a:lnTo>
                <a:lnTo>
                  <a:pt x="1316" y="1652"/>
                </a:lnTo>
                <a:lnTo>
                  <a:pt x="1284" y="1642"/>
                </a:lnTo>
                <a:lnTo>
                  <a:pt x="1256" y="1630"/>
                </a:lnTo>
                <a:lnTo>
                  <a:pt x="1230" y="1614"/>
                </a:lnTo>
                <a:lnTo>
                  <a:pt x="1206" y="1594"/>
                </a:lnTo>
                <a:lnTo>
                  <a:pt x="1184" y="1572"/>
                </a:lnTo>
                <a:lnTo>
                  <a:pt x="1164" y="1548"/>
                </a:lnTo>
                <a:lnTo>
                  <a:pt x="1146" y="1520"/>
                </a:lnTo>
                <a:lnTo>
                  <a:pt x="1132" y="1490"/>
                </a:lnTo>
                <a:lnTo>
                  <a:pt x="1120" y="1458"/>
                </a:lnTo>
                <a:lnTo>
                  <a:pt x="1112" y="1422"/>
                </a:lnTo>
                <a:lnTo>
                  <a:pt x="1104" y="1384"/>
                </a:lnTo>
                <a:lnTo>
                  <a:pt x="1100" y="1342"/>
                </a:lnTo>
                <a:lnTo>
                  <a:pt x="1098" y="1298"/>
                </a:lnTo>
                <a:lnTo>
                  <a:pt x="1098" y="1298"/>
                </a:lnTo>
                <a:close/>
                <a:moveTo>
                  <a:pt x="2994" y="882"/>
                </a:moveTo>
                <a:lnTo>
                  <a:pt x="2994" y="630"/>
                </a:lnTo>
                <a:lnTo>
                  <a:pt x="2994" y="630"/>
                </a:lnTo>
                <a:lnTo>
                  <a:pt x="2926" y="622"/>
                </a:lnTo>
                <a:lnTo>
                  <a:pt x="2858" y="614"/>
                </a:lnTo>
                <a:lnTo>
                  <a:pt x="2788" y="610"/>
                </a:lnTo>
                <a:lnTo>
                  <a:pt x="2720" y="608"/>
                </a:lnTo>
                <a:lnTo>
                  <a:pt x="2720" y="608"/>
                </a:lnTo>
                <a:lnTo>
                  <a:pt x="2666" y="610"/>
                </a:lnTo>
                <a:lnTo>
                  <a:pt x="2616" y="614"/>
                </a:lnTo>
                <a:lnTo>
                  <a:pt x="2568" y="620"/>
                </a:lnTo>
                <a:lnTo>
                  <a:pt x="2522" y="630"/>
                </a:lnTo>
                <a:lnTo>
                  <a:pt x="2478" y="642"/>
                </a:lnTo>
                <a:lnTo>
                  <a:pt x="2438" y="658"/>
                </a:lnTo>
                <a:lnTo>
                  <a:pt x="2400" y="676"/>
                </a:lnTo>
                <a:lnTo>
                  <a:pt x="2366" y="696"/>
                </a:lnTo>
                <a:lnTo>
                  <a:pt x="2334" y="720"/>
                </a:lnTo>
                <a:lnTo>
                  <a:pt x="2306" y="746"/>
                </a:lnTo>
                <a:lnTo>
                  <a:pt x="2282" y="774"/>
                </a:lnTo>
                <a:lnTo>
                  <a:pt x="2262" y="804"/>
                </a:lnTo>
                <a:lnTo>
                  <a:pt x="2254" y="820"/>
                </a:lnTo>
                <a:lnTo>
                  <a:pt x="2246" y="838"/>
                </a:lnTo>
                <a:lnTo>
                  <a:pt x="2240" y="854"/>
                </a:lnTo>
                <a:lnTo>
                  <a:pt x="2234" y="872"/>
                </a:lnTo>
                <a:lnTo>
                  <a:pt x="2230" y="892"/>
                </a:lnTo>
                <a:lnTo>
                  <a:pt x="2228" y="910"/>
                </a:lnTo>
                <a:lnTo>
                  <a:pt x="2226" y="930"/>
                </a:lnTo>
                <a:lnTo>
                  <a:pt x="2224" y="950"/>
                </a:lnTo>
                <a:lnTo>
                  <a:pt x="2224" y="950"/>
                </a:lnTo>
                <a:lnTo>
                  <a:pt x="2226" y="986"/>
                </a:lnTo>
                <a:lnTo>
                  <a:pt x="2232" y="1018"/>
                </a:lnTo>
                <a:lnTo>
                  <a:pt x="2242" y="1050"/>
                </a:lnTo>
                <a:lnTo>
                  <a:pt x="2254" y="1082"/>
                </a:lnTo>
                <a:lnTo>
                  <a:pt x="2270" y="1112"/>
                </a:lnTo>
                <a:lnTo>
                  <a:pt x="2286" y="1142"/>
                </a:lnTo>
                <a:lnTo>
                  <a:pt x="2306" y="1170"/>
                </a:lnTo>
                <a:lnTo>
                  <a:pt x="2328" y="1196"/>
                </a:lnTo>
                <a:lnTo>
                  <a:pt x="2352" y="1220"/>
                </a:lnTo>
                <a:lnTo>
                  <a:pt x="2376" y="1244"/>
                </a:lnTo>
                <a:lnTo>
                  <a:pt x="2402" y="1266"/>
                </a:lnTo>
                <a:lnTo>
                  <a:pt x="2430" y="1288"/>
                </a:lnTo>
                <a:lnTo>
                  <a:pt x="2456" y="1306"/>
                </a:lnTo>
                <a:lnTo>
                  <a:pt x="2482" y="1324"/>
                </a:lnTo>
                <a:lnTo>
                  <a:pt x="2510" y="1340"/>
                </a:lnTo>
                <a:lnTo>
                  <a:pt x="2536" y="1354"/>
                </a:lnTo>
                <a:lnTo>
                  <a:pt x="2536" y="1354"/>
                </a:lnTo>
                <a:lnTo>
                  <a:pt x="2640" y="1414"/>
                </a:lnTo>
                <a:lnTo>
                  <a:pt x="2684" y="1440"/>
                </a:lnTo>
                <a:lnTo>
                  <a:pt x="2720" y="1464"/>
                </a:lnTo>
                <a:lnTo>
                  <a:pt x="2752" y="1488"/>
                </a:lnTo>
                <a:lnTo>
                  <a:pt x="2764" y="1500"/>
                </a:lnTo>
                <a:lnTo>
                  <a:pt x="2774" y="1512"/>
                </a:lnTo>
                <a:lnTo>
                  <a:pt x="2782" y="1526"/>
                </a:lnTo>
                <a:lnTo>
                  <a:pt x="2788" y="1538"/>
                </a:lnTo>
                <a:lnTo>
                  <a:pt x="2792" y="1552"/>
                </a:lnTo>
                <a:lnTo>
                  <a:pt x="2792" y="1566"/>
                </a:lnTo>
                <a:lnTo>
                  <a:pt x="2792" y="1566"/>
                </a:lnTo>
                <a:lnTo>
                  <a:pt x="2792" y="1580"/>
                </a:lnTo>
                <a:lnTo>
                  <a:pt x="2788" y="1594"/>
                </a:lnTo>
                <a:lnTo>
                  <a:pt x="2784" y="1608"/>
                </a:lnTo>
                <a:lnTo>
                  <a:pt x="2778" y="1620"/>
                </a:lnTo>
                <a:lnTo>
                  <a:pt x="2770" y="1630"/>
                </a:lnTo>
                <a:lnTo>
                  <a:pt x="2760" y="1642"/>
                </a:lnTo>
                <a:lnTo>
                  <a:pt x="2750" y="1650"/>
                </a:lnTo>
                <a:lnTo>
                  <a:pt x="2738" y="1658"/>
                </a:lnTo>
                <a:lnTo>
                  <a:pt x="2724" y="1666"/>
                </a:lnTo>
                <a:lnTo>
                  <a:pt x="2710" y="1672"/>
                </a:lnTo>
                <a:lnTo>
                  <a:pt x="2682" y="1682"/>
                </a:lnTo>
                <a:lnTo>
                  <a:pt x="2650" y="1688"/>
                </a:lnTo>
                <a:lnTo>
                  <a:pt x="2616" y="1690"/>
                </a:lnTo>
                <a:lnTo>
                  <a:pt x="2616" y="1690"/>
                </a:lnTo>
                <a:lnTo>
                  <a:pt x="2566" y="1688"/>
                </a:lnTo>
                <a:lnTo>
                  <a:pt x="2516" y="1682"/>
                </a:lnTo>
                <a:lnTo>
                  <a:pt x="2466" y="1672"/>
                </a:lnTo>
                <a:lnTo>
                  <a:pt x="2416" y="1660"/>
                </a:lnTo>
                <a:lnTo>
                  <a:pt x="2368" y="1648"/>
                </a:lnTo>
                <a:lnTo>
                  <a:pt x="2324" y="1634"/>
                </a:lnTo>
                <a:lnTo>
                  <a:pt x="2246" y="1610"/>
                </a:lnTo>
                <a:lnTo>
                  <a:pt x="2246" y="1878"/>
                </a:lnTo>
                <a:lnTo>
                  <a:pt x="2246" y="1878"/>
                </a:lnTo>
                <a:lnTo>
                  <a:pt x="2332" y="1898"/>
                </a:lnTo>
                <a:lnTo>
                  <a:pt x="2416" y="1916"/>
                </a:lnTo>
                <a:lnTo>
                  <a:pt x="2460" y="1924"/>
                </a:lnTo>
                <a:lnTo>
                  <a:pt x="2504" y="1930"/>
                </a:lnTo>
                <a:lnTo>
                  <a:pt x="2552" y="1934"/>
                </a:lnTo>
                <a:lnTo>
                  <a:pt x="2604" y="1934"/>
                </a:lnTo>
                <a:lnTo>
                  <a:pt x="2604" y="1934"/>
                </a:lnTo>
                <a:lnTo>
                  <a:pt x="2662" y="1934"/>
                </a:lnTo>
                <a:lnTo>
                  <a:pt x="2716" y="1928"/>
                </a:lnTo>
                <a:lnTo>
                  <a:pt x="2768" y="1920"/>
                </a:lnTo>
                <a:lnTo>
                  <a:pt x="2818" y="1910"/>
                </a:lnTo>
                <a:lnTo>
                  <a:pt x="2864" y="1896"/>
                </a:lnTo>
                <a:lnTo>
                  <a:pt x="2906" y="1878"/>
                </a:lnTo>
                <a:lnTo>
                  <a:pt x="2946" y="1858"/>
                </a:lnTo>
                <a:lnTo>
                  <a:pt x="2982" y="1836"/>
                </a:lnTo>
                <a:lnTo>
                  <a:pt x="3014" y="1810"/>
                </a:lnTo>
                <a:lnTo>
                  <a:pt x="3042" y="1782"/>
                </a:lnTo>
                <a:lnTo>
                  <a:pt x="3054" y="1766"/>
                </a:lnTo>
                <a:lnTo>
                  <a:pt x="3066" y="1750"/>
                </a:lnTo>
                <a:lnTo>
                  <a:pt x="3076" y="1734"/>
                </a:lnTo>
                <a:lnTo>
                  <a:pt x="3086" y="1716"/>
                </a:lnTo>
                <a:lnTo>
                  <a:pt x="3094" y="1698"/>
                </a:lnTo>
                <a:lnTo>
                  <a:pt x="3102" y="1680"/>
                </a:lnTo>
                <a:lnTo>
                  <a:pt x="3108" y="1662"/>
                </a:lnTo>
                <a:lnTo>
                  <a:pt x="3114" y="1642"/>
                </a:lnTo>
                <a:lnTo>
                  <a:pt x="3118" y="1620"/>
                </a:lnTo>
                <a:lnTo>
                  <a:pt x="3120" y="1600"/>
                </a:lnTo>
                <a:lnTo>
                  <a:pt x="3122" y="1578"/>
                </a:lnTo>
                <a:lnTo>
                  <a:pt x="3124" y="1556"/>
                </a:lnTo>
                <a:lnTo>
                  <a:pt x="3124" y="1556"/>
                </a:lnTo>
                <a:lnTo>
                  <a:pt x="3122" y="1516"/>
                </a:lnTo>
                <a:lnTo>
                  <a:pt x="3116" y="1478"/>
                </a:lnTo>
                <a:lnTo>
                  <a:pt x="3106" y="1444"/>
                </a:lnTo>
                <a:lnTo>
                  <a:pt x="3094" y="1412"/>
                </a:lnTo>
                <a:lnTo>
                  <a:pt x="3078" y="1382"/>
                </a:lnTo>
                <a:lnTo>
                  <a:pt x="3060" y="1354"/>
                </a:lnTo>
                <a:lnTo>
                  <a:pt x="3040" y="1328"/>
                </a:lnTo>
                <a:lnTo>
                  <a:pt x="3018" y="1304"/>
                </a:lnTo>
                <a:lnTo>
                  <a:pt x="2994" y="1282"/>
                </a:lnTo>
                <a:lnTo>
                  <a:pt x="2970" y="1262"/>
                </a:lnTo>
                <a:lnTo>
                  <a:pt x="2944" y="1242"/>
                </a:lnTo>
                <a:lnTo>
                  <a:pt x="2918" y="1224"/>
                </a:lnTo>
                <a:lnTo>
                  <a:pt x="2866" y="1192"/>
                </a:lnTo>
                <a:lnTo>
                  <a:pt x="2814" y="1164"/>
                </a:lnTo>
                <a:lnTo>
                  <a:pt x="2814" y="1164"/>
                </a:lnTo>
                <a:lnTo>
                  <a:pt x="2716" y="1110"/>
                </a:lnTo>
                <a:lnTo>
                  <a:pt x="2672" y="1082"/>
                </a:lnTo>
                <a:lnTo>
                  <a:pt x="2634" y="1058"/>
                </a:lnTo>
                <a:lnTo>
                  <a:pt x="2602" y="1032"/>
                </a:lnTo>
                <a:lnTo>
                  <a:pt x="2588" y="1018"/>
                </a:lnTo>
                <a:lnTo>
                  <a:pt x="2576" y="1006"/>
                </a:lnTo>
                <a:lnTo>
                  <a:pt x="2568" y="992"/>
                </a:lnTo>
                <a:lnTo>
                  <a:pt x="2560" y="978"/>
                </a:lnTo>
                <a:lnTo>
                  <a:pt x="2556" y="964"/>
                </a:lnTo>
                <a:lnTo>
                  <a:pt x="2556" y="950"/>
                </a:lnTo>
                <a:lnTo>
                  <a:pt x="2556" y="950"/>
                </a:lnTo>
                <a:lnTo>
                  <a:pt x="2556" y="938"/>
                </a:lnTo>
                <a:lnTo>
                  <a:pt x="2560" y="928"/>
                </a:lnTo>
                <a:lnTo>
                  <a:pt x="2564" y="918"/>
                </a:lnTo>
                <a:lnTo>
                  <a:pt x="2572" y="908"/>
                </a:lnTo>
                <a:lnTo>
                  <a:pt x="2580" y="898"/>
                </a:lnTo>
                <a:lnTo>
                  <a:pt x="2590" y="890"/>
                </a:lnTo>
                <a:lnTo>
                  <a:pt x="2602" y="884"/>
                </a:lnTo>
                <a:lnTo>
                  <a:pt x="2616" y="876"/>
                </a:lnTo>
                <a:lnTo>
                  <a:pt x="2648" y="866"/>
                </a:lnTo>
                <a:lnTo>
                  <a:pt x="2686" y="858"/>
                </a:lnTo>
                <a:lnTo>
                  <a:pt x="2728" y="854"/>
                </a:lnTo>
                <a:lnTo>
                  <a:pt x="2776" y="852"/>
                </a:lnTo>
                <a:lnTo>
                  <a:pt x="2776" y="852"/>
                </a:lnTo>
                <a:lnTo>
                  <a:pt x="2802" y="854"/>
                </a:lnTo>
                <a:lnTo>
                  <a:pt x="2830" y="856"/>
                </a:lnTo>
                <a:lnTo>
                  <a:pt x="2884" y="862"/>
                </a:lnTo>
                <a:lnTo>
                  <a:pt x="2994" y="882"/>
                </a:lnTo>
                <a:close/>
                <a:moveTo>
                  <a:pt x="3248" y="1264"/>
                </a:moveTo>
                <a:lnTo>
                  <a:pt x="3248" y="1264"/>
                </a:lnTo>
                <a:lnTo>
                  <a:pt x="3248" y="1300"/>
                </a:lnTo>
                <a:lnTo>
                  <a:pt x="3250" y="1336"/>
                </a:lnTo>
                <a:lnTo>
                  <a:pt x="3254" y="1370"/>
                </a:lnTo>
                <a:lnTo>
                  <a:pt x="3260" y="1404"/>
                </a:lnTo>
                <a:lnTo>
                  <a:pt x="3266" y="1438"/>
                </a:lnTo>
                <a:lnTo>
                  <a:pt x="3276" y="1470"/>
                </a:lnTo>
                <a:lnTo>
                  <a:pt x="3284" y="1502"/>
                </a:lnTo>
                <a:lnTo>
                  <a:pt x="3296" y="1534"/>
                </a:lnTo>
                <a:lnTo>
                  <a:pt x="3308" y="1562"/>
                </a:lnTo>
                <a:lnTo>
                  <a:pt x="3322" y="1592"/>
                </a:lnTo>
                <a:lnTo>
                  <a:pt x="3336" y="1620"/>
                </a:lnTo>
                <a:lnTo>
                  <a:pt x="3354" y="1648"/>
                </a:lnTo>
                <a:lnTo>
                  <a:pt x="3370" y="1674"/>
                </a:lnTo>
                <a:lnTo>
                  <a:pt x="3390" y="1698"/>
                </a:lnTo>
                <a:lnTo>
                  <a:pt x="3410" y="1722"/>
                </a:lnTo>
                <a:lnTo>
                  <a:pt x="3430" y="1746"/>
                </a:lnTo>
                <a:lnTo>
                  <a:pt x="3452" y="1768"/>
                </a:lnTo>
                <a:lnTo>
                  <a:pt x="3476" y="1788"/>
                </a:lnTo>
                <a:lnTo>
                  <a:pt x="3500" y="1806"/>
                </a:lnTo>
                <a:lnTo>
                  <a:pt x="3526" y="1826"/>
                </a:lnTo>
                <a:lnTo>
                  <a:pt x="3552" y="1842"/>
                </a:lnTo>
                <a:lnTo>
                  <a:pt x="3580" y="1858"/>
                </a:lnTo>
                <a:lnTo>
                  <a:pt x="3608" y="1872"/>
                </a:lnTo>
                <a:lnTo>
                  <a:pt x="3638" y="1884"/>
                </a:lnTo>
                <a:lnTo>
                  <a:pt x="3668" y="1896"/>
                </a:lnTo>
                <a:lnTo>
                  <a:pt x="3698" y="1906"/>
                </a:lnTo>
                <a:lnTo>
                  <a:pt x="3730" y="1914"/>
                </a:lnTo>
                <a:lnTo>
                  <a:pt x="3762" y="1922"/>
                </a:lnTo>
                <a:lnTo>
                  <a:pt x="3796" y="1928"/>
                </a:lnTo>
                <a:lnTo>
                  <a:pt x="3830" y="1932"/>
                </a:lnTo>
                <a:lnTo>
                  <a:pt x="3866" y="1934"/>
                </a:lnTo>
                <a:lnTo>
                  <a:pt x="3902" y="1934"/>
                </a:lnTo>
                <a:lnTo>
                  <a:pt x="3902" y="1934"/>
                </a:lnTo>
                <a:lnTo>
                  <a:pt x="3938" y="1934"/>
                </a:lnTo>
                <a:lnTo>
                  <a:pt x="3972" y="1932"/>
                </a:lnTo>
                <a:lnTo>
                  <a:pt x="4008" y="1926"/>
                </a:lnTo>
                <a:lnTo>
                  <a:pt x="4040" y="1922"/>
                </a:lnTo>
                <a:lnTo>
                  <a:pt x="4074" y="1914"/>
                </a:lnTo>
                <a:lnTo>
                  <a:pt x="4106" y="1904"/>
                </a:lnTo>
                <a:lnTo>
                  <a:pt x="4136" y="1894"/>
                </a:lnTo>
                <a:lnTo>
                  <a:pt x="4166" y="1882"/>
                </a:lnTo>
                <a:lnTo>
                  <a:pt x="4196" y="1868"/>
                </a:lnTo>
                <a:lnTo>
                  <a:pt x="4224" y="1854"/>
                </a:lnTo>
                <a:lnTo>
                  <a:pt x="4252" y="1838"/>
                </a:lnTo>
                <a:lnTo>
                  <a:pt x="4278" y="1820"/>
                </a:lnTo>
                <a:lnTo>
                  <a:pt x="4302" y="1802"/>
                </a:lnTo>
                <a:lnTo>
                  <a:pt x="4326" y="1782"/>
                </a:lnTo>
                <a:lnTo>
                  <a:pt x="4350" y="1760"/>
                </a:lnTo>
                <a:lnTo>
                  <a:pt x="4372" y="1738"/>
                </a:lnTo>
                <a:lnTo>
                  <a:pt x="4392" y="1714"/>
                </a:lnTo>
                <a:lnTo>
                  <a:pt x="4412" y="1690"/>
                </a:lnTo>
                <a:lnTo>
                  <a:pt x="4430" y="1664"/>
                </a:lnTo>
                <a:lnTo>
                  <a:pt x="4448" y="1638"/>
                </a:lnTo>
                <a:lnTo>
                  <a:pt x="4464" y="1612"/>
                </a:lnTo>
                <a:lnTo>
                  <a:pt x="4478" y="1584"/>
                </a:lnTo>
                <a:lnTo>
                  <a:pt x="4492" y="1554"/>
                </a:lnTo>
                <a:lnTo>
                  <a:pt x="4504" y="1524"/>
                </a:lnTo>
                <a:lnTo>
                  <a:pt x="4514" y="1494"/>
                </a:lnTo>
                <a:lnTo>
                  <a:pt x="4524" y="1464"/>
                </a:lnTo>
                <a:lnTo>
                  <a:pt x="4532" y="1432"/>
                </a:lnTo>
                <a:lnTo>
                  <a:pt x="4538" y="1398"/>
                </a:lnTo>
                <a:lnTo>
                  <a:pt x="4544" y="1366"/>
                </a:lnTo>
                <a:lnTo>
                  <a:pt x="4548" y="1332"/>
                </a:lnTo>
                <a:lnTo>
                  <a:pt x="4550" y="1298"/>
                </a:lnTo>
                <a:lnTo>
                  <a:pt x="4550" y="1264"/>
                </a:lnTo>
                <a:lnTo>
                  <a:pt x="4550" y="1264"/>
                </a:lnTo>
                <a:lnTo>
                  <a:pt x="4550" y="1228"/>
                </a:lnTo>
                <a:lnTo>
                  <a:pt x="4548" y="1192"/>
                </a:lnTo>
                <a:lnTo>
                  <a:pt x="4544" y="1158"/>
                </a:lnTo>
                <a:lnTo>
                  <a:pt x="4538" y="1124"/>
                </a:lnTo>
                <a:lnTo>
                  <a:pt x="4532" y="1092"/>
                </a:lnTo>
                <a:lnTo>
                  <a:pt x="4524" y="1058"/>
                </a:lnTo>
                <a:lnTo>
                  <a:pt x="4514" y="1028"/>
                </a:lnTo>
                <a:lnTo>
                  <a:pt x="4504" y="998"/>
                </a:lnTo>
                <a:lnTo>
                  <a:pt x="4492" y="968"/>
                </a:lnTo>
                <a:lnTo>
                  <a:pt x="4478" y="940"/>
                </a:lnTo>
                <a:lnTo>
                  <a:pt x="4462" y="912"/>
                </a:lnTo>
                <a:lnTo>
                  <a:pt x="4446" y="886"/>
                </a:lnTo>
                <a:lnTo>
                  <a:pt x="4430" y="860"/>
                </a:lnTo>
                <a:lnTo>
                  <a:pt x="4412" y="836"/>
                </a:lnTo>
                <a:lnTo>
                  <a:pt x="4392" y="812"/>
                </a:lnTo>
                <a:lnTo>
                  <a:pt x="4370" y="790"/>
                </a:lnTo>
                <a:lnTo>
                  <a:pt x="4348" y="768"/>
                </a:lnTo>
                <a:lnTo>
                  <a:pt x="4326" y="750"/>
                </a:lnTo>
                <a:lnTo>
                  <a:pt x="4302" y="730"/>
                </a:lnTo>
                <a:lnTo>
                  <a:pt x="4276" y="712"/>
                </a:lnTo>
                <a:lnTo>
                  <a:pt x="4250" y="696"/>
                </a:lnTo>
                <a:lnTo>
                  <a:pt x="4224" y="682"/>
                </a:lnTo>
                <a:lnTo>
                  <a:pt x="4196" y="668"/>
                </a:lnTo>
                <a:lnTo>
                  <a:pt x="4166" y="656"/>
                </a:lnTo>
                <a:lnTo>
                  <a:pt x="4136" y="644"/>
                </a:lnTo>
                <a:lnTo>
                  <a:pt x="4104" y="636"/>
                </a:lnTo>
                <a:lnTo>
                  <a:pt x="4074" y="626"/>
                </a:lnTo>
                <a:lnTo>
                  <a:pt x="4040" y="620"/>
                </a:lnTo>
                <a:lnTo>
                  <a:pt x="4006" y="614"/>
                </a:lnTo>
                <a:lnTo>
                  <a:pt x="3972" y="610"/>
                </a:lnTo>
                <a:lnTo>
                  <a:pt x="3938" y="608"/>
                </a:lnTo>
                <a:lnTo>
                  <a:pt x="3902" y="608"/>
                </a:lnTo>
                <a:lnTo>
                  <a:pt x="3902" y="608"/>
                </a:lnTo>
                <a:lnTo>
                  <a:pt x="3866" y="608"/>
                </a:lnTo>
                <a:lnTo>
                  <a:pt x="3830" y="610"/>
                </a:lnTo>
                <a:lnTo>
                  <a:pt x="3796" y="614"/>
                </a:lnTo>
                <a:lnTo>
                  <a:pt x="3762" y="620"/>
                </a:lnTo>
                <a:lnTo>
                  <a:pt x="3728" y="626"/>
                </a:lnTo>
                <a:lnTo>
                  <a:pt x="3696" y="634"/>
                </a:lnTo>
                <a:lnTo>
                  <a:pt x="3666" y="644"/>
                </a:lnTo>
                <a:lnTo>
                  <a:pt x="3634" y="654"/>
                </a:lnTo>
                <a:lnTo>
                  <a:pt x="3606" y="666"/>
                </a:lnTo>
                <a:lnTo>
                  <a:pt x="3578" y="680"/>
                </a:lnTo>
                <a:lnTo>
                  <a:pt x="3550" y="694"/>
                </a:lnTo>
                <a:lnTo>
                  <a:pt x="3524" y="710"/>
                </a:lnTo>
                <a:lnTo>
                  <a:pt x="3498" y="728"/>
                </a:lnTo>
                <a:lnTo>
                  <a:pt x="3474" y="746"/>
                </a:lnTo>
                <a:lnTo>
                  <a:pt x="3450" y="766"/>
                </a:lnTo>
                <a:lnTo>
                  <a:pt x="3428" y="788"/>
                </a:lnTo>
                <a:lnTo>
                  <a:pt x="3408" y="810"/>
                </a:lnTo>
                <a:lnTo>
                  <a:pt x="3388" y="832"/>
                </a:lnTo>
                <a:lnTo>
                  <a:pt x="3370" y="856"/>
                </a:lnTo>
                <a:lnTo>
                  <a:pt x="3352" y="882"/>
                </a:lnTo>
                <a:lnTo>
                  <a:pt x="3336" y="908"/>
                </a:lnTo>
                <a:lnTo>
                  <a:pt x="3320" y="936"/>
                </a:lnTo>
                <a:lnTo>
                  <a:pt x="3308" y="964"/>
                </a:lnTo>
                <a:lnTo>
                  <a:pt x="3296" y="994"/>
                </a:lnTo>
                <a:lnTo>
                  <a:pt x="3284" y="1024"/>
                </a:lnTo>
                <a:lnTo>
                  <a:pt x="3274" y="1056"/>
                </a:lnTo>
                <a:lnTo>
                  <a:pt x="3266" y="1088"/>
                </a:lnTo>
                <a:lnTo>
                  <a:pt x="3260" y="1122"/>
                </a:lnTo>
                <a:lnTo>
                  <a:pt x="3254" y="1156"/>
                </a:lnTo>
                <a:lnTo>
                  <a:pt x="3250" y="1192"/>
                </a:lnTo>
                <a:lnTo>
                  <a:pt x="3248" y="1228"/>
                </a:lnTo>
                <a:lnTo>
                  <a:pt x="3248" y="1264"/>
                </a:lnTo>
                <a:close/>
                <a:moveTo>
                  <a:pt x="3578" y="1264"/>
                </a:moveTo>
                <a:lnTo>
                  <a:pt x="3578" y="1264"/>
                </a:lnTo>
                <a:lnTo>
                  <a:pt x="3580" y="1222"/>
                </a:lnTo>
                <a:lnTo>
                  <a:pt x="3584" y="1180"/>
                </a:lnTo>
                <a:lnTo>
                  <a:pt x="3590" y="1142"/>
                </a:lnTo>
                <a:lnTo>
                  <a:pt x="3598" y="1106"/>
                </a:lnTo>
                <a:lnTo>
                  <a:pt x="3610" y="1072"/>
                </a:lnTo>
                <a:lnTo>
                  <a:pt x="3622" y="1040"/>
                </a:lnTo>
                <a:lnTo>
                  <a:pt x="3640" y="1010"/>
                </a:lnTo>
                <a:lnTo>
                  <a:pt x="3658" y="984"/>
                </a:lnTo>
                <a:lnTo>
                  <a:pt x="3680" y="960"/>
                </a:lnTo>
                <a:lnTo>
                  <a:pt x="3704" y="938"/>
                </a:lnTo>
                <a:lnTo>
                  <a:pt x="3730" y="920"/>
                </a:lnTo>
                <a:lnTo>
                  <a:pt x="3758" y="904"/>
                </a:lnTo>
                <a:lnTo>
                  <a:pt x="3790" y="892"/>
                </a:lnTo>
                <a:lnTo>
                  <a:pt x="3824" y="884"/>
                </a:lnTo>
                <a:lnTo>
                  <a:pt x="3862" y="878"/>
                </a:lnTo>
                <a:lnTo>
                  <a:pt x="3902" y="878"/>
                </a:lnTo>
                <a:lnTo>
                  <a:pt x="3902" y="878"/>
                </a:lnTo>
                <a:lnTo>
                  <a:pt x="3940" y="878"/>
                </a:lnTo>
                <a:lnTo>
                  <a:pt x="3976" y="884"/>
                </a:lnTo>
                <a:lnTo>
                  <a:pt x="4010" y="892"/>
                </a:lnTo>
                <a:lnTo>
                  <a:pt x="4040" y="904"/>
                </a:lnTo>
                <a:lnTo>
                  <a:pt x="4070" y="918"/>
                </a:lnTo>
                <a:lnTo>
                  <a:pt x="4096" y="934"/>
                </a:lnTo>
                <a:lnTo>
                  <a:pt x="4120" y="956"/>
                </a:lnTo>
                <a:lnTo>
                  <a:pt x="4140" y="978"/>
                </a:lnTo>
                <a:lnTo>
                  <a:pt x="4158" y="1004"/>
                </a:lnTo>
                <a:lnTo>
                  <a:pt x="4176" y="1034"/>
                </a:lnTo>
                <a:lnTo>
                  <a:pt x="4188" y="1066"/>
                </a:lnTo>
                <a:lnTo>
                  <a:pt x="4200" y="1100"/>
                </a:lnTo>
                <a:lnTo>
                  <a:pt x="4208" y="1138"/>
                </a:lnTo>
                <a:lnTo>
                  <a:pt x="4214" y="1178"/>
                </a:lnTo>
                <a:lnTo>
                  <a:pt x="4218" y="1220"/>
                </a:lnTo>
                <a:lnTo>
                  <a:pt x="4220" y="1264"/>
                </a:lnTo>
                <a:lnTo>
                  <a:pt x="4220" y="1264"/>
                </a:lnTo>
                <a:lnTo>
                  <a:pt x="4218" y="1306"/>
                </a:lnTo>
                <a:lnTo>
                  <a:pt x="4214" y="1346"/>
                </a:lnTo>
                <a:lnTo>
                  <a:pt x="4208" y="1386"/>
                </a:lnTo>
                <a:lnTo>
                  <a:pt x="4200" y="1422"/>
                </a:lnTo>
                <a:lnTo>
                  <a:pt x="4190" y="1458"/>
                </a:lnTo>
                <a:lnTo>
                  <a:pt x="4176" y="1492"/>
                </a:lnTo>
                <a:lnTo>
                  <a:pt x="4160" y="1522"/>
                </a:lnTo>
                <a:lnTo>
                  <a:pt x="4142" y="1550"/>
                </a:lnTo>
                <a:lnTo>
                  <a:pt x="4120" y="1576"/>
                </a:lnTo>
                <a:lnTo>
                  <a:pt x="4096" y="1598"/>
                </a:lnTo>
                <a:lnTo>
                  <a:pt x="4070" y="1618"/>
                </a:lnTo>
                <a:lnTo>
                  <a:pt x="4042" y="1634"/>
                </a:lnTo>
                <a:lnTo>
                  <a:pt x="4010" y="1648"/>
                </a:lnTo>
                <a:lnTo>
                  <a:pt x="3976" y="1658"/>
                </a:lnTo>
                <a:lnTo>
                  <a:pt x="3940" y="1664"/>
                </a:lnTo>
                <a:lnTo>
                  <a:pt x="3902" y="1666"/>
                </a:lnTo>
                <a:lnTo>
                  <a:pt x="3902" y="1666"/>
                </a:lnTo>
                <a:lnTo>
                  <a:pt x="3864" y="1664"/>
                </a:lnTo>
                <a:lnTo>
                  <a:pt x="3828" y="1658"/>
                </a:lnTo>
                <a:lnTo>
                  <a:pt x="3796" y="1648"/>
                </a:lnTo>
                <a:lnTo>
                  <a:pt x="3764" y="1636"/>
                </a:lnTo>
                <a:lnTo>
                  <a:pt x="3736" y="1618"/>
                </a:lnTo>
                <a:lnTo>
                  <a:pt x="3708" y="1600"/>
                </a:lnTo>
                <a:lnTo>
                  <a:pt x="3684" y="1576"/>
                </a:lnTo>
                <a:lnTo>
                  <a:pt x="3662" y="1552"/>
                </a:lnTo>
                <a:lnTo>
                  <a:pt x="3644" y="1522"/>
                </a:lnTo>
                <a:lnTo>
                  <a:pt x="3626" y="1492"/>
                </a:lnTo>
                <a:lnTo>
                  <a:pt x="3612" y="1460"/>
                </a:lnTo>
                <a:lnTo>
                  <a:pt x="3600" y="1424"/>
                </a:lnTo>
                <a:lnTo>
                  <a:pt x="3590" y="1386"/>
                </a:lnTo>
                <a:lnTo>
                  <a:pt x="3584" y="1348"/>
                </a:lnTo>
                <a:lnTo>
                  <a:pt x="3580" y="1306"/>
                </a:lnTo>
                <a:lnTo>
                  <a:pt x="3578" y="1264"/>
                </a:lnTo>
                <a:lnTo>
                  <a:pt x="3578" y="1264"/>
                </a:lnTo>
                <a:close/>
                <a:moveTo>
                  <a:pt x="5488" y="882"/>
                </a:moveTo>
                <a:lnTo>
                  <a:pt x="5488" y="630"/>
                </a:lnTo>
                <a:lnTo>
                  <a:pt x="5488" y="630"/>
                </a:lnTo>
                <a:lnTo>
                  <a:pt x="5420" y="622"/>
                </a:lnTo>
                <a:lnTo>
                  <a:pt x="5352" y="614"/>
                </a:lnTo>
                <a:lnTo>
                  <a:pt x="5282" y="610"/>
                </a:lnTo>
                <a:lnTo>
                  <a:pt x="5214" y="608"/>
                </a:lnTo>
                <a:lnTo>
                  <a:pt x="5214" y="608"/>
                </a:lnTo>
                <a:lnTo>
                  <a:pt x="5160" y="610"/>
                </a:lnTo>
                <a:lnTo>
                  <a:pt x="5110" y="614"/>
                </a:lnTo>
                <a:lnTo>
                  <a:pt x="5062" y="620"/>
                </a:lnTo>
                <a:lnTo>
                  <a:pt x="5016" y="630"/>
                </a:lnTo>
                <a:lnTo>
                  <a:pt x="4972" y="642"/>
                </a:lnTo>
                <a:lnTo>
                  <a:pt x="4932" y="658"/>
                </a:lnTo>
                <a:lnTo>
                  <a:pt x="4894" y="676"/>
                </a:lnTo>
                <a:lnTo>
                  <a:pt x="4860" y="696"/>
                </a:lnTo>
                <a:lnTo>
                  <a:pt x="4828" y="720"/>
                </a:lnTo>
                <a:lnTo>
                  <a:pt x="4800" y="746"/>
                </a:lnTo>
                <a:lnTo>
                  <a:pt x="4776" y="774"/>
                </a:lnTo>
                <a:lnTo>
                  <a:pt x="4756" y="804"/>
                </a:lnTo>
                <a:lnTo>
                  <a:pt x="4748" y="820"/>
                </a:lnTo>
                <a:lnTo>
                  <a:pt x="4740" y="838"/>
                </a:lnTo>
                <a:lnTo>
                  <a:pt x="4734" y="854"/>
                </a:lnTo>
                <a:lnTo>
                  <a:pt x="4728" y="872"/>
                </a:lnTo>
                <a:lnTo>
                  <a:pt x="4724" y="892"/>
                </a:lnTo>
                <a:lnTo>
                  <a:pt x="4720" y="910"/>
                </a:lnTo>
                <a:lnTo>
                  <a:pt x="4720" y="930"/>
                </a:lnTo>
                <a:lnTo>
                  <a:pt x="4718" y="950"/>
                </a:lnTo>
                <a:lnTo>
                  <a:pt x="4718" y="950"/>
                </a:lnTo>
                <a:lnTo>
                  <a:pt x="4720" y="986"/>
                </a:lnTo>
                <a:lnTo>
                  <a:pt x="4726" y="1018"/>
                </a:lnTo>
                <a:lnTo>
                  <a:pt x="4736" y="1050"/>
                </a:lnTo>
                <a:lnTo>
                  <a:pt x="4748" y="1082"/>
                </a:lnTo>
                <a:lnTo>
                  <a:pt x="4764" y="1112"/>
                </a:lnTo>
                <a:lnTo>
                  <a:pt x="4780" y="1142"/>
                </a:lnTo>
                <a:lnTo>
                  <a:pt x="4800" y="1170"/>
                </a:lnTo>
                <a:lnTo>
                  <a:pt x="4822" y="1196"/>
                </a:lnTo>
                <a:lnTo>
                  <a:pt x="4846" y="1220"/>
                </a:lnTo>
                <a:lnTo>
                  <a:pt x="4870" y="1244"/>
                </a:lnTo>
                <a:lnTo>
                  <a:pt x="4896" y="1266"/>
                </a:lnTo>
                <a:lnTo>
                  <a:pt x="4924" y="1288"/>
                </a:lnTo>
                <a:lnTo>
                  <a:pt x="4950" y="1306"/>
                </a:lnTo>
                <a:lnTo>
                  <a:pt x="4976" y="1324"/>
                </a:lnTo>
                <a:lnTo>
                  <a:pt x="5004" y="1340"/>
                </a:lnTo>
                <a:lnTo>
                  <a:pt x="5030" y="1354"/>
                </a:lnTo>
                <a:lnTo>
                  <a:pt x="5030" y="1354"/>
                </a:lnTo>
                <a:lnTo>
                  <a:pt x="5134" y="1414"/>
                </a:lnTo>
                <a:lnTo>
                  <a:pt x="5178" y="1440"/>
                </a:lnTo>
                <a:lnTo>
                  <a:pt x="5214" y="1464"/>
                </a:lnTo>
                <a:lnTo>
                  <a:pt x="5246" y="1488"/>
                </a:lnTo>
                <a:lnTo>
                  <a:pt x="5258" y="1500"/>
                </a:lnTo>
                <a:lnTo>
                  <a:pt x="5268" y="1512"/>
                </a:lnTo>
                <a:lnTo>
                  <a:pt x="5276" y="1526"/>
                </a:lnTo>
                <a:lnTo>
                  <a:pt x="5282" y="1538"/>
                </a:lnTo>
                <a:lnTo>
                  <a:pt x="5286" y="1552"/>
                </a:lnTo>
                <a:lnTo>
                  <a:pt x="5286" y="1566"/>
                </a:lnTo>
                <a:lnTo>
                  <a:pt x="5286" y="1566"/>
                </a:lnTo>
                <a:lnTo>
                  <a:pt x="5286" y="1580"/>
                </a:lnTo>
                <a:lnTo>
                  <a:pt x="5282" y="1594"/>
                </a:lnTo>
                <a:lnTo>
                  <a:pt x="5278" y="1608"/>
                </a:lnTo>
                <a:lnTo>
                  <a:pt x="5272" y="1620"/>
                </a:lnTo>
                <a:lnTo>
                  <a:pt x="5264" y="1630"/>
                </a:lnTo>
                <a:lnTo>
                  <a:pt x="5254" y="1642"/>
                </a:lnTo>
                <a:lnTo>
                  <a:pt x="5244" y="1650"/>
                </a:lnTo>
                <a:lnTo>
                  <a:pt x="5232" y="1658"/>
                </a:lnTo>
                <a:lnTo>
                  <a:pt x="5218" y="1666"/>
                </a:lnTo>
                <a:lnTo>
                  <a:pt x="5204" y="1672"/>
                </a:lnTo>
                <a:lnTo>
                  <a:pt x="5174" y="1682"/>
                </a:lnTo>
                <a:lnTo>
                  <a:pt x="5144" y="1688"/>
                </a:lnTo>
                <a:lnTo>
                  <a:pt x="5110" y="1690"/>
                </a:lnTo>
                <a:lnTo>
                  <a:pt x="5110" y="1690"/>
                </a:lnTo>
                <a:lnTo>
                  <a:pt x="5060" y="1688"/>
                </a:lnTo>
                <a:lnTo>
                  <a:pt x="5010" y="1682"/>
                </a:lnTo>
                <a:lnTo>
                  <a:pt x="4960" y="1672"/>
                </a:lnTo>
                <a:lnTo>
                  <a:pt x="4910" y="1660"/>
                </a:lnTo>
                <a:lnTo>
                  <a:pt x="4862" y="1648"/>
                </a:lnTo>
                <a:lnTo>
                  <a:pt x="4818" y="1634"/>
                </a:lnTo>
                <a:lnTo>
                  <a:pt x="4740" y="1610"/>
                </a:lnTo>
                <a:lnTo>
                  <a:pt x="4740" y="1878"/>
                </a:lnTo>
                <a:lnTo>
                  <a:pt x="4740" y="1878"/>
                </a:lnTo>
                <a:lnTo>
                  <a:pt x="4826" y="1898"/>
                </a:lnTo>
                <a:lnTo>
                  <a:pt x="4910" y="1916"/>
                </a:lnTo>
                <a:lnTo>
                  <a:pt x="4954" y="1924"/>
                </a:lnTo>
                <a:lnTo>
                  <a:pt x="4998" y="1930"/>
                </a:lnTo>
                <a:lnTo>
                  <a:pt x="5046" y="1934"/>
                </a:lnTo>
                <a:lnTo>
                  <a:pt x="5098" y="1934"/>
                </a:lnTo>
                <a:lnTo>
                  <a:pt x="5098" y="1934"/>
                </a:lnTo>
                <a:lnTo>
                  <a:pt x="5156" y="1934"/>
                </a:lnTo>
                <a:lnTo>
                  <a:pt x="5210" y="1928"/>
                </a:lnTo>
                <a:lnTo>
                  <a:pt x="5262" y="1920"/>
                </a:lnTo>
                <a:lnTo>
                  <a:pt x="5312" y="1910"/>
                </a:lnTo>
                <a:lnTo>
                  <a:pt x="5358" y="1896"/>
                </a:lnTo>
                <a:lnTo>
                  <a:pt x="5400" y="1878"/>
                </a:lnTo>
                <a:lnTo>
                  <a:pt x="5440" y="1858"/>
                </a:lnTo>
                <a:lnTo>
                  <a:pt x="5476" y="1836"/>
                </a:lnTo>
                <a:lnTo>
                  <a:pt x="5508" y="1810"/>
                </a:lnTo>
                <a:lnTo>
                  <a:pt x="5536" y="1782"/>
                </a:lnTo>
                <a:lnTo>
                  <a:pt x="5548" y="1766"/>
                </a:lnTo>
                <a:lnTo>
                  <a:pt x="5560" y="1750"/>
                </a:lnTo>
                <a:lnTo>
                  <a:pt x="5570" y="1734"/>
                </a:lnTo>
                <a:lnTo>
                  <a:pt x="5580" y="1716"/>
                </a:lnTo>
                <a:lnTo>
                  <a:pt x="5588" y="1698"/>
                </a:lnTo>
                <a:lnTo>
                  <a:pt x="5596" y="1680"/>
                </a:lnTo>
                <a:lnTo>
                  <a:pt x="5602" y="1662"/>
                </a:lnTo>
                <a:lnTo>
                  <a:pt x="5608" y="1642"/>
                </a:lnTo>
                <a:lnTo>
                  <a:pt x="5612" y="1620"/>
                </a:lnTo>
                <a:lnTo>
                  <a:pt x="5614" y="1600"/>
                </a:lnTo>
                <a:lnTo>
                  <a:pt x="5616" y="1578"/>
                </a:lnTo>
                <a:lnTo>
                  <a:pt x="5616" y="1556"/>
                </a:lnTo>
                <a:lnTo>
                  <a:pt x="5616" y="1556"/>
                </a:lnTo>
                <a:lnTo>
                  <a:pt x="5614" y="1516"/>
                </a:lnTo>
                <a:lnTo>
                  <a:pt x="5610" y="1478"/>
                </a:lnTo>
                <a:lnTo>
                  <a:pt x="5600" y="1444"/>
                </a:lnTo>
                <a:lnTo>
                  <a:pt x="5588" y="1412"/>
                </a:lnTo>
                <a:lnTo>
                  <a:pt x="5572" y="1382"/>
                </a:lnTo>
                <a:lnTo>
                  <a:pt x="5554" y="1354"/>
                </a:lnTo>
                <a:lnTo>
                  <a:pt x="5534" y="1328"/>
                </a:lnTo>
                <a:lnTo>
                  <a:pt x="5512" y="1304"/>
                </a:lnTo>
                <a:lnTo>
                  <a:pt x="5488" y="1282"/>
                </a:lnTo>
                <a:lnTo>
                  <a:pt x="5464" y="1262"/>
                </a:lnTo>
                <a:lnTo>
                  <a:pt x="5438" y="1242"/>
                </a:lnTo>
                <a:lnTo>
                  <a:pt x="5412" y="1224"/>
                </a:lnTo>
                <a:lnTo>
                  <a:pt x="5360" y="1192"/>
                </a:lnTo>
                <a:lnTo>
                  <a:pt x="5308" y="1164"/>
                </a:lnTo>
                <a:lnTo>
                  <a:pt x="5308" y="1164"/>
                </a:lnTo>
                <a:lnTo>
                  <a:pt x="5210" y="1110"/>
                </a:lnTo>
                <a:lnTo>
                  <a:pt x="5166" y="1082"/>
                </a:lnTo>
                <a:lnTo>
                  <a:pt x="5128" y="1058"/>
                </a:lnTo>
                <a:lnTo>
                  <a:pt x="5096" y="1032"/>
                </a:lnTo>
                <a:lnTo>
                  <a:pt x="5082" y="1018"/>
                </a:lnTo>
                <a:lnTo>
                  <a:pt x="5070" y="1006"/>
                </a:lnTo>
                <a:lnTo>
                  <a:pt x="5062" y="992"/>
                </a:lnTo>
                <a:lnTo>
                  <a:pt x="5054" y="978"/>
                </a:lnTo>
                <a:lnTo>
                  <a:pt x="5050" y="964"/>
                </a:lnTo>
                <a:lnTo>
                  <a:pt x="5050" y="950"/>
                </a:lnTo>
                <a:lnTo>
                  <a:pt x="5050" y="950"/>
                </a:lnTo>
                <a:lnTo>
                  <a:pt x="5050" y="938"/>
                </a:lnTo>
                <a:lnTo>
                  <a:pt x="5054" y="928"/>
                </a:lnTo>
                <a:lnTo>
                  <a:pt x="5058" y="918"/>
                </a:lnTo>
                <a:lnTo>
                  <a:pt x="5066" y="908"/>
                </a:lnTo>
                <a:lnTo>
                  <a:pt x="5074" y="898"/>
                </a:lnTo>
                <a:lnTo>
                  <a:pt x="5084" y="890"/>
                </a:lnTo>
                <a:lnTo>
                  <a:pt x="5096" y="884"/>
                </a:lnTo>
                <a:lnTo>
                  <a:pt x="5110" y="876"/>
                </a:lnTo>
                <a:lnTo>
                  <a:pt x="5142" y="866"/>
                </a:lnTo>
                <a:lnTo>
                  <a:pt x="5180" y="858"/>
                </a:lnTo>
                <a:lnTo>
                  <a:pt x="5222" y="854"/>
                </a:lnTo>
                <a:lnTo>
                  <a:pt x="5270" y="852"/>
                </a:lnTo>
                <a:lnTo>
                  <a:pt x="5270" y="852"/>
                </a:lnTo>
                <a:lnTo>
                  <a:pt x="5296" y="854"/>
                </a:lnTo>
                <a:lnTo>
                  <a:pt x="5324" y="856"/>
                </a:lnTo>
                <a:lnTo>
                  <a:pt x="5378" y="862"/>
                </a:lnTo>
                <a:lnTo>
                  <a:pt x="5488" y="882"/>
                </a:lnTo>
                <a:close/>
                <a:moveTo>
                  <a:pt x="6696" y="1894"/>
                </a:moveTo>
                <a:lnTo>
                  <a:pt x="7038" y="1894"/>
                </a:lnTo>
                <a:lnTo>
                  <a:pt x="7038" y="1894"/>
                </a:lnTo>
                <a:lnTo>
                  <a:pt x="7030" y="1774"/>
                </a:lnTo>
                <a:lnTo>
                  <a:pt x="7024" y="1646"/>
                </a:lnTo>
                <a:lnTo>
                  <a:pt x="7020" y="1512"/>
                </a:lnTo>
                <a:lnTo>
                  <a:pt x="7020" y="1444"/>
                </a:lnTo>
                <a:lnTo>
                  <a:pt x="7022" y="1380"/>
                </a:lnTo>
                <a:lnTo>
                  <a:pt x="7042" y="518"/>
                </a:lnTo>
                <a:lnTo>
                  <a:pt x="7046" y="518"/>
                </a:lnTo>
                <a:lnTo>
                  <a:pt x="7046" y="518"/>
                </a:lnTo>
                <a:lnTo>
                  <a:pt x="7168" y="876"/>
                </a:lnTo>
                <a:lnTo>
                  <a:pt x="7304" y="1268"/>
                </a:lnTo>
                <a:lnTo>
                  <a:pt x="7368" y="1458"/>
                </a:lnTo>
                <a:lnTo>
                  <a:pt x="7424" y="1638"/>
                </a:lnTo>
                <a:lnTo>
                  <a:pt x="7448" y="1722"/>
                </a:lnTo>
                <a:lnTo>
                  <a:pt x="7470" y="1800"/>
                </a:lnTo>
                <a:lnTo>
                  <a:pt x="7488" y="1870"/>
                </a:lnTo>
                <a:lnTo>
                  <a:pt x="7504" y="1934"/>
                </a:lnTo>
                <a:lnTo>
                  <a:pt x="7918" y="1894"/>
                </a:lnTo>
                <a:lnTo>
                  <a:pt x="7918" y="1894"/>
                </a:lnTo>
                <a:lnTo>
                  <a:pt x="7954" y="1758"/>
                </a:lnTo>
                <a:lnTo>
                  <a:pt x="8002" y="1596"/>
                </a:lnTo>
                <a:lnTo>
                  <a:pt x="8058" y="1416"/>
                </a:lnTo>
                <a:lnTo>
                  <a:pt x="8120" y="1226"/>
                </a:lnTo>
                <a:lnTo>
                  <a:pt x="8186" y="1032"/>
                </a:lnTo>
                <a:lnTo>
                  <a:pt x="8250" y="844"/>
                </a:lnTo>
                <a:lnTo>
                  <a:pt x="8312" y="670"/>
                </a:lnTo>
                <a:lnTo>
                  <a:pt x="8368" y="518"/>
                </a:lnTo>
                <a:lnTo>
                  <a:pt x="8372" y="518"/>
                </a:lnTo>
                <a:lnTo>
                  <a:pt x="8392" y="1380"/>
                </a:lnTo>
                <a:lnTo>
                  <a:pt x="8392" y="1380"/>
                </a:lnTo>
                <a:lnTo>
                  <a:pt x="8394" y="1476"/>
                </a:lnTo>
                <a:lnTo>
                  <a:pt x="8396" y="1608"/>
                </a:lnTo>
                <a:lnTo>
                  <a:pt x="8394" y="1680"/>
                </a:lnTo>
                <a:lnTo>
                  <a:pt x="8392" y="1754"/>
                </a:lnTo>
                <a:lnTo>
                  <a:pt x="8388" y="1826"/>
                </a:lnTo>
                <a:lnTo>
                  <a:pt x="8382" y="1894"/>
                </a:lnTo>
                <a:lnTo>
                  <a:pt x="8774" y="1894"/>
                </a:lnTo>
                <a:lnTo>
                  <a:pt x="8774" y="1894"/>
                </a:lnTo>
                <a:lnTo>
                  <a:pt x="8760" y="1764"/>
                </a:lnTo>
                <a:lnTo>
                  <a:pt x="8748" y="1634"/>
                </a:lnTo>
                <a:lnTo>
                  <a:pt x="8740" y="1504"/>
                </a:lnTo>
                <a:lnTo>
                  <a:pt x="8736" y="1442"/>
                </a:lnTo>
                <a:lnTo>
                  <a:pt x="8736" y="1380"/>
                </a:lnTo>
                <a:lnTo>
                  <a:pt x="8718" y="710"/>
                </a:lnTo>
                <a:lnTo>
                  <a:pt x="8718" y="150"/>
                </a:lnTo>
                <a:lnTo>
                  <a:pt x="8180" y="150"/>
                </a:lnTo>
                <a:lnTo>
                  <a:pt x="8180" y="150"/>
                </a:lnTo>
                <a:lnTo>
                  <a:pt x="8128" y="302"/>
                </a:lnTo>
                <a:lnTo>
                  <a:pt x="8066" y="482"/>
                </a:lnTo>
                <a:lnTo>
                  <a:pt x="7934" y="892"/>
                </a:lnTo>
                <a:lnTo>
                  <a:pt x="7810" y="1290"/>
                </a:lnTo>
                <a:lnTo>
                  <a:pt x="7760" y="1454"/>
                </a:lnTo>
                <a:lnTo>
                  <a:pt x="7722" y="1582"/>
                </a:lnTo>
                <a:lnTo>
                  <a:pt x="7716" y="1582"/>
                </a:lnTo>
                <a:lnTo>
                  <a:pt x="7716" y="1582"/>
                </a:lnTo>
                <a:lnTo>
                  <a:pt x="7706" y="1532"/>
                </a:lnTo>
                <a:lnTo>
                  <a:pt x="7690" y="1468"/>
                </a:lnTo>
                <a:lnTo>
                  <a:pt x="7642" y="1300"/>
                </a:lnTo>
                <a:lnTo>
                  <a:pt x="7580" y="1098"/>
                </a:lnTo>
                <a:lnTo>
                  <a:pt x="7510" y="876"/>
                </a:lnTo>
                <a:lnTo>
                  <a:pt x="7372" y="446"/>
                </a:lnTo>
                <a:lnTo>
                  <a:pt x="7316" y="272"/>
                </a:lnTo>
                <a:lnTo>
                  <a:pt x="7278" y="150"/>
                </a:lnTo>
                <a:lnTo>
                  <a:pt x="6730" y="150"/>
                </a:lnTo>
                <a:lnTo>
                  <a:pt x="6730" y="150"/>
                </a:lnTo>
                <a:lnTo>
                  <a:pt x="6742" y="366"/>
                </a:lnTo>
                <a:lnTo>
                  <a:pt x="6748" y="466"/>
                </a:lnTo>
                <a:lnTo>
                  <a:pt x="6750" y="546"/>
                </a:lnTo>
                <a:lnTo>
                  <a:pt x="6750" y="546"/>
                </a:lnTo>
                <a:lnTo>
                  <a:pt x="6748" y="644"/>
                </a:lnTo>
                <a:lnTo>
                  <a:pt x="6746" y="696"/>
                </a:lnTo>
                <a:lnTo>
                  <a:pt x="6744" y="748"/>
                </a:lnTo>
                <a:lnTo>
                  <a:pt x="6728" y="1380"/>
                </a:lnTo>
                <a:lnTo>
                  <a:pt x="6728" y="1380"/>
                </a:lnTo>
                <a:lnTo>
                  <a:pt x="6722" y="1532"/>
                </a:lnTo>
                <a:lnTo>
                  <a:pt x="6712" y="1670"/>
                </a:lnTo>
                <a:lnTo>
                  <a:pt x="6696" y="1894"/>
                </a:lnTo>
                <a:close/>
                <a:moveTo>
                  <a:pt x="9868" y="1894"/>
                </a:moveTo>
                <a:lnTo>
                  <a:pt x="10174" y="1894"/>
                </a:lnTo>
                <a:lnTo>
                  <a:pt x="10174" y="1894"/>
                </a:lnTo>
                <a:lnTo>
                  <a:pt x="10160" y="1796"/>
                </a:lnTo>
                <a:lnTo>
                  <a:pt x="10148" y="1690"/>
                </a:lnTo>
                <a:lnTo>
                  <a:pt x="10142" y="1634"/>
                </a:lnTo>
                <a:lnTo>
                  <a:pt x="10138" y="1578"/>
                </a:lnTo>
                <a:lnTo>
                  <a:pt x="10136" y="1522"/>
                </a:lnTo>
                <a:lnTo>
                  <a:pt x="10134" y="1464"/>
                </a:lnTo>
                <a:lnTo>
                  <a:pt x="10134" y="1216"/>
                </a:lnTo>
                <a:lnTo>
                  <a:pt x="10134" y="1216"/>
                </a:lnTo>
                <a:lnTo>
                  <a:pt x="10134" y="1158"/>
                </a:lnTo>
                <a:lnTo>
                  <a:pt x="10134" y="1102"/>
                </a:lnTo>
                <a:lnTo>
                  <a:pt x="10130" y="1046"/>
                </a:lnTo>
                <a:lnTo>
                  <a:pt x="10124" y="992"/>
                </a:lnTo>
                <a:lnTo>
                  <a:pt x="10114" y="938"/>
                </a:lnTo>
                <a:lnTo>
                  <a:pt x="10108" y="914"/>
                </a:lnTo>
                <a:lnTo>
                  <a:pt x="10100" y="888"/>
                </a:lnTo>
                <a:lnTo>
                  <a:pt x="10092" y="864"/>
                </a:lnTo>
                <a:lnTo>
                  <a:pt x="10082" y="840"/>
                </a:lnTo>
                <a:lnTo>
                  <a:pt x="10070" y="818"/>
                </a:lnTo>
                <a:lnTo>
                  <a:pt x="10056" y="796"/>
                </a:lnTo>
                <a:lnTo>
                  <a:pt x="10042" y="776"/>
                </a:lnTo>
                <a:lnTo>
                  <a:pt x="10026" y="756"/>
                </a:lnTo>
                <a:lnTo>
                  <a:pt x="10008" y="738"/>
                </a:lnTo>
                <a:lnTo>
                  <a:pt x="9988" y="720"/>
                </a:lnTo>
                <a:lnTo>
                  <a:pt x="9966" y="702"/>
                </a:lnTo>
                <a:lnTo>
                  <a:pt x="9942" y="686"/>
                </a:lnTo>
                <a:lnTo>
                  <a:pt x="9914" y="672"/>
                </a:lnTo>
                <a:lnTo>
                  <a:pt x="9886" y="660"/>
                </a:lnTo>
                <a:lnTo>
                  <a:pt x="9854" y="648"/>
                </a:lnTo>
                <a:lnTo>
                  <a:pt x="9822" y="638"/>
                </a:lnTo>
                <a:lnTo>
                  <a:pt x="9786" y="628"/>
                </a:lnTo>
                <a:lnTo>
                  <a:pt x="9746" y="622"/>
                </a:lnTo>
                <a:lnTo>
                  <a:pt x="9704" y="616"/>
                </a:lnTo>
                <a:lnTo>
                  <a:pt x="9660" y="612"/>
                </a:lnTo>
                <a:lnTo>
                  <a:pt x="9612" y="608"/>
                </a:lnTo>
                <a:lnTo>
                  <a:pt x="9562" y="608"/>
                </a:lnTo>
                <a:lnTo>
                  <a:pt x="9562" y="608"/>
                </a:lnTo>
                <a:lnTo>
                  <a:pt x="9490" y="610"/>
                </a:lnTo>
                <a:lnTo>
                  <a:pt x="9426" y="612"/>
                </a:lnTo>
                <a:lnTo>
                  <a:pt x="9368" y="618"/>
                </a:lnTo>
                <a:lnTo>
                  <a:pt x="9314" y="624"/>
                </a:lnTo>
                <a:lnTo>
                  <a:pt x="9268" y="632"/>
                </a:lnTo>
                <a:lnTo>
                  <a:pt x="9228" y="640"/>
                </a:lnTo>
                <a:lnTo>
                  <a:pt x="9164" y="654"/>
                </a:lnTo>
                <a:lnTo>
                  <a:pt x="9164" y="886"/>
                </a:lnTo>
                <a:lnTo>
                  <a:pt x="9164" y="886"/>
                </a:lnTo>
                <a:lnTo>
                  <a:pt x="9224" y="874"/>
                </a:lnTo>
                <a:lnTo>
                  <a:pt x="9306" y="860"/>
                </a:lnTo>
                <a:lnTo>
                  <a:pt x="9354" y="852"/>
                </a:lnTo>
                <a:lnTo>
                  <a:pt x="9402" y="846"/>
                </a:lnTo>
                <a:lnTo>
                  <a:pt x="9452" y="842"/>
                </a:lnTo>
                <a:lnTo>
                  <a:pt x="9500" y="840"/>
                </a:lnTo>
                <a:lnTo>
                  <a:pt x="9500" y="840"/>
                </a:lnTo>
                <a:lnTo>
                  <a:pt x="9546" y="842"/>
                </a:lnTo>
                <a:lnTo>
                  <a:pt x="9586" y="844"/>
                </a:lnTo>
                <a:lnTo>
                  <a:pt x="9624" y="850"/>
                </a:lnTo>
                <a:lnTo>
                  <a:pt x="9656" y="856"/>
                </a:lnTo>
                <a:lnTo>
                  <a:pt x="9686" y="864"/>
                </a:lnTo>
                <a:lnTo>
                  <a:pt x="9712" y="874"/>
                </a:lnTo>
                <a:lnTo>
                  <a:pt x="9734" y="886"/>
                </a:lnTo>
                <a:lnTo>
                  <a:pt x="9754" y="898"/>
                </a:lnTo>
                <a:lnTo>
                  <a:pt x="9772" y="914"/>
                </a:lnTo>
                <a:lnTo>
                  <a:pt x="9786" y="930"/>
                </a:lnTo>
                <a:lnTo>
                  <a:pt x="9798" y="946"/>
                </a:lnTo>
                <a:lnTo>
                  <a:pt x="9808" y="966"/>
                </a:lnTo>
                <a:lnTo>
                  <a:pt x="9816" y="986"/>
                </a:lnTo>
                <a:lnTo>
                  <a:pt x="9822" y="1006"/>
                </a:lnTo>
                <a:lnTo>
                  <a:pt x="9826" y="1028"/>
                </a:lnTo>
                <a:lnTo>
                  <a:pt x="9828" y="1050"/>
                </a:lnTo>
                <a:lnTo>
                  <a:pt x="9828" y="1050"/>
                </a:lnTo>
                <a:lnTo>
                  <a:pt x="9762" y="1048"/>
                </a:lnTo>
                <a:lnTo>
                  <a:pt x="9696" y="1046"/>
                </a:lnTo>
                <a:lnTo>
                  <a:pt x="9696" y="1046"/>
                </a:lnTo>
                <a:lnTo>
                  <a:pt x="9622" y="1048"/>
                </a:lnTo>
                <a:lnTo>
                  <a:pt x="9550" y="1054"/>
                </a:lnTo>
                <a:lnTo>
                  <a:pt x="9482" y="1066"/>
                </a:lnTo>
                <a:lnTo>
                  <a:pt x="9416" y="1080"/>
                </a:lnTo>
                <a:lnTo>
                  <a:pt x="9386" y="1088"/>
                </a:lnTo>
                <a:lnTo>
                  <a:pt x="9356" y="1098"/>
                </a:lnTo>
                <a:lnTo>
                  <a:pt x="9326" y="1110"/>
                </a:lnTo>
                <a:lnTo>
                  <a:pt x="9298" y="1120"/>
                </a:lnTo>
                <a:lnTo>
                  <a:pt x="9272" y="1134"/>
                </a:lnTo>
                <a:lnTo>
                  <a:pt x="9246" y="1148"/>
                </a:lnTo>
                <a:lnTo>
                  <a:pt x="9220" y="1162"/>
                </a:lnTo>
                <a:lnTo>
                  <a:pt x="9196" y="1178"/>
                </a:lnTo>
                <a:lnTo>
                  <a:pt x="9174" y="1194"/>
                </a:lnTo>
                <a:lnTo>
                  <a:pt x="9152" y="1210"/>
                </a:lnTo>
                <a:lnTo>
                  <a:pt x="9132" y="1228"/>
                </a:lnTo>
                <a:lnTo>
                  <a:pt x="9114" y="1248"/>
                </a:lnTo>
                <a:lnTo>
                  <a:pt x="9096" y="1268"/>
                </a:lnTo>
                <a:lnTo>
                  <a:pt x="9080" y="1288"/>
                </a:lnTo>
                <a:lnTo>
                  <a:pt x="9066" y="1310"/>
                </a:lnTo>
                <a:lnTo>
                  <a:pt x="9052" y="1334"/>
                </a:lnTo>
                <a:lnTo>
                  <a:pt x="9042" y="1356"/>
                </a:lnTo>
                <a:lnTo>
                  <a:pt x="9030" y="1380"/>
                </a:lnTo>
                <a:lnTo>
                  <a:pt x="9022" y="1406"/>
                </a:lnTo>
                <a:lnTo>
                  <a:pt x="9014" y="1432"/>
                </a:lnTo>
                <a:lnTo>
                  <a:pt x="9008" y="1458"/>
                </a:lnTo>
                <a:lnTo>
                  <a:pt x="9004" y="1486"/>
                </a:lnTo>
                <a:lnTo>
                  <a:pt x="9002" y="1514"/>
                </a:lnTo>
                <a:lnTo>
                  <a:pt x="9002" y="1544"/>
                </a:lnTo>
                <a:lnTo>
                  <a:pt x="9002" y="1544"/>
                </a:lnTo>
                <a:lnTo>
                  <a:pt x="9004" y="1586"/>
                </a:lnTo>
                <a:lnTo>
                  <a:pt x="9010" y="1628"/>
                </a:lnTo>
                <a:lnTo>
                  <a:pt x="9020" y="1668"/>
                </a:lnTo>
                <a:lnTo>
                  <a:pt x="9032" y="1706"/>
                </a:lnTo>
                <a:lnTo>
                  <a:pt x="9050" y="1740"/>
                </a:lnTo>
                <a:lnTo>
                  <a:pt x="9070" y="1772"/>
                </a:lnTo>
                <a:lnTo>
                  <a:pt x="9092" y="1802"/>
                </a:lnTo>
                <a:lnTo>
                  <a:pt x="9118" y="1828"/>
                </a:lnTo>
                <a:lnTo>
                  <a:pt x="9146" y="1852"/>
                </a:lnTo>
                <a:lnTo>
                  <a:pt x="9178" y="1874"/>
                </a:lnTo>
                <a:lnTo>
                  <a:pt x="9212" y="1892"/>
                </a:lnTo>
                <a:lnTo>
                  <a:pt x="9248" y="1908"/>
                </a:lnTo>
                <a:lnTo>
                  <a:pt x="9284" y="1920"/>
                </a:lnTo>
                <a:lnTo>
                  <a:pt x="9324" y="1928"/>
                </a:lnTo>
                <a:lnTo>
                  <a:pt x="9366" y="1932"/>
                </a:lnTo>
                <a:lnTo>
                  <a:pt x="9408" y="1934"/>
                </a:lnTo>
                <a:lnTo>
                  <a:pt x="9408" y="1934"/>
                </a:lnTo>
                <a:lnTo>
                  <a:pt x="9452" y="1934"/>
                </a:lnTo>
                <a:lnTo>
                  <a:pt x="9492" y="1928"/>
                </a:lnTo>
                <a:lnTo>
                  <a:pt x="9530" y="1920"/>
                </a:lnTo>
                <a:lnTo>
                  <a:pt x="9566" y="1910"/>
                </a:lnTo>
                <a:lnTo>
                  <a:pt x="9600" y="1898"/>
                </a:lnTo>
                <a:lnTo>
                  <a:pt x="9632" y="1884"/>
                </a:lnTo>
                <a:lnTo>
                  <a:pt x="9662" y="1866"/>
                </a:lnTo>
                <a:lnTo>
                  <a:pt x="9688" y="1850"/>
                </a:lnTo>
                <a:lnTo>
                  <a:pt x="9714" y="1830"/>
                </a:lnTo>
                <a:lnTo>
                  <a:pt x="9738" y="1810"/>
                </a:lnTo>
                <a:lnTo>
                  <a:pt x="9760" y="1788"/>
                </a:lnTo>
                <a:lnTo>
                  <a:pt x="9780" y="1768"/>
                </a:lnTo>
                <a:lnTo>
                  <a:pt x="9816" y="1724"/>
                </a:lnTo>
                <a:lnTo>
                  <a:pt x="9846" y="1682"/>
                </a:lnTo>
                <a:lnTo>
                  <a:pt x="9850" y="1682"/>
                </a:lnTo>
                <a:lnTo>
                  <a:pt x="9850" y="1682"/>
                </a:lnTo>
                <a:lnTo>
                  <a:pt x="9852" y="1734"/>
                </a:lnTo>
                <a:lnTo>
                  <a:pt x="9856" y="1786"/>
                </a:lnTo>
                <a:lnTo>
                  <a:pt x="9868" y="1894"/>
                </a:lnTo>
                <a:close/>
                <a:moveTo>
                  <a:pt x="9828" y="1312"/>
                </a:moveTo>
                <a:lnTo>
                  <a:pt x="9828" y="1312"/>
                </a:lnTo>
                <a:lnTo>
                  <a:pt x="9828" y="1344"/>
                </a:lnTo>
                <a:lnTo>
                  <a:pt x="9824" y="1374"/>
                </a:lnTo>
                <a:lnTo>
                  <a:pt x="9818" y="1404"/>
                </a:lnTo>
                <a:lnTo>
                  <a:pt x="9810" y="1436"/>
                </a:lnTo>
                <a:lnTo>
                  <a:pt x="9800" y="1466"/>
                </a:lnTo>
                <a:lnTo>
                  <a:pt x="9786" y="1494"/>
                </a:lnTo>
                <a:lnTo>
                  <a:pt x="9772" y="1522"/>
                </a:lnTo>
                <a:lnTo>
                  <a:pt x="9754" y="1548"/>
                </a:lnTo>
                <a:lnTo>
                  <a:pt x="9734" y="1574"/>
                </a:lnTo>
                <a:lnTo>
                  <a:pt x="9710" y="1596"/>
                </a:lnTo>
                <a:lnTo>
                  <a:pt x="9686" y="1616"/>
                </a:lnTo>
                <a:lnTo>
                  <a:pt x="9658" y="1632"/>
                </a:lnTo>
                <a:lnTo>
                  <a:pt x="9628" y="1646"/>
                </a:lnTo>
                <a:lnTo>
                  <a:pt x="9596" y="1656"/>
                </a:lnTo>
                <a:lnTo>
                  <a:pt x="9562" y="1664"/>
                </a:lnTo>
                <a:lnTo>
                  <a:pt x="9526" y="1666"/>
                </a:lnTo>
                <a:lnTo>
                  <a:pt x="9526" y="1666"/>
                </a:lnTo>
                <a:lnTo>
                  <a:pt x="9506" y="1664"/>
                </a:lnTo>
                <a:lnTo>
                  <a:pt x="9486" y="1662"/>
                </a:lnTo>
                <a:lnTo>
                  <a:pt x="9466" y="1658"/>
                </a:lnTo>
                <a:lnTo>
                  <a:pt x="9448" y="1654"/>
                </a:lnTo>
                <a:lnTo>
                  <a:pt x="9432" y="1648"/>
                </a:lnTo>
                <a:lnTo>
                  <a:pt x="9416" y="1640"/>
                </a:lnTo>
                <a:lnTo>
                  <a:pt x="9400" y="1630"/>
                </a:lnTo>
                <a:lnTo>
                  <a:pt x="9388" y="1622"/>
                </a:lnTo>
                <a:lnTo>
                  <a:pt x="9376" y="1610"/>
                </a:lnTo>
                <a:lnTo>
                  <a:pt x="9364" y="1598"/>
                </a:lnTo>
                <a:lnTo>
                  <a:pt x="9354" y="1586"/>
                </a:lnTo>
                <a:lnTo>
                  <a:pt x="9346" y="1572"/>
                </a:lnTo>
                <a:lnTo>
                  <a:pt x="9340" y="1556"/>
                </a:lnTo>
                <a:lnTo>
                  <a:pt x="9336" y="1542"/>
                </a:lnTo>
                <a:lnTo>
                  <a:pt x="9334" y="1526"/>
                </a:lnTo>
                <a:lnTo>
                  <a:pt x="9332" y="1508"/>
                </a:lnTo>
                <a:lnTo>
                  <a:pt x="9332" y="1508"/>
                </a:lnTo>
                <a:lnTo>
                  <a:pt x="9334" y="1482"/>
                </a:lnTo>
                <a:lnTo>
                  <a:pt x="9338" y="1456"/>
                </a:lnTo>
                <a:lnTo>
                  <a:pt x="9346" y="1432"/>
                </a:lnTo>
                <a:lnTo>
                  <a:pt x="9358" y="1408"/>
                </a:lnTo>
                <a:lnTo>
                  <a:pt x="9372" y="1386"/>
                </a:lnTo>
                <a:lnTo>
                  <a:pt x="9388" y="1364"/>
                </a:lnTo>
                <a:lnTo>
                  <a:pt x="9408" y="1346"/>
                </a:lnTo>
                <a:lnTo>
                  <a:pt x="9430" y="1328"/>
                </a:lnTo>
                <a:lnTo>
                  <a:pt x="9454" y="1312"/>
                </a:lnTo>
                <a:lnTo>
                  <a:pt x="9482" y="1296"/>
                </a:lnTo>
                <a:lnTo>
                  <a:pt x="9512" y="1284"/>
                </a:lnTo>
                <a:lnTo>
                  <a:pt x="9544" y="1274"/>
                </a:lnTo>
                <a:lnTo>
                  <a:pt x="9580" y="1266"/>
                </a:lnTo>
                <a:lnTo>
                  <a:pt x="9616" y="1260"/>
                </a:lnTo>
                <a:lnTo>
                  <a:pt x="9656" y="1256"/>
                </a:lnTo>
                <a:lnTo>
                  <a:pt x="9696" y="1254"/>
                </a:lnTo>
                <a:lnTo>
                  <a:pt x="9696" y="1254"/>
                </a:lnTo>
                <a:lnTo>
                  <a:pt x="9730" y="1256"/>
                </a:lnTo>
                <a:lnTo>
                  <a:pt x="9762" y="1260"/>
                </a:lnTo>
                <a:lnTo>
                  <a:pt x="9828" y="1272"/>
                </a:lnTo>
                <a:lnTo>
                  <a:pt x="9828" y="1312"/>
                </a:lnTo>
                <a:close/>
                <a:moveTo>
                  <a:pt x="10446" y="1894"/>
                </a:moveTo>
                <a:lnTo>
                  <a:pt x="10800" y="1894"/>
                </a:lnTo>
                <a:lnTo>
                  <a:pt x="10800" y="1894"/>
                </a:lnTo>
                <a:lnTo>
                  <a:pt x="10792" y="1670"/>
                </a:lnTo>
                <a:lnTo>
                  <a:pt x="10790" y="1562"/>
                </a:lnTo>
                <a:lnTo>
                  <a:pt x="10788" y="1474"/>
                </a:lnTo>
                <a:lnTo>
                  <a:pt x="10788" y="1318"/>
                </a:lnTo>
                <a:lnTo>
                  <a:pt x="10788" y="1318"/>
                </a:lnTo>
                <a:lnTo>
                  <a:pt x="10788" y="1226"/>
                </a:lnTo>
                <a:lnTo>
                  <a:pt x="10790" y="1182"/>
                </a:lnTo>
                <a:lnTo>
                  <a:pt x="10792" y="1142"/>
                </a:lnTo>
                <a:lnTo>
                  <a:pt x="10796" y="1102"/>
                </a:lnTo>
                <a:lnTo>
                  <a:pt x="10802" y="1066"/>
                </a:lnTo>
                <a:lnTo>
                  <a:pt x="10812" y="1032"/>
                </a:lnTo>
                <a:lnTo>
                  <a:pt x="10822" y="1002"/>
                </a:lnTo>
                <a:lnTo>
                  <a:pt x="10838" y="974"/>
                </a:lnTo>
                <a:lnTo>
                  <a:pt x="10846" y="962"/>
                </a:lnTo>
                <a:lnTo>
                  <a:pt x="10856" y="950"/>
                </a:lnTo>
                <a:lnTo>
                  <a:pt x="10866" y="938"/>
                </a:lnTo>
                <a:lnTo>
                  <a:pt x="10878" y="928"/>
                </a:lnTo>
                <a:lnTo>
                  <a:pt x="10890" y="918"/>
                </a:lnTo>
                <a:lnTo>
                  <a:pt x="10904" y="910"/>
                </a:lnTo>
                <a:lnTo>
                  <a:pt x="10920" y="902"/>
                </a:lnTo>
                <a:lnTo>
                  <a:pt x="10936" y="896"/>
                </a:lnTo>
                <a:lnTo>
                  <a:pt x="10954" y="890"/>
                </a:lnTo>
                <a:lnTo>
                  <a:pt x="10974" y="886"/>
                </a:lnTo>
                <a:lnTo>
                  <a:pt x="10994" y="882"/>
                </a:lnTo>
                <a:lnTo>
                  <a:pt x="11016" y="880"/>
                </a:lnTo>
                <a:lnTo>
                  <a:pt x="11064" y="878"/>
                </a:lnTo>
                <a:lnTo>
                  <a:pt x="11064" y="878"/>
                </a:lnTo>
                <a:lnTo>
                  <a:pt x="11090" y="878"/>
                </a:lnTo>
                <a:lnTo>
                  <a:pt x="11116" y="882"/>
                </a:lnTo>
                <a:lnTo>
                  <a:pt x="11168" y="890"/>
                </a:lnTo>
                <a:lnTo>
                  <a:pt x="11152" y="610"/>
                </a:lnTo>
                <a:lnTo>
                  <a:pt x="11152" y="610"/>
                </a:lnTo>
                <a:lnTo>
                  <a:pt x="11128" y="608"/>
                </a:lnTo>
                <a:lnTo>
                  <a:pt x="11102" y="608"/>
                </a:lnTo>
                <a:lnTo>
                  <a:pt x="11102" y="608"/>
                </a:lnTo>
                <a:lnTo>
                  <a:pt x="11074" y="608"/>
                </a:lnTo>
                <a:lnTo>
                  <a:pt x="11048" y="612"/>
                </a:lnTo>
                <a:lnTo>
                  <a:pt x="11022" y="618"/>
                </a:lnTo>
                <a:lnTo>
                  <a:pt x="10994" y="626"/>
                </a:lnTo>
                <a:lnTo>
                  <a:pt x="10968" y="634"/>
                </a:lnTo>
                <a:lnTo>
                  <a:pt x="10942" y="646"/>
                </a:lnTo>
                <a:lnTo>
                  <a:pt x="10918" y="658"/>
                </a:lnTo>
                <a:lnTo>
                  <a:pt x="10894" y="672"/>
                </a:lnTo>
                <a:lnTo>
                  <a:pt x="10870" y="688"/>
                </a:lnTo>
                <a:lnTo>
                  <a:pt x="10848" y="706"/>
                </a:lnTo>
                <a:lnTo>
                  <a:pt x="10828" y="724"/>
                </a:lnTo>
                <a:lnTo>
                  <a:pt x="10808" y="742"/>
                </a:lnTo>
                <a:lnTo>
                  <a:pt x="10792" y="762"/>
                </a:lnTo>
                <a:lnTo>
                  <a:pt x="10776" y="782"/>
                </a:lnTo>
                <a:lnTo>
                  <a:pt x="10762" y="804"/>
                </a:lnTo>
                <a:lnTo>
                  <a:pt x="10752" y="826"/>
                </a:lnTo>
                <a:lnTo>
                  <a:pt x="10746" y="826"/>
                </a:lnTo>
                <a:lnTo>
                  <a:pt x="10746" y="826"/>
                </a:lnTo>
                <a:lnTo>
                  <a:pt x="10732" y="726"/>
                </a:lnTo>
                <a:lnTo>
                  <a:pt x="10722" y="680"/>
                </a:lnTo>
                <a:lnTo>
                  <a:pt x="10712" y="638"/>
                </a:lnTo>
                <a:lnTo>
                  <a:pt x="10384" y="662"/>
                </a:lnTo>
                <a:lnTo>
                  <a:pt x="10384" y="662"/>
                </a:lnTo>
                <a:lnTo>
                  <a:pt x="10412" y="792"/>
                </a:lnTo>
                <a:lnTo>
                  <a:pt x="10424" y="856"/>
                </a:lnTo>
                <a:lnTo>
                  <a:pt x="10436" y="920"/>
                </a:lnTo>
                <a:lnTo>
                  <a:pt x="10444" y="982"/>
                </a:lnTo>
                <a:lnTo>
                  <a:pt x="10452" y="1046"/>
                </a:lnTo>
                <a:lnTo>
                  <a:pt x="10456" y="1112"/>
                </a:lnTo>
                <a:lnTo>
                  <a:pt x="10458" y="1178"/>
                </a:lnTo>
                <a:lnTo>
                  <a:pt x="10458" y="1474"/>
                </a:lnTo>
                <a:lnTo>
                  <a:pt x="10458" y="1474"/>
                </a:lnTo>
                <a:lnTo>
                  <a:pt x="10456" y="1580"/>
                </a:lnTo>
                <a:lnTo>
                  <a:pt x="10454" y="1684"/>
                </a:lnTo>
                <a:lnTo>
                  <a:pt x="10446" y="1894"/>
                </a:lnTo>
                <a:close/>
                <a:moveTo>
                  <a:pt x="11342" y="1894"/>
                </a:moveTo>
                <a:lnTo>
                  <a:pt x="11696" y="1894"/>
                </a:lnTo>
                <a:lnTo>
                  <a:pt x="11696" y="1894"/>
                </a:lnTo>
                <a:lnTo>
                  <a:pt x="11690" y="1764"/>
                </a:lnTo>
                <a:lnTo>
                  <a:pt x="11686" y="1636"/>
                </a:lnTo>
                <a:lnTo>
                  <a:pt x="11684" y="1508"/>
                </a:lnTo>
                <a:lnTo>
                  <a:pt x="11684" y="1380"/>
                </a:lnTo>
                <a:lnTo>
                  <a:pt x="11684" y="466"/>
                </a:lnTo>
                <a:lnTo>
                  <a:pt x="11684" y="466"/>
                </a:lnTo>
                <a:lnTo>
                  <a:pt x="11686" y="364"/>
                </a:lnTo>
                <a:lnTo>
                  <a:pt x="11690" y="256"/>
                </a:lnTo>
                <a:lnTo>
                  <a:pt x="11694" y="136"/>
                </a:lnTo>
                <a:lnTo>
                  <a:pt x="11696" y="0"/>
                </a:lnTo>
                <a:lnTo>
                  <a:pt x="11304" y="26"/>
                </a:lnTo>
                <a:lnTo>
                  <a:pt x="11304" y="26"/>
                </a:lnTo>
                <a:lnTo>
                  <a:pt x="11320" y="130"/>
                </a:lnTo>
                <a:lnTo>
                  <a:pt x="11332" y="232"/>
                </a:lnTo>
                <a:lnTo>
                  <a:pt x="11342" y="332"/>
                </a:lnTo>
                <a:lnTo>
                  <a:pt x="11348" y="426"/>
                </a:lnTo>
                <a:lnTo>
                  <a:pt x="11350" y="512"/>
                </a:lnTo>
                <a:lnTo>
                  <a:pt x="11352" y="588"/>
                </a:lnTo>
                <a:lnTo>
                  <a:pt x="11354" y="698"/>
                </a:lnTo>
                <a:lnTo>
                  <a:pt x="11354" y="1380"/>
                </a:lnTo>
                <a:lnTo>
                  <a:pt x="11354" y="1380"/>
                </a:lnTo>
                <a:lnTo>
                  <a:pt x="11352" y="1516"/>
                </a:lnTo>
                <a:lnTo>
                  <a:pt x="11348" y="1644"/>
                </a:lnTo>
                <a:lnTo>
                  <a:pt x="11344" y="1766"/>
                </a:lnTo>
                <a:lnTo>
                  <a:pt x="11342" y="1894"/>
                </a:lnTo>
                <a:close/>
                <a:moveTo>
                  <a:pt x="12158" y="1894"/>
                </a:moveTo>
                <a:lnTo>
                  <a:pt x="12576" y="1894"/>
                </a:lnTo>
                <a:lnTo>
                  <a:pt x="12576" y="1894"/>
                </a:lnTo>
                <a:lnTo>
                  <a:pt x="12496" y="1800"/>
                </a:lnTo>
                <a:lnTo>
                  <a:pt x="12408" y="1694"/>
                </a:lnTo>
                <a:lnTo>
                  <a:pt x="12316" y="1578"/>
                </a:lnTo>
                <a:lnTo>
                  <a:pt x="12220" y="1452"/>
                </a:lnTo>
                <a:lnTo>
                  <a:pt x="12038" y="1210"/>
                </a:lnTo>
                <a:lnTo>
                  <a:pt x="12162" y="1034"/>
                </a:lnTo>
                <a:lnTo>
                  <a:pt x="12162" y="1034"/>
                </a:lnTo>
                <a:lnTo>
                  <a:pt x="12196" y="984"/>
                </a:lnTo>
                <a:lnTo>
                  <a:pt x="12232" y="936"/>
                </a:lnTo>
                <a:lnTo>
                  <a:pt x="12308" y="838"/>
                </a:lnTo>
                <a:lnTo>
                  <a:pt x="12386" y="738"/>
                </a:lnTo>
                <a:lnTo>
                  <a:pt x="12464" y="638"/>
                </a:lnTo>
                <a:lnTo>
                  <a:pt x="12070" y="662"/>
                </a:lnTo>
                <a:lnTo>
                  <a:pt x="11694" y="1238"/>
                </a:lnTo>
                <a:lnTo>
                  <a:pt x="12158" y="1894"/>
                </a:lnTo>
                <a:close/>
                <a:moveTo>
                  <a:pt x="13626" y="1896"/>
                </a:moveTo>
                <a:lnTo>
                  <a:pt x="13626" y="1626"/>
                </a:lnTo>
                <a:lnTo>
                  <a:pt x="13626" y="1626"/>
                </a:lnTo>
                <a:lnTo>
                  <a:pt x="13558" y="1640"/>
                </a:lnTo>
                <a:lnTo>
                  <a:pt x="13488" y="1652"/>
                </a:lnTo>
                <a:lnTo>
                  <a:pt x="13454" y="1658"/>
                </a:lnTo>
                <a:lnTo>
                  <a:pt x="13418" y="1662"/>
                </a:lnTo>
                <a:lnTo>
                  <a:pt x="13384" y="1664"/>
                </a:lnTo>
                <a:lnTo>
                  <a:pt x="13348" y="1666"/>
                </a:lnTo>
                <a:lnTo>
                  <a:pt x="13348" y="1666"/>
                </a:lnTo>
                <a:lnTo>
                  <a:pt x="13314" y="1664"/>
                </a:lnTo>
                <a:lnTo>
                  <a:pt x="13282" y="1662"/>
                </a:lnTo>
                <a:lnTo>
                  <a:pt x="13250" y="1660"/>
                </a:lnTo>
                <a:lnTo>
                  <a:pt x="13220" y="1656"/>
                </a:lnTo>
                <a:lnTo>
                  <a:pt x="13192" y="1650"/>
                </a:lnTo>
                <a:lnTo>
                  <a:pt x="13166" y="1644"/>
                </a:lnTo>
                <a:lnTo>
                  <a:pt x="13140" y="1636"/>
                </a:lnTo>
                <a:lnTo>
                  <a:pt x="13118" y="1628"/>
                </a:lnTo>
                <a:lnTo>
                  <a:pt x="13094" y="1620"/>
                </a:lnTo>
                <a:lnTo>
                  <a:pt x="13074" y="1610"/>
                </a:lnTo>
                <a:lnTo>
                  <a:pt x="13054" y="1600"/>
                </a:lnTo>
                <a:lnTo>
                  <a:pt x="13036" y="1588"/>
                </a:lnTo>
                <a:lnTo>
                  <a:pt x="13002" y="1564"/>
                </a:lnTo>
                <a:lnTo>
                  <a:pt x="12974" y="1538"/>
                </a:lnTo>
                <a:lnTo>
                  <a:pt x="12950" y="1512"/>
                </a:lnTo>
                <a:lnTo>
                  <a:pt x="12930" y="1484"/>
                </a:lnTo>
                <a:lnTo>
                  <a:pt x="12914" y="1456"/>
                </a:lnTo>
                <a:lnTo>
                  <a:pt x="12900" y="1426"/>
                </a:lnTo>
                <a:lnTo>
                  <a:pt x="12890" y="1400"/>
                </a:lnTo>
                <a:lnTo>
                  <a:pt x="12884" y="1372"/>
                </a:lnTo>
                <a:lnTo>
                  <a:pt x="12878" y="1348"/>
                </a:lnTo>
                <a:lnTo>
                  <a:pt x="12876" y="1326"/>
                </a:lnTo>
                <a:lnTo>
                  <a:pt x="13740" y="1326"/>
                </a:lnTo>
                <a:lnTo>
                  <a:pt x="13740" y="1326"/>
                </a:lnTo>
                <a:lnTo>
                  <a:pt x="13742" y="1246"/>
                </a:lnTo>
                <a:lnTo>
                  <a:pt x="13742" y="1246"/>
                </a:lnTo>
                <a:lnTo>
                  <a:pt x="13742" y="1192"/>
                </a:lnTo>
                <a:lnTo>
                  <a:pt x="13736" y="1136"/>
                </a:lnTo>
                <a:lnTo>
                  <a:pt x="13728" y="1080"/>
                </a:lnTo>
                <a:lnTo>
                  <a:pt x="13716" y="1026"/>
                </a:lnTo>
                <a:lnTo>
                  <a:pt x="13698" y="970"/>
                </a:lnTo>
                <a:lnTo>
                  <a:pt x="13688" y="944"/>
                </a:lnTo>
                <a:lnTo>
                  <a:pt x="13678" y="918"/>
                </a:lnTo>
                <a:lnTo>
                  <a:pt x="13664" y="892"/>
                </a:lnTo>
                <a:lnTo>
                  <a:pt x="13650" y="866"/>
                </a:lnTo>
                <a:lnTo>
                  <a:pt x="13636" y="842"/>
                </a:lnTo>
                <a:lnTo>
                  <a:pt x="13620" y="818"/>
                </a:lnTo>
                <a:lnTo>
                  <a:pt x="13602" y="796"/>
                </a:lnTo>
                <a:lnTo>
                  <a:pt x="13584" y="774"/>
                </a:lnTo>
                <a:lnTo>
                  <a:pt x="13562" y="754"/>
                </a:lnTo>
                <a:lnTo>
                  <a:pt x="13540" y="734"/>
                </a:lnTo>
                <a:lnTo>
                  <a:pt x="13518" y="716"/>
                </a:lnTo>
                <a:lnTo>
                  <a:pt x="13492" y="698"/>
                </a:lnTo>
                <a:lnTo>
                  <a:pt x="13466" y="682"/>
                </a:lnTo>
                <a:lnTo>
                  <a:pt x="13438" y="668"/>
                </a:lnTo>
                <a:lnTo>
                  <a:pt x="13408" y="654"/>
                </a:lnTo>
                <a:lnTo>
                  <a:pt x="13378" y="642"/>
                </a:lnTo>
                <a:lnTo>
                  <a:pt x="13344" y="632"/>
                </a:lnTo>
                <a:lnTo>
                  <a:pt x="13310" y="624"/>
                </a:lnTo>
                <a:lnTo>
                  <a:pt x="13274" y="616"/>
                </a:lnTo>
                <a:lnTo>
                  <a:pt x="13236" y="612"/>
                </a:lnTo>
                <a:lnTo>
                  <a:pt x="13194" y="608"/>
                </a:lnTo>
                <a:lnTo>
                  <a:pt x="13154" y="608"/>
                </a:lnTo>
                <a:lnTo>
                  <a:pt x="13154" y="608"/>
                </a:lnTo>
                <a:lnTo>
                  <a:pt x="13120" y="608"/>
                </a:lnTo>
                <a:lnTo>
                  <a:pt x="13088" y="610"/>
                </a:lnTo>
                <a:lnTo>
                  <a:pt x="13056" y="614"/>
                </a:lnTo>
                <a:lnTo>
                  <a:pt x="13026" y="618"/>
                </a:lnTo>
                <a:lnTo>
                  <a:pt x="12996" y="624"/>
                </a:lnTo>
                <a:lnTo>
                  <a:pt x="12966" y="632"/>
                </a:lnTo>
                <a:lnTo>
                  <a:pt x="12938" y="640"/>
                </a:lnTo>
                <a:lnTo>
                  <a:pt x="12910" y="650"/>
                </a:lnTo>
                <a:lnTo>
                  <a:pt x="12882" y="662"/>
                </a:lnTo>
                <a:lnTo>
                  <a:pt x="12856" y="674"/>
                </a:lnTo>
                <a:lnTo>
                  <a:pt x="12830" y="688"/>
                </a:lnTo>
                <a:lnTo>
                  <a:pt x="12806" y="702"/>
                </a:lnTo>
                <a:lnTo>
                  <a:pt x="12782" y="718"/>
                </a:lnTo>
                <a:lnTo>
                  <a:pt x="12760" y="734"/>
                </a:lnTo>
                <a:lnTo>
                  <a:pt x="12738" y="752"/>
                </a:lnTo>
                <a:lnTo>
                  <a:pt x="12718" y="770"/>
                </a:lnTo>
                <a:lnTo>
                  <a:pt x="12698" y="790"/>
                </a:lnTo>
                <a:lnTo>
                  <a:pt x="12678" y="812"/>
                </a:lnTo>
                <a:lnTo>
                  <a:pt x="12662" y="834"/>
                </a:lnTo>
                <a:lnTo>
                  <a:pt x="12646" y="856"/>
                </a:lnTo>
                <a:lnTo>
                  <a:pt x="12630" y="880"/>
                </a:lnTo>
                <a:lnTo>
                  <a:pt x="12616" y="904"/>
                </a:lnTo>
                <a:lnTo>
                  <a:pt x="12602" y="930"/>
                </a:lnTo>
                <a:lnTo>
                  <a:pt x="12592" y="956"/>
                </a:lnTo>
                <a:lnTo>
                  <a:pt x="12580" y="982"/>
                </a:lnTo>
                <a:lnTo>
                  <a:pt x="12572" y="1010"/>
                </a:lnTo>
                <a:lnTo>
                  <a:pt x="12564" y="1040"/>
                </a:lnTo>
                <a:lnTo>
                  <a:pt x="12558" y="1068"/>
                </a:lnTo>
                <a:lnTo>
                  <a:pt x="12552" y="1098"/>
                </a:lnTo>
                <a:lnTo>
                  <a:pt x="12548" y="1130"/>
                </a:lnTo>
                <a:lnTo>
                  <a:pt x="12546" y="1160"/>
                </a:lnTo>
                <a:lnTo>
                  <a:pt x="12546" y="1192"/>
                </a:lnTo>
                <a:lnTo>
                  <a:pt x="12546" y="1192"/>
                </a:lnTo>
                <a:lnTo>
                  <a:pt x="12546" y="1232"/>
                </a:lnTo>
                <a:lnTo>
                  <a:pt x="12550" y="1272"/>
                </a:lnTo>
                <a:lnTo>
                  <a:pt x="12554" y="1310"/>
                </a:lnTo>
                <a:lnTo>
                  <a:pt x="12560" y="1346"/>
                </a:lnTo>
                <a:lnTo>
                  <a:pt x="12566" y="1382"/>
                </a:lnTo>
                <a:lnTo>
                  <a:pt x="12576" y="1418"/>
                </a:lnTo>
                <a:lnTo>
                  <a:pt x="12586" y="1454"/>
                </a:lnTo>
                <a:lnTo>
                  <a:pt x="12598" y="1488"/>
                </a:lnTo>
                <a:lnTo>
                  <a:pt x="12612" y="1520"/>
                </a:lnTo>
                <a:lnTo>
                  <a:pt x="12626" y="1552"/>
                </a:lnTo>
                <a:lnTo>
                  <a:pt x="12642" y="1584"/>
                </a:lnTo>
                <a:lnTo>
                  <a:pt x="12660" y="1614"/>
                </a:lnTo>
                <a:lnTo>
                  <a:pt x="12680" y="1642"/>
                </a:lnTo>
                <a:lnTo>
                  <a:pt x="12702" y="1670"/>
                </a:lnTo>
                <a:lnTo>
                  <a:pt x="12724" y="1698"/>
                </a:lnTo>
                <a:lnTo>
                  <a:pt x="12748" y="1722"/>
                </a:lnTo>
                <a:lnTo>
                  <a:pt x="12772" y="1746"/>
                </a:lnTo>
                <a:lnTo>
                  <a:pt x="12800" y="1770"/>
                </a:lnTo>
                <a:lnTo>
                  <a:pt x="12828" y="1792"/>
                </a:lnTo>
                <a:lnTo>
                  <a:pt x="12856" y="1812"/>
                </a:lnTo>
                <a:lnTo>
                  <a:pt x="12888" y="1830"/>
                </a:lnTo>
                <a:lnTo>
                  <a:pt x="12920" y="1848"/>
                </a:lnTo>
                <a:lnTo>
                  <a:pt x="12952" y="1864"/>
                </a:lnTo>
                <a:lnTo>
                  <a:pt x="12986" y="1878"/>
                </a:lnTo>
                <a:lnTo>
                  <a:pt x="13022" y="1892"/>
                </a:lnTo>
                <a:lnTo>
                  <a:pt x="13060" y="1902"/>
                </a:lnTo>
                <a:lnTo>
                  <a:pt x="13098" y="1912"/>
                </a:lnTo>
                <a:lnTo>
                  <a:pt x="13138" y="1920"/>
                </a:lnTo>
                <a:lnTo>
                  <a:pt x="13178" y="1926"/>
                </a:lnTo>
                <a:lnTo>
                  <a:pt x="13220" y="1930"/>
                </a:lnTo>
                <a:lnTo>
                  <a:pt x="13264" y="1934"/>
                </a:lnTo>
                <a:lnTo>
                  <a:pt x="13308" y="1934"/>
                </a:lnTo>
                <a:lnTo>
                  <a:pt x="13308" y="1934"/>
                </a:lnTo>
                <a:lnTo>
                  <a:pt x="13388" y="1932"/>
                </a:lnTo>
                <a:lnTo>
                  <a:pt x="13426" y="1930"/>
                </a:lnTo>
                <a:lnTo>
                  <a:pt x="13466" y="1926"/>
                </a:lnTo>
                <a:lnTo>
                  <a:pt x="13506" y="1920"/>
                </a:lnTo>
                <a:lnTo>
                  <a:pt x="13546" y="1912"/>
                </a:lnTo>
                <a:lnTo>
                  <a:pt x="13586" y="1904"/>
                </a:lnTo>
                <a:lnTo>
                  <a:pt x="13626" y="1896"/>
                </a:lnTo>
                <a:close/>
                <a:moveTo>
                  <a:pt x="12876" y="1118"/>
                </a:moveTo>
                <a:lnTo>
                  <a:pt x="12876" y="1118"/>
                </a:lnTo>
                <a:lnTo>
                  <a:pt x="12878" y="1100"/>
                </a:lnTo>
                <a:lnTo>
                  <a:pt x="12884" y="1080"/>
                </a:lnTo>
                <a:lnTo>
                  <a:pt x="12890" y="1062"/>
                </a:lnTo>
                <a:lnTo>
                  <a:pt x="12896" y="1042"/>
                </a:lnTo>
                <a:lnTo>
                  <a:pt x="12906" y="1022"/>
                </a:lnTo>
                <a:lnTo>
                  <a:pt x="12918" y="1002"/>
                </a:lnTo>
                <a:lnTo>
                  <a:pt x="12932" y="982"/>
                </a:lnTo>
                <a:lnTo>
                  <a:pt x="12948" y="964"/>
                </a:lnTo>
                <a:lnTo>
                  <a:pt x="12966" y="946"/>
                </a:lnTo>
                <a:lnTo>
                  <a:pt x="12986" y="930"/>
                </a:lnTo>
                <a:lnTo>
                  <a:pt x="13010" y="914"/>
                </a:lnTo>
                <a:lnTo>
                  <a:pt x="13034" y="902"/>
                </a:lnTo>
                <a:lnTo>
                  <a:pt x="13062" y="892"/>
                </a:lnTo>
                <a:lnTo>
                  <a:pt x="13094" y="884"/>
                </a:lnTo>
                <a:lnTo>
                  <a:pt x="13126" y="878"/>
                </a:lnTo>
                <a:lnTo>
                  <a:pt x="13162" y="878"/>
                </a:lnTo>
                <a:lnTo>
                  <a:pt x="13162" y="878"/>
                </a:lnTo>
                <a:lnTo>
                  <a:pt x="13192" y="878"/>
                </a:lnTo>
                <a:lnTo>
                  <a:pt x="13220" y="884"/>
                </a:lnTo>
                <a:lnTo>
                  <a:pt x="13246" y="890"/>
                </a:lnTo>
                <a:lnTo>
                  <a:pt x="13270" y="900"/>
                </a:lnTo>
                <a:lnTo>
                  <a:pt x="13294" y="912"/>
                </a:lnTo>
                <a:lnTo>
                  <a:pt x="13314" y="928"/>
                </a:lnTo>
                <a:lnTo>
                  <a:pt x="13332" y="944"/>
                </a:lnTo>
                <a:lnTo>
                  <a:pt x="13350" y="960"/>
                </a:lnTo>
                <a:lnTo>
                  <a:pt x="13364" y="978"/>
                </a:lnTo>
                <a:lnTo>
                  <a:pt x="13376" y="998"/>
                </a:lnTo>
                <a:lnTo>
                  <a:pt x="13388" y="1018"/>
                </a:lnTo>
                <a:lnTo>
                  <a:pt x="13396" y="1038"/>
                </a:lnTo>
                <a:lnTo>
                  <a:pt x="13404" y="1058"/>
                </a:lnTo>
                <a:lnTo>
                  <a:pt x="13408" y="1078"/>
                </a:lnTo>
                <a:lnTo>
                  <a:pt x="13412" y="1098"/>
                </a:lnTo>
                <a:lnTo>
                  <a:pt x="13412" y="1118"/>
                </a:lnTo>
                <a:lnTo>
                  <a:pt x="12876" y="1118"/>
                </a:lnTo>
                <a:close/>
                <a:moveTo>
                  <a:pt x="14602" y="1922"/>
                </a:moveTo>
                <a:lnTo>
                  <a:pt x="14622" y="1658"/>
                </a:lnTo>
                <a:lnTo>
                  <a:pt x="14622" y="1658"/>
                </a:lnTo>
                <a:lnTo>
                  <a:pt x="14582" y="1664"/>
                </a:lnTo>
                <a:lnTo>
                  <a:pt x="14540" y="1666"/>
                </a:lnTo>
                <a:lnTo>
                  <a:pt x="14540" y="1666"/>
                </a:lnTo>
                <a:lnTo>
                  <a:pt x="14510" y="1664"/>
                </a:lnTo>
                <a:lnTo>
                  <a:pt x="14482" y="1660"/>
                </a:lnTo>
                <a:lnTo>
                  <a:pt x="14458" y="1654"/>
                </a:lnTo>
                <a:lnTo>
                  <a:pt x="14436" y="1644"/>
                </a:lnTo>
                <a:lnTo>
                  <a:pt x="14418" y="1634"/>
                </a:lnTo>
                <a:lnTo>
                  <a:pt x="14404" y="1620"/>
                </a:lnTo>
                <a:lnTo>
                  <a:pt x="14392" y="1604"/>
                </a:lnTo>
                <a:lnTo>
                  <a:pt x="14382" y="1586"/>
                </a:lnTo>
                <a:lnTo>
                  <a:pt x="14376" y="1566"/>
                </a:lnTo>
                <a:lnTo>
                  <a:pt x="14370" y="1544"/>
                </a:lnTo>
                <a:lnTo>
                  <a:pt x="14366" y="1520"/>
                </a:lnTo>
                <a:lnTo>
                  <a:pt x="14362" y="1496"/>
                </a:lnTo>
                <a:lnTo>
                  <a:pt x="14360" y="1438"/>
                </a:lnTo>
                <a:lnTo>
                  <a:pt x="14360" y="1376"/>
                </a:lnTo>
                <a:lnTo>
                  <a:pt x="14360" y="882"/>
                </a:lnTo>
                <a:lnTo>
                  <a:pt x="14608" y="882"/>
                </a:lnTo>
                <a:lnTo>
                  <a:pt x="14624" y="638"/>
                </a:lnTo>
                <a:lnTo>
                  <a:pt x="14624" y="638"/>
                </a:lnTo>
                <a:lnTo>
                  <a:pt x="14546" y="644"/>
                </a:lnTo>
                <a:lnTo>
                  <a:pt x="14478" y="648"/>
                </a:lnTo>
                <a:lnTo>
                  <a:pt x="14416" y="650"/>
                </a:lnTo>
                <a:lnTo>
                  <a:pt x="14360" y="650"/>
                </a:lnTo>
                <a:lnTo>
                  <a:pt x="14360" y="608"/>
                </a:lnTo>
                <a:lnTo>
                  <a:pt x="14360" y="608"/>
                </a:lnTo>
                <a:lnTo>
                  <a:pt x="14362" y="550"/>
                </a:lnTo>
                <a:lnTo>
                  <a:pt x="14368" y="468"/>
                </a:lnTo>
                <a:lnTo>
                  <a:pt x="14382" y="282"/>
                </a:lnTo>
                <a:lnTo>
                  <a:pt x="14030" y="404"/>
                </a:lnTo>
                <a:lnTo>
                  <a:pt x="14030" y="650"/>
                </a:lnTo>
                <a:lnTo>
                  <a:pt x="13812" y="650"/>
                </a:lnTo>
                <a:lnTo>
                  <a:pt x="13794" y="894"/>
                </a:lnTo>
                <a:lnTo>
                  <a:pt x="13794" y="894"/>
                </a:lnTo>
                <a:lnTo>
                  <a:pt x="13926" y="886"/>
                </a:lnTo>
                <a:lnTo>
                  <a:pt x="13982" y="884"/>
                </a:lnTo>
                <a:lnTo>
                  <a:pt x="14030" y="882"/>
                </a:lnTo>
                <a:lnTo>
                  <a:pt x="14030" y="1496"/>
                </a:lnTo>
                <a:lnTo>
                  <a:pt x="14030" y="1496"/>
                </a:lnTo>
                <a:lnTo>
                  <a:pt x="14030" y="1530"/>
                </a:lnTo>
                <a:lnTo>
                  <a:pt x="14032" y="1564"/>
                </a:lnTo>
                <a:lnTo>
                  <a:pt x="14036" y="1594"/>
                </a:lnTo>
                <a:lnTo>
                  <a:pt x="14042" y="1624"/>
                </a:lnTo>
                <a:lnTo>
                  <a:pt x="14048" y="1652"/>
                </a:lnTo>
                <a:lnTo>
                  <a:pt x="14054" y="1676"/>
                </a:lnTo>
                <a:lnTo>
                  <a:pt x="14064" y="1702"/>
                </a:lnTo>
                <a:lnTo>
                  <a:pt x="14072" y="1724"/>
                </a:lnTo>
                <a:lnTo>
                  <a:pt x="14084" y="1746"/>
                </a:lnTo>
                <a:lnTo>
                  <a:pt x="14096" y="1766"/>
                </a:lnTo>
                <a:lnTo>
                  <a:pt x="14108" y="1784"/>
                </a:lnTo>
                <a:lnTo>
                  <a:pt x="14120" y="1800"/>
                </a:lnTo>
                <a:lnTo>
                  <a:pt x="14136" y="1816"/>
                </a:lnTo>
                <a:lnTo>
                  <a:pt x="14150" y="1832"/>
                </a:lnTo>
                <a:lnTo>
                  <a:pt x="14166" y="1844"/>
                </a:lnTo>
                <a:lnTo>
                  <a:pt x="14180" y="1858"/>
                </a:lnTo>
                <a:lnTo>
                  <a:pt x="14214" y="1878"/>
                </a:lnTo>
                <a:lnTo>
                  <a:pt x="14248" y="1896"/>
                </a:lnTo>
                <a:lnTo>
                  <a:pt x="14284" y="1910"/>
                </a:lnTo>
                <a:lnTo>
                  <a:pt x="14320" y="1920"/>
                </a:lnTo>
                <a:lnTo>
                  <a:pt x="14356" y="1926"/>
                </a:lnTo>
                <a:lnTo>
                  <a:pt x="14390" y="1932"/>
                </a:lnTo>
                <a:lnTo>
                  <a:pt x="14424" y="1934"/>
                </a:lnTo>
                <a:lnTo>
                  <a:pt x="14456" y="1934"/>
                </a:lnTo>
                <a:lnTo>
                  <a:pt x="14456" y="1934"/>
                </a:lnTo>
                <a:lnTo>
                  <a:pt x="14494" y="1934"/>
                </a:lnTo>
                <a:lnTo>
                  <a:pt x="14530" y="1930"/>
                </a:lnTo>
                <a:lnTo>
                  <a:pt x="14602" y="1922"/>
                </a:lnTo>
                <a:close/>
                <a:moveTo>
                  <a:pt x="14854" y="224"/>
                </a:moveTo>
                <a:lnTo>
                  <a:pt x="14854" y="390"/>
                </a:lnTo>
                <a:lnTo>
                  <a:pt x="15210" y="370"/>
                </a:lnTo>
                <a:lnTo>
                  <a:pt x="15210" y="224"/>
                </a:lnTo>
                <a:lnTo>
                  <a:pt x="15210" y="224"/>
                </a:lnTo>
                <a:lnTo>
                  <a:pt x="15210" y="170"/>
                </a:lnTo>
                <a:lnTo>
                  <a:pt x="15212" y="116"/>
                </a:lnTo>
                <a:lnTo>
                  <a:pt x="15214" y="60"/>
                </a:lnTo>
                <a:lnTo>
                  <a:pt x="15220" y="0"/>
                </a:lnTo>
                <a:lnTo>
                  <a:pt x="14842" y="28"/>
                </a:lnTo>
                <a:lnTo>
                  <a:pt x="14842" y="28"/>
                </a:lnTo>
                <a:lnTo>
                  <a:pt x="14850" y="130"/>
                </a:lnTo>
                <a:lnTo>
                  <a:pt x="14854" y="176"/>
                </a:lnTo>
                <a:lnTo>
                  <a:pt x="14854" y="224"/>
                </a:lnTo>
                <a:close/>
                <a:moveTo>
                  <a:pt x="15234" y="1894"/>
                </a:moveTo>
                <a:lnTo>
                  <a:pt x="15234" y="1894"/>
                </a:lnTo>
                <a:lnTo>
                  <a:pt x="15226" y="1684"/>
                </a:lnTo>
                <a:lnTo>
                  <a:pt x="15222" y="1580"/>
                </a:lnTo>
                <a:lnTo>
                  <a:pt x="15222" y="1474"/>
                </a:lnTo>
                <a:lnTo>
                  <a:pt x="15222" y="1026"/>
                </a:lnTo>
                <a:lnTo>
                  <a:pt x="15222" y="1026"/>
                </a:lnTo>
                <a:lnTo>
                  <a:pt x="15222" y="938"/>
                </a:lnTo>
                <a:lnTo>
                  <a:pt x="15224" y="854"/>
                </a:lnTo>
                <a:lnTo>
                  <a:pt x="15234" y="638"/>
                </a:lnTo>
                <a:lnTo>
                  <a:pt x="14854" y="662"/>
                </a:lnTo>
                <a:lnTo>
                  <a:pt x="14854" y="662"/>
                </a:lnTo>
                <a:lnTo>
                  <a:pt x="14870" y="792"/>
                </a:lnTo>
                <a:lnTo>
                  <a:pt x="14880" y="920"/>
                </a:lnTo>
                <a:lnTo>
                  <a:pt x="14888" y="1046"/>
                </a:lnTo>
                <a:lnTo>
                  <a:pt x="14890" y="1112"/>
                </a:lnTo>
                <a:lnTo>
                  <a:pt x="14890" y="1178"/>
                </a:lnTo>
                <a:lnTo>
                  <a:pt x="14890" y="1474"/>
                </a:lnTo>
                <a:lnTo>
                  <a:pt x="14890" y="1474"/>
                </a:lnTo>
                <a:lnTo>
                  <a:pt x="14890" y="1580"/>
                </a:lnTo>
                <a:lnTo>
                  <a:pt x="14886" y="1684"/>
                </a:lnTo>
                <a:lnTo>
                  <a:pt x="14878" y="1894"/>
                </a:lnTo>
                <a:lnTo>
                  <a:pt x="15234" y="1894"/>
                </a:lnTo>
                <a:close/>
                <a:moveTo>
                  <a:pt x="18254" y="632"/>
                </a:moveTo>
                <a:lnTo>
                  <a:pt x="17950" y="650"/>
                </a:lnTo>
                <a:lnTo>
                  <a:pt x="17950" y="650"/>
                </a:lnTo>
                <a:lnTo>
                  <a:pt x="17936" y="730"/>
                </a:lnTo>
                <a:lnTo>
                  <a:pt x="17930" y="770"/>
                </a:lnTo>
                <a:lnTo>
                  <a:pt x="17924" y="812"/>
                </a:lnTo>
                <a:lnTo>
                  <a:pt x="17924" y="812"/>
                </a:lnTo>
                <a:lnTo>
                  <a:pt x="17898" y="784"/>
                </a:lnTo>
                <a:lnTo>
                  <a:pt x="17866" y="752"/>
                </a:lnTo>
                <a:lnTo>
                  <a:pt x="17828" y="718"/>
                </a:lnTo>
                <a:lnTo>
                  <a:pt x="17806" y="700"/>
                </a:lnTo>
                <a:lnTo>
                  <a:pt x="17782" y="684"/>
                </a:lnTo>
                <a:lnTo>
                  <a:pt x="17756" y="670"/>
                </a:lnTo>
                <a:lnTo>
                  <a:pt x="17728" y="654"/>
                </a:lnTo>
                <a:lnTo>
                  <a:pt x="17696" y="642"/>
                </a:lnTo>
                <a:lnTo>
                  <a:pt x="17662" y="630"/>
                </a:lnTo>
                <a:lnTo>
                  <a:pt x="17626" y="620"/>
                </a:lnTo>
                <a:lnTo>
                  <a:pt x="17586" y="614"/>
                </a:lnTo>
                <a:lnTo>
                  <a:pt x="17544" y="610"/>
                </a:lnTo>
                <a:lnTo>
                  <a:pt x="17498" y="608"/>
                </a:lnTo>
                <a:lnTo>
                  <a:pt x="17498" y="608"/>
                </a:lnTo>
                <a:lnTo>
                  <a:pt x="17464" y="608"/>
                </a:lnTo>
                <a:lnTo>
                  <a:pt x="17430" y="610"/>
                </a:lnTo>
                <a:lnTo>
                  <a:pt x="17398" y="614"/>
                </a:lnTo>
                <a:lnTo>
                  <a:pt x="17366" y="620"/>
                </a:lnTo>
                <a:lnTo>
                  <a:pt x="17336" y="626"/>
                </a:lnTo>
                <a:lnTo>
                  <a:pt x="17306" y="634"/>
                </a:lnTo>
                <a:lnTo>
                  <a:pt x="17276" y="644"/>
                </a:lnTo>
                <a:lnTo>
                  <a:pt x="17248" y="654"/>
                </a:lnTo>
                <a:lnTo>
                  <a:pt x="17222" y="666"/>
                </a:lnTo>
                <a:lnTo>
                  <a:pt x="17196" y="680"/>
                </a:lnTo>
                <a:lnTo>
                  <a:pt x="17170" y="694"/>
                </a:lnTo>
                <a:lnTo>
                  <a:pt x="17146" y="710"/>
                </a:lnTo>
                <a:lnTo>
                  <a:pt x="17124" y="728"/>
                </a:lnTo>
                <a:lnTo>
                  <a:pt x="17102" y="746"/>
                </a:lnTo>
                <a:lnTo>
                  <a:pt x="17082" y="764"/>
                </a:lnTo>
                <a:lnTo>
                  <a:pt x="17062" y="786"/>
                </a:lnTo>
                <a:lnTo>
                  <a:pt x="17042" y="806"/>
                </a:lnTo>
                <a:lnTo>
                  <a:pt x="17026" y="830"/>
                </a:lnTo>
                <a:lnTo>
                  <a:pt x="17008" y="854"/>
                </a:lnTo>
                <a:lnTo>
                  <a:pt x="16994" y="878"/>
                </a:lnTo>
                <a:lnTo>
                  <a:pt x="16980" y="904"/>
                </a:lnTo>
                <a:lnTo>
                  <a:pt x="16966" y="930"/>
                </a:lnTo>
                <a:lnTo>
                  <a:pt x="16954" y="958"/>
                </a:lnTo>
                <a:lnTo>
                  <a:pt x="16944" y="986"/>
                </a:lnTo>
                <a:lnTo>
                  <a:pt x="16934" y="1016"/>
                </a:lnTo>
                <a:lnTo>
                  <a:pt x="16926" y="1046"/>
                </a:lnTo>
                <a:lnTo>
                  <a:pt x="16918" y="1076"/>
                </a:lnTo>
                <a:lnTo>
                  <a:pt x="16914" y="1108"/>
                </a:lnTo>
                <a:lnTo>
                  <a:pt x="16908" y="1140"/>
                </a:lnTo>
                <a:lnTo>
                  <a:pt x="16906" y="1174"/>
                </a:lnTo>
                <a:lnTo>
                  <a:pt x="16904" y="1208"/>
                </a:lnTo>
                <a:lnTo>
                  <a:pt x="16902" y="1242"/>
                </a:lnTo>
                <a:lnTo>
                  <a:pt x="16902" y="1242"/>
                </a:lnTo>
                <a:lnTo>
                  <a:pt x="16904" y="1280"/>
                </a:lnTo>
                <a:lnTo>
                  <a:pt x="16906" y="1318"/>
                </a:lnTo>
                <a:lnTo>
                  <a:pt x="16908" y="1354"/>
                </a:lnTo>
                <a:lnTo>
                  <a:pt x="16914" y="1390"/>
                </a:lnTo>
                <a:lnTo>
                  <a:pt x="16918" y="1424"/>
                </a:lnTo>
                <a:lnTo>
                  <a:pt x="16926" y="1458"/>
                </a:lnTo>
                <a:lnTo>
                  <a:pt x="16934" y="1490"/>
                </a:lnTo>
                <a:lnTo>
                  <a:pt x="16944" y="1522"/>
                </a:lnTo>
                <a:lnTo>
                  <a:pt x="16954" y="1554"/>
                </a:lnTo>
                <a:lnTo>
                  <a:pt x="16966" y="1584"/>
                </a:lnTo>
                <a:lnTo>
                  <a:pt x="16980" y="1612"/>
                </a:lnTo>
                <a:lnTo>
                  <a:pt x="16994" y="1640"/>
                </a:lnTo>
                <a:lnTo>
                  <a:pt x="17008" y="1668"/>
                </a:lnTo>
                <a:lnTo>
                  <a:pt x="17024" y="1694"/>
                </a:lnTo>
                <a:lnTo>
                  <a:pt x="17042" y="1718"/>
                </a:lnTo>
                <a:lnTo>
                  <a:pt x="17060" y="1742"/>
                </a:lnTo>
                <a:lnTo>
                  <a:pt x="17080" y="1764"/>
                </a:lnTo>
                <a:lnTo>
                  <a:pt x="17100" y="1784"/>
                </a:lnTo>
                <a:lnTo>
                  <a:pt x="17122" y="1804"/>
                </a:lnTo>
                <a:lnTo>
                  <a:pt x="17144" y="1824"/>
                </a:lnTo>
                <a:lnTo>
                  <a:pt x="17166" y="1840"/>
                </a:lnTo>
                <a:lnTo>
                  <a:pt x="17192" y="1856"/>
                </a:lnTo>
                <a:lnTo>
                  <a:pt x="17216" y="1870"/>
                </a:lnTo>
                <a:lnTo>
                  <a:pt x="17242" y="1884"/>
                </a:lnTo>
                <a:lnTo>
                  <a:pt x="17270" y="1896"/>
                </a:lnTo>
                <a:lnTo>
                  <a:pt x="17298" y="1906"/>
                </a:lnTo>
                <a:lnTo>
                  <a:pt x="17326" y="1914"/>
                </a:lnTo>
                <a:lnTo>
                  <a:pt x="17354" y="1922"/>
                </a:lnTo>
                <a:lnTo>
                  <a:pt x="17386" y="1928"/>
                </a:lnTo>
                <a:lnTo>
                  <a:pt x="17416" y="1932"/>
                </a:lnTo>
                <a:lnTo>
                  <a:pt x="17448" y="1934"/>
                </a:lnTo>
                <a:lnTo>
                  <a:pt x="17480" y="1934"/>
                </a:lnTo>
                <a:lnTo>
                  <a:pt x="17480" y="1934"/>
                </a:lnTo>
                <a:lnTo>
                  <a:pt x="17530" y="1934"/>
                </a:lnTo>
                <a:lnTo>
                  <a:pt x="17574" y="1928"/>
                </a:lnTo>
                <a:lnTo>
                  <a:pt x="17616" y="1922"/>
                </a:lnTo>
                <a:lnTo>
                  <a:pt x="17654" y="1912"/>
                </a:lnTo>
                <a:lnTo>
                  <a:pt x="17688" y="1900"/>
                </a:lnTo>
                <a:lnTo>
                  <a:pt x="17718" y="1886"/>
                </a:lnTo>
                <a:lnTo>
                  <a:pt x="17746" y="1870"/>
                </a:lnTo>
                <a:lnTo>
                  <a:pt x="17770" y="1854"/>
                </a:lnTo>
                <a:lnTo>
                  <a:pt x="17794" y="1836"/>
                </a:lnTo>
                <a:lnTo>
                  <a:pt x="17812" y="1818"/>
                </a:lnTo>
                <a:lnTo>
                  <a:pt x="17830" y="1798"/>
                </a:lnTo>
                <a:lnTo>
                  <a:pt x="17846" y="1778"/>
                </a:lnTo>
                <a:lnTo>
                  <a:pt x="17860" y="1760"/>
                </a:lnTo>
                <a:lnTo>
                  <a:pt x="17872" y="1740"/>
                </a:lnTo>
                <a:lnTo>
                  <a:pt x="17894" y="1702"/>
                </a:lnTo>
                <a:lnTo>
                  <a:pt x="17900" y="1702"/>
                </a:lnTo>
                <a:lnTo>
                  <a:pt x="17900" y="1796"/>
                </a:lnTo>
                <a:lnTo>
                  <a:pt x="17900" y="1796"/>
                </a:lnTo>
                <a:lnTo>
                  <a:pt x="17898" y="1842"/>
                </a:lnTo>
                <a:lnTo>
                  <a:pt x="17896" y="1886"/>
                </a:lnTo>
                <a:lnTo>
                  <a:pt x="17892" y="1928"/>
                </a:lnTo>
                <a:lnTo>
                  <a:pt x="17886" y="1968"/>
                </a:lnTo>
                <a:lnTo>
                  <a:pt x="17876" y="2004"/>
                </a:lnTo>
                <a:lnTo>
                  <a:pt x="17862" y="2038"/>
                </a:lnTo>
                <a:lnTo>
                  <a:pt x="17854" y="2054"/>
                </a:lnTo>
                <a:lnTo>
                  <a:pt x="17846" y="2070"/>
                </a:lnTo>
                <a:lnTo>
                  <a:pt x="17836" y="2084"/>
                </a:lnTo>
                <a:lnTo>
                  <a:pt x="17824" y="2098"/>
                </a:lnTo>
                <a:lnTo>
                  <a:pt x="17812" y="2110"/>
                </a:lnTo>
                <a:lnTo>
                  <a:pt x="17798" y="2122"/>
                </a:lnTo>
                <a:lnTo>
                  <a:pt x="17782" y="2134"/>
                </a:lnTo>
                <a:lnTo>
                  <a:pt x="17764" y="2146"/>
                </a:lnTo>
                <a:lnTo>
                  <a:pt x="17746" y="2156"/>
                </a:lnTo>
                <a:lnTo>
                  <a:pt x="17726" y="2164"/>
                </a:lnTo>
                <a:lnTo>
                  <a:pt x="17706" y="2172"/>
                </a:lnTo>
                <a:lnTo>
                  <a:pt x="17682" y="2180"/>
                </a:lnTo>
                <a:lnTo>
                  <a:pt x="17658" y="2186"/>
                </a:lnTo>
                <a:lnTo>
                  <a:pt x="17630" y="2192"/>
                </a:lnTo>
                <a:lnTo>
                  <a:pt x="17572" y="2202"/>
                </a:lnTo>
                <a:lnTo>
                  <a:pt x="17504" y="2208"/>
                </a:lnTo>
                <a:lnTo>
                  <a:pt x="17430" y="2208"/>
                </a:lnTo>
                <a:lnTo>
                  <a:pt x="17430" y="2208"/>
                </a:lnTo>
                <a:lnTo>
                  <a:pt x="17380" y="2208"/>
                </a:lnTo>
                <a:lnTo>
                  <a:pt x="17330" y="2206"/>
                </a:lnTo>
                <a:lnTo>
                  <a:pt x="17280" y="2200"/>
                </a:lnTo>
                <a:lnTo>
                  <a:pt x="17230" y="2196"/>
                </a:lnTo>
                <a:lnTo>
                  <a:pt x="17132" y="2182"/>
                </a:lnTo>
                <a:lnTo>
                  <a:pt x="17032" y="2168"/>
                </a:lnTo>
                <a:lnTo>
                  <a:pt x="17042" y="2442"/>
                </a:lnTo>
                <a:lnTo>
                  <a:pt x="17042" y="2442"/>
                </a:lnTo>
                <a:lnTo>
                  <a:pt x="17140" y="2456"/>
                </a:lnTo>
                <a:lnTo>
                  <a:pt x="17236" y="2468"/>
                </a:lnTo>
                <a:lnTo>
                  <a:pt x="17334" y="2476"/>
                </a:lnTo>
                <a:lnTo>
                  <a:pt x="17382" y="2478"/>
                </a:lnTo>
                <a:lnTo>
                  <a:pt x="17432" y="2478"/>
                </a:lnTo>
                <a:lnTo>
                  <a:pt x="17432" y="2478"/>
                </a:lnTo>
                <a:lnTo>
                  <a:pt x="17530" y="2476"/>
                </a:lnTo>
                <a:lnTo>
                  <a:pt x="17576" y="2474"/>
                </a:lnTo>
                <a:lnTo>
                  <a:pt x="17622" y="2470"/>
                </a:lnTo>
                <a:lnTo>
                  <a:pt x="17666" y="2464"/>
                </a:lnTo>
                <a:lnTo>
                  <a:pt x="17706" y="2458"/>
                </a:lnTo>
                <a:lnTo>
                  <a:pt x="17746" y="2450"/>
                </a:lnTo>
                <a:lnTo>
                  <a:pt x="17784" y="2440"/>
                </a:lnTo>
                <a:lnTo>
                  <a:pt x="17820" y="2430"/>
                </a:lnTo>
                <a:lnTo>
                  <a:pt x="17856" y="2418"/>
                </a:lnTo>
                <a:lnTo>
                  <a:pt x="17888" y="2406"/>
                </a:lnTo>
                <a:lnTo>
                  <a:pt x="17920" y="2392"/>
                </a:lnTo>
                <a:lnTo>
                  <a:pt x="17950" y="2376"/>
                </a:lnTo>
                <a:lnTo>
                  <a:pt x="17978" y="2358"/>
                </a:lnTo>
                <a:lnTo>
                  <a:pt x="18004" y="2340"/>
                </a:lnTo>
                <a:lnTo>
                  <a:pt x="18030" y="2320"/>
                </a:lnTo>
                <a:lnTo>
                  <a:pt x="18052" y="2300"/>
                </a:lnTo>
                <a:lnTo>
                  <a:pt x="18074" y="2276"/>
                </a:lnTo>
                <a:lnTo>
                  <a:pt x="18094" y="2252"/>
                </a:lnTo>
                <a:lnTo>
                  <a:pt x="18112" y="2226"/>
                </a:lnTo>
                <a:lnTo>
                  <a:pt x="18130" y="2200"/>
                </a:lnTo>
                <a:lnTo>
                  <a:pt x="18144" y="2170"/>
                </a:lnTo>
                <a:lnTo>
                  <a:pt x="18158" y="2140"/>
                </a:lnTo>
                <a:lnTo>
                  <a:pt x="18172" y="2108"/>
                </a:lnTo>
                <a:lnTo>
                  <a:pt x="18182" y="2076"/>
                </a:lnTo>
                <a:lnTo>
                  <a:pt x="18192" y="2040"/>
                </a:lnTo>
                <a:lnTo>
                  <a:pt x="18200" y="2004"/>
                </a:lnTo>
                <a:lnTo>
                  <a:pt x="18206" y="1966"/>
                </a:lnTo>
                <a:lnTo>
                  <a:pt x="18210" y="1926"/>
                </a:lnTo>
                <a:lnTo>
                  <a:pt x="18214" y="1884"/>
                </a:lnTo>
                <a:lnTo>
                  <a:pt x="18216" y="1840"/>
                </a:lnTo>
                <a:lnTo>
                  <a:pt x="18218" y="1796"/>
                </a:lnTo>
                <a:lnTo>
                  <a:pt x="18218" y="1796"/>
                </a:lnTo>
                <a:lnTo>
                  <a:pt x="18216" y="1646"/>
                </a:lnTo>
                <a:lnTo>
                  <a:pt x="18212" y="1488"/>
                </a:lnTo>
                <a:lnTo>
                  <a:pt x="18206" y="1346"/>
                </a:lnTo>
                <a:lnTo>
                  <a:pt x="18206" y="1242"/>
                </a:lnTo>
                <a:lnTo>
                  <a:pt x="18206" y="1242"/>
                </a:lnTo>
                <a:lnTo>
                  <a:pt x="18206" y="1186"/>
                </a:lnTo>
                <a:lnTo>
                  <a:pt x="18210" y="1116"/>
                </a:lnTo>
                <a:lnTo>
                  <a:pt x="18222" y="954"/>
                </a:lnTo>
                <a:lnTo>
                  <a:pt x="18238" y="784"/>
                </a:lnTo>
                <a:lnTo>
                  <a:pt x="18254" y="632"/>
                </a:lnTo>
                <a:close/>
                <a:moveTo>
                  <a:pt x="17234" y="1244"/>
                </a:moveTo>
                <a:lnTo>
                  <a:pt x="17234" y="1244"/>
                </a:lnTo>
                <a:lnTo>
                  <a:pt x="17234" y="1204"/>
                </a:lnTo>
                <a:lnTo>
                  <a:pt x="17238" y="1166"/>
                </a:lnTo>
                <a:lnTo>
                  <a:pt x="17246" y="1128"/>
                </a:lnTo>
                <a:lnTo>
                  <a:pt x="17254" y="1094"/>
                </a:lnTo>
                <a:lnTo>
                  <a:pt x="17266" y="1062"/>
                </a:lnTo>
                <a:lnTo>
                  <a:pt x="17282" y="1032"/>
                </a:lnTo>
                <a:lnTo>
                  <a:pt x="17298" y="1004"/>
                </a:lnTo>
                <a:lnTo>
                  <a:pt x="17318" y="978"/>
                </a:lnTo>
                <a:lnTo>
                  <a:pt x="17342" y="956"/>
                </a:lnTo>
                <a:lnTo>
                  <a:pt x="17366" y="936"/>
                </a:lnTo>
                <a:lnTo>
                  <a:pt x="17394" y="918"/>
                </a:lnTo>
                <a:lnTo>
                  <a:pt x="17424" y="904"/>
                </a:lnTo>
                <a:lnTo>
                  <a:pt x="17456" y="892"/>
                </a:lnTo>
                <a:lnTo>
                  <a:pt x="17490" y="884"/>
                </a:lnTo>
                <a:lnTo>
                  <a:pt x="17526" y="878"/>
                </a:lnTo>
                <a:lnTo>
                  <a:pt x="17566" y="878"/>
                </a:lnTo>
                <a:lnTo>
                  <a:pt x="17566" y="878"/>
                </a:lnTo>
                <a:lnTo>
                  <a:pt x="17604" y="878"/>
                </a:lnTo>
                <a:lnTo>
                  <a:pt x="17638" y="884"/>
                </a:lnTo>
                <a:lnTo>
                  <a:pt x="17672" y="890"/>
                </a:lnTo>
                <a:lnTo>
                  <a:pt x="17702" y="900"/>
                </a:lnTo>
                <a:lnTo>
                  <a:pt x="17730" y="914"/>
                </a:lnTo>
                <a:lnTo>
                  <a:pt x="17756" y="930"/>
                </a:lnTo>
                <a:lnTo>
                  <a:pt x="17780" y="948"/>
                </a:lnTo>
                <a:lnTo>
                  <a:pt x="17802" y="970"/>
                </a:lnTo>
                <a:lnTo>
                  <a:pt x="17822" y="994"/>
                </a:lnTo>
                <a:lnTo>
                  <a:pt x="17838" y="1022"/>
                </a:lnTo>
                <a:lnTo>
                  <a:pt x="17854" y="1052"/>
                </a:lnTo>
                <a:lnTo>
                  <a:pt x="17866" y="1084"/>
                </a:lnTo>
                <a:lnTo>
                  <a:pt x="17874" y="1120"/>
                </a:lnTo>
                <a:lnTo>
                  <a:pt x="17882" y="1158"/>
                </a:lnTo>
                <a:lnTo>
                  <a:pt x="17886" y="1198"/>
                </a:lnTo>
                <a:lnTo>
                  <a:pt x="17886" y="1242"/>
                </a:lnTo>
                <a:lnTo>
                  <a:pt x="17886" y="1242"/>
                </a:lnTo>
                <a:lnTo>
                  <a:pt x="17886" y="1288"/>
                </a:lnTo>
                <a:lnTo>
                  <a:pt x="17882" y="1334"/>
                </a:lnTo>
                <a:lnTo>
                  <a:pt x="17874" y="1376"/>
                </a:lnTo>
                <a:lnTo>
                  <a:pt x="17866" y="1416"/>
                </a:lnTo>
                <a:lnTo>
                  <a:pt x="17854" y="1452"/>
                </a:lnTo>
                <a:lnTo>
                  <a:pt x="17840" y="1488"/>
                </a:lnTo>
                <a:lnTo>
                  <a:pt x="17824" y="1520"/>
                </a:lnTo>
                <a:lnTo>
                  <a:pt x="17804" y="1550"/>
                </a:lnTo>
                <a:lnTo>
                  <a:pt x="17782" y="1576"/>
                </a:lnTo>
                <a:lnTo>
                  <a:pt x="17758" y="1598"/>
                </a:lnTo>
                <a:lnTo>
                  <a:pt x="17732" y="1618"/>
                </a:lnTo>
                <a:lnTo>
                  <a:pt x="17702" y="1636"/>
                </a:lnTo>
                <a:lnTo>
                  <a:pt x="17672" y="1648"/>
                </a:lnTo>
                <a:lnTo>
                  <a:pt x="17638" y="1658"/>
                </a:lnTo>
                <a:lnTo>
                  <a:pt x="17602" y="1664"/>
                </a:lnTo>
                <a:lnTo>
                  <a:pt x="17564" y="1666"/>
                </a:lnTo>
                <a:lnTo>
                  <a:pt x="17564" y="1666"/>
                </a:lnTo>
                <a:lnTo>
                  <a:pt x="17528" y="1664"/>
                </a:lnTo>
                <a:lnTo>
                  <a:pt x="17492" y="1658"/>
                </a:lnTo>
                <a:lnTo>
                  <a:pt x="17460" y="1648"/>
                </a:lnTo>
                <a:lnTo>
                  <a:pt x="17428" y="1634"/>
                </a:lnTo>
                <a:lnTo>
                  <a:pt x="17400" y="1616"/>
                </a:lnTo>
                <a:lnTo>
                  <a:pt x="17372" y="1596"/>
                </a:lnTo>
                <a:lnTo>
                  <a:pt x="17346" y="1572"/>
                </a:lnTo>
                <a:lnTo>
                  <a:pt x="17324" y="1544"/>
                </a:lnTo>
                <a:lnTo>
                  <a:pt x="17304" y="1516"/>
                </a:lnTo>
                <a:lnTo>
                  <a:pt x="17286" y="1484"/>
                </a:lnTo>
                <a:lnTo>
                  <a:pt x="17270" y="1448"/>
                </a:lnTo>
                <a:lnTo>
                  <a:pt x="17256" y="1412"/>
                </a:lnTo>
                <a:lnTo>
                  <a:pt x="17246" y="1372"/>
                </a:lnTo>
                <a:lnTo>
                  <a:pt x="17240" y="1332"/>
                </a:lnTo>
                <a:lnTo>
                  <a:pt x="17234" y="1288"/>
                </a:lnTo>
                <a:lnTo>
                  <a:pt x="17234" y="1244"/>
                </a:lnTo>
                <a:lnTo>
                  <a:pt x="17234" y="1244"/>
                </a:lnTo>
                <a:close/>
                <a:moveTo>
                  <a:pt x="15510" y="1894"/>
                </a:moveTo>
                <a:lnTo>
                  <a:pt x="15866" y="1894"/>
                </a:lnTo>
                <a:lnTo>
                  <a:pt x="15866" y="1894"/>
                </a:lnTo>
                <a:lnTo>
                  <a:pt x="15858" y="1670"/>
                </a:lnTo>
                <a:lnTo>
                  <a:pt x="15854" y="1562"/>
                </a:lnTo>
                <a:lnTo>
                  <a:pt x="15852" y="1474"/>
                </a:lnTo>
                <a:lnTo>
                  <a:pt x="15852" y="1318"/>
                </a:lnTo>
                <a:lnTo>
                  <a:pt x="15852" y="1318"/>
                </a:lnTo>
                <a:lnTo>
                  <a:pt x="15854" y="1264"/>
                </a:lnTo>
                <a:lnTo>
                  <a:pt x="15856" y="1214"/>
                </a:lnTo>
                <a:lnTo>
                  <a:pt x="15860" y="1168"/>
                </a:lnTo>
                <a:lnTo>
                  <a:pt x="15864" y="1124"/>
                </a:lnTo>
                <a:lnTo>
                  <a:pt x="15872" y="1084"/>
                </a:lnTo>
                <a:lnTo>
                  <a:pt x="15880" y="1048"/>
                </a:lnTo>
                <a:lnTo>
                  <a:pt x="15892" y="1016"/>
                </a:lnTo>
                <a:lnTo>
                  <a:pt x="15906" y="986"/>
                </a:lnTo>
                <a:lnTo>
                  <a:pt x="15922" y="960"/>
                </a:lnTo>
                <a:lnTo>
                  <a:pt x="15940" y="938"/>
                </a:lnTo>
                <a:lnTo>
                  <a:pt x="15962" y="920"/>
                </a:lnTo>
                <a:lnTo>
                  <a:pt x="15986" y="904"/>
                </a:lnTo>
                <a:lnTo>
                  <a:pt x="16014" y="892"/>
                </a:lnTo>
                <a:lnTo>
                  <a:pt x="16046" y="884"/>
                </a:lnTo>
                <a:lnTo>
                  <a:pt x="16080" y="878"/>
                </a:lnTo>
                <a:lnTo>
                  <a:pt x="16118" y="878"/>
                </a:lnTo>
                <a:lnTo>
                  <a:pt x="16118" y="878"/>
                </a:lnTo>
                <a:lnTo>
                  <a:pt x="16146" y="878"/>
                </a:lnTo>
                <a:lnTo>
                  <a:pt x="16172" y="884"/>
                </a:lnTo>
                <a:lnTo>
                  <a:pt x="16196" y="892"/>
                </a:lnTo>
                <a:lnTo>
                  <a:pt x="16218" y="902"/>
                </a:lnTo>
                <a:lnTo>
                  <a:pt x="16238" y="918"/>
                </a:lnTo>
                <a:lnTo>
                  <a:pt x="16254" y="934"/>
                </a:lnTo>
                <a:lnTo>
                  <a:pt x="16268" y="954"/>
                </a:lnTo>
                <a:lnTo>
                  <a:pt x="16282" y="976"/>
                </a:lnTo>
                <a:lnTo>
                  <a:pt x="16292" y="1000"/>
                </a:lnTo>
                <a:lnTo>
                  <a:pt x="16302" y="1028"/>
                </a:lnTo>
                <a:lnTo>
                  <a:pt x="16310" y="1058"/>
                </a:lnTo>
                <a:lnTo>
                  <a:pt x="16316" y="1088"/>
                </a:lnTo>
                <a:lnTo>
                  <a:pt x="16320" y="1122"/>
                </a:lnTo>
                <a:lnTo>
                  <a:pt x="16322" y="1158"/>
                </a:lnTo>
                <a:lnTo>
                  <a:pt x="16324" y="1196"/>
                </a:lnTo>
                <a:lnTo>
                  <a:pt x="16326" y="1234"/>
                </a:lnTo>
                <a:lnTo>
                  <a:pt x="16326" y="1474"/>
                </a:lnTo>
                <a:lnTo>
                  <a:pt x="16326" y="1474"/>
                </a:lnTo>
                <a:lnTo>
                  <a:pt x="16326" y="1580"/>
                </a:lnTo>
                <a:lnTo>
                  <a:pt x="16330" y="1684"/>
                </a:lnTo>
                <a:lnTo>
                  <a:pt x="16338" y="1894"/>
                </a:lnTo>
                <a:lnTo>
                  <a:pt x="16680" y="1894"/>
                </a:lnTo>
                <a:lnTo>
                  <a:pt x="16680" y="1894"/>
                </a:lnTo>
                <a:lnTo>
                  <a:pt x="16670" y="1784"/>
                </a:lnTo>
                <a:lnTo>
                  <a:pt x="16662" y="1670"/>
                </a:lnTo>
                <a:lnTo>
                  <a:pt x="16658" y="1562"/>
                </a:lnTo>
                <a:lnTo>
                  <a:pt x="16656" y="1474"/>
                </a:lnTo>
                <a:lnTo>
                  <a:pt x="16656" y="1186"/>
                </a:lnTo>
                <a:lnTo>
                  <a:pt x="16656" y="1186"/>
                </a:lnTo>
                <a:lnTo>
                  <a:pt x="16654" y="1122"/>
                </a:lnTo>
                <a:lnTo>
                  <a:pt x="16650" y="1060"/>
                </a:lnTo>
                <a:lnTo>
                  <a:pt x="16644" y="1002"/>
                </a:lnTo>
                <a:lnTo>
                  <a:pt x="16634" y="948"/>
                </a:lnTo>
                <a:lnTo>
                  <a:pt x="16622" y="896"/>
                </a:lnTo>
                <a:lnTo>
                  <a:pt x="16606" y="848"/>
                </a:lnTo>
                <a:lnTo>
                  <a:pt x="16586" y="806"/>
                </a:lnTo>
                <a:lnTo>
                  <a:pt x="16576" y="784"/>
                </a:lnTo>
                <a:lnTo>
                  <a:pt x="16564" y="766"/>
                </a:lnTo>
                <a:lnTo>
                  <a:pt x="16552" y="748"/>
                </a:lnTo>
                <a:lnTo>
                  <a:pt x="16538" y="730"/>
                </a:lnTo>
                <a:lnTo>
                  <a:pt x="16524" y="714"/>
                </a:lnTo>
                <a:lnTo>
                  <a:pt x="16508" y="698"/>
                </a:lnTo>
                <a:lnTo>
                  <a:pt x="16492" y="684"/>
                </a:lnTo>
                <a:lnTo>
                  <a:pt x="16474" y="672"/>
                </a:lnTo>
                <a:lnTo>
                  <a:pt x="16456" y="660"/>
                </a:lnTo>
                <a:lnTo>
                  <a:pt x="16436" y="648"/>
                </a:lnTo>
                <a:lnTo>
                  <a:pt x="16416" y="640"/>
                </a:lnTo>
                <a:lnTo>
                  <a:pt x="16396" y="632"/>
                </a:lnTo>
                <a:lnTo>
                  <a:pt x="16372" y="624"/>
                </a:lnTo>
                <a:lnTo>
                  <a:pt x="16350" y="618"/>
                </a:lnTo>
                <a:lnTo>
                  <a:pt x="16324" y="614"/>
                </a:lnTo>
                <a:lnTo>
                  <a:pt x="16300" y="610"/>
                </a:lnTo>
                <a:lnTo>
                  <a:pt x="16272" y="608"/>
                </a:lnTo>
                <a:lnTo>
                  <a:pt x="16244" y="608"/>
                </a:lnTo>
                <a:lnTo>
                  <a:pt x="16244" y="608"/>
                </a:lnTo>
                <a:lnTo>
                  <a:pt x="16200" y="610"/>
                </a:lnTo>
                <a:lnTo>
                  <a:pt x="16158" y="614"/>
                </a:lnTo>
                <a:lnTo>
                  <a:pt x="16120" y="620"/>
                </a:lnTo>
                <a:lnTo>
                  <a:pt x="16084" y="628"/>
                </a:lnTo>
                <a:lnTo>
                  <a:pt x="16050" y="638"/>
                </a:lnTo>
                <a:lnTo>
                  <a:pt x="16020" y="650"/>
                </a:lnTo>
                <a:lnTo>
                  <a:pt x="15992" y="664"/>
                </a:lnTo>
                <a:lnTo>
                  <a:pt x="15966" y="680"/>
                </a:lnTo>
                <a:lnTo>
                  <a:pt x="15940" y="696"/>
                </a:lnTo>
                <a:lnTo>
                  <a:pt x="15918" y="712"/>
                </a:lnTo>
                <a:lnTo>
                  <a:pt x="15896" y="730"/>
                </a:lnTo>
                <a:lnTo>
                  <a:pt x="15876" y="748"/>
                </a:lnTo>
                <a:lnTo>
                  <a:pt x="15838" y="784"/>
                </a:lnTo>
                <a:lnTo>
                  <a:pt x="15804" y="818"/>
                </a:lnTo>
                <a:lnTo>
                  <a:pt x="15804" y="818"/>
                </a:lnTo>
                <a:lnTo>
                  <a:pt x="15792" y="770"/>
                </a:lnTo>
                <a:lnTo>
                  <a:pt x="15782" y="724"/>
                </a:lnTo>
                <a:lnTo>
                  <a:pt x="15772" y="680"/>
                </a:lnTo>
                <a:lnTo>
                  <a:pt x="15760" y="638"/>
                </a:lnTo>
                <a:lnTo>
                  <a:pt x="15448" y="662"/>
                </a:lnTo>
                <a:lnTo>
                  <a:pt x="15448" y="662"/>
                </a:lnTo>
                <a:lnTo>
                  <a:pt x="15476" y="792"/>
                </a:lnTo>
                <a:lnTo>
                  <a:pt x="15490" y="856"/>
                </a:lnTo>
                <a:lnTo>
                  <a:pt x="15500" y="920"/>
                </a:lnTo>
                <a:lnTo>
                  <a:pt x="15510" y="982"/>
                </a:lnTo>
                <a:lnTo>
                  <a:pt x="15516" y="1046"/>
                </a:lnTo>
                <a:lnTo>
                  <a:pt x="15520" y="1112"/>
                </a:lnTo>
                <a:lnTo>
                  <a:pt x="15522" y="1178"/>
                </a:lnTo>
                <a:lnTo>
                  <a:pt x="15522" y="1474"/>
                </a:lnTo>
                <a:lnTo>
                  <a:pt x="15522" y="1474"/>
                </a:lnTo>
                <a:lnTo>
                  <a:pt x="15522" y="1580"/>
                </a:lnTo>
                <a:lnTo>
                  <a:pt x="15518" y="1684"/>
                </a:lnTo>
                <a:lnTo>
                  <a:pt x="15510" y="189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82920" tIns="41460" rIns="82920" bIns="41460" numCol="1" anchor="t" anchorCtr="0" compatLnSpc="1">
            <a:prstTxWarp prst="textNoShape">
              <a:avLst/>
            </a:prstTxWarp>
          </a:bodyPr>
          <a:lstStyle/>
          <a:p>
            <a:endParaRPr lang="en-GB" sz="1632" dirty="0">
              <a:solidFill>
                <a:srgbClr val="222223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6E70D1-FA3D-43B6-88EE-B8AF5D0F4A94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4056918914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resentation - Cover -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162735" y="162706"/>
            <a:ext cx="11884699" cy="6531153"/>
          </a:xfrm>
          <a:prstGeom prst="rect">
            <a:avLst/>
          </a:prstGeom>
          <a:solidFill>
            <a:schemeClr val="accent2"/>
          </a:solidFill>
        </p:spPr>
        <p:txBody>
          <a:bodyPr>
            <a:normAutofit/>
          </a:bodyPr>
          <a:lstStyle>
            <a:lvl1pPr marL="0" indent="0">
              <a:buNone/>
              <a:defRPr sz="1723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place image (or select frame and copy/paste image into it)</a:t>
            </a:r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9867" y="4082107"/>
            <a:ext cx="5582136" cy="1249243"/>
          </a:xfrm>
          <a:prstGeom prst="rect">
            <a:avLst/>
          </a:prstGeom>
        </p:spPr>
        <p:txBody>
          <a:bodyPr wrap="square" lIns="82819" tIns="41410" rIns="82819" bIns="41410">
            <a:noAutofit/>
          </a:bodyPr>
          <a:lstStyle>
            <a:lvl1pPr marL="0" indent="0">
              <a:spcBef>
                <a:spcPts val="1252"/>
              </a:spcBef>
              <a:buNone/>
              <a:defRPr sz="1723">
                <a:solidFill>
                  <a:schemeClr val="tx1"/>
                </a:solidFill>
              </a:defRPr>
            </a:lvl1pPr>
            <a:lvl2pPr marL="476844" indent="0">
              <a:buNone/>
              <a:defRPr>
                <a:solidFill>
                  <a:schemeClr val="bg1"/>
                </a:solidFill>
              </a:defRPr>
            </a:lvl2pPr>
            <a:lvl3pPr marL="953687" indent="0">
              <a:buNone/>
              <a:defRPr>
                <a:solidFill>
                  <a:schemeClr val="bg1"/>
                </a:solidFill>
              </a:defRPr>
            </a:lvl3pPr>
            <a:lvl4pPr marL="1430531" indent="0">
              <a:buNone/>
              <a:defRPr>
                <a:solidFill>
                  <a:schemeClr val="bg1"/>
                </a:solidFill>
              </a:defRPr>
            </a:lvl4pPr>
            <a:lvl5pPr marL="1907375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9867" y="3494311"/>
            <a:ext cx="3245342" cy="474505"/>
          </a:xfrm>
          <a:prstGeom prst="rect">
            <a:avLst/>
          </a:prstGeom>
          <a:solidFill>
            <a:schemeClr val="tx1"/>
          </a:solidFill>
        </p:spPr>
        <p:txBody>
          <a:bodyPr wrap="none" lIns="82819" tIns="41410" rIns="82819" bIns="41410" rtlCol="0" anchor="t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lang="en-GB" sz="254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subtit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89867" y="2141077"/>
            <a:ext cx="2942491" cy="613929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89" b="0" cap="all" baseline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Title line 2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489867" y="1482810"/>
            <a:ext cx="2942491" cy="613929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89" b="0" cap="all" baseline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Title line 1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89865" y="5452712"/>
            <a:ext cx="5591011" cy="357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r>
              <a:rPr lang="en-GB" sz="1088" dirty="0">
                <a:solidFill>
                  <a:schemeClr val="tx1"/>
                </a:solidFill>
                <a:latin typeface="Calibri" pitchFamily="34" charset="0"/>
              </a:rPr>
              <a:t>© 2016 Ipsos.  All rights reserved. Contains Ipsos' Confidential and Proprietary information and may not be disclosed or reproduced without the prior written consent of Ipsos.</a:t>
            </a:r>
            <a:endParaRPr lang="en-GB" sz="1088" dirty="0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663052" y="6711426"/>
            <a:ext cx="386521" cy="1271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5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5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5" y="6032000"/>
            <a:ext cx="445939" cy="359168"/>
          </a:xfrm>
          <a:prstGeom prst="rect">
            <a:avLst/>
          </a:prstGeom>
        </p:spPr>
      </p:pic>
      <p:pic>
        <p:nvPicPr>
          <p:cNvPr id="17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7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3E8EC89-6F2D-4D73-B2B1-E594E99E2F9C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956508824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ly - v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162735" y="162703"/>
            <a:ext cx="11884699" cy="326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1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489866" y="4965178"/>
            <a:ext cx="11213925" cy="903565"/>
          </a:xfrm>
          <a:prstGeom prst="rect">
            <a:avLst/>
          </a:prstGeom>
        </p:spPr>
        <p:txBody>
          <a:bodyPr wrap="square" lIns="82819" tIns="41410" rIns="82819" bIns="41410">
            <a:normAutofit/>
          </a:bodyPr>
          <a:lstStyle>
            <a:lvl1pPr marL="0" indent="0">
              <a:spcBef>
                <a:spcPts val="1252"/>
              </a:spcBef>
              <a:buNone/>
              <a:defRPr sz="1723">
                <a:solidFill>
                  <a:schemeClr val="tx1"/>
                </a:solidFill>
              </a:defRPr>
            </a:lvl1pPr>
            <a:lvl2pPr marL="476844" indent="0">
              <a:buNone/>
              <a:defRPr>
                <a:solidFill>
                  <a:schemeClr val="bg1"/>
                </a:solidFill>
              </a:defRPr>
            </a:lvl2pPr>
            <a:lvl3pPr marL="953687" indent="0">
              <a:buNone/>
              <a:defRPr>
                <a:solidFill>
                  <a:schemeClr val="bg1"/>
                </a:solidFill>
              </a:defRPr>
            </a:lvl3pPr>
            <a:lvl4pPr marL="1430531" indent="0">
              <a:buNone/>
              <a:defRPr>
                <a:solidFill>
                  <a:schemeClr val="bg1"/>
                </a:solidFill>
              </a:defRPr>
            </a:lvl4pPr>
            <a:lvl5pPr marL="1907375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162738" y="162705"/>
            <a:ext cx="11865093" cy="31846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51" baseline="0"/>
            </a:lvl1pPr>
          </a:lstStyle>
          <a:p>
            <a:r>
              <a:rPr lang="en-GB" dirty="0"/>
              <a:t>Picture placeholder – insert image here</a:t>
            </a:r>
          </a:p>
        </p:txBody>
      </p:sp>
      <p:sp>
        <p:nvSpPr>
          <p:cNvPr id="11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1" rIns="130583" bIns="65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89865" y="3733914"/>
            <a:ext cx="3899496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>
              <a:buFontTx/>
              <a:buNone/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9867" y="4357071"/>
            <a:ext cx="3150790" cy="3908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0" bIns="0" rtlCol="0">
            <a:spAutoFit/>
          </a:bodyPr>
          <a:lstStyle>
            <a:lvl1pPr>
              <a:defRPr lang="en-US" sz="254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1" y="3347371"/>
            <a:ext cx="12105683" cy="163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1" rIns="130583" bIns="65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663052" y="6711426"/>
            <a:ext cx="386521" cy="1271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5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5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5" y="6032000"/>
            <a:ext cx="445939" cy="359168"/>
          </a:xfrm>
          <a:prstGeom prst="rect">
            <a:avLst/>
          </a:prstGeom>
        </p:spPr>
      </p:pic>
      <p:pic>
        <p:nvPicPr>
          <p:cNvPr id="15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7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C94EBC2-84CF-4165-84AA-A499153D9F5C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581294090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Full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9866" y="2027855"/>
            <a:ext cx="11163933" cy="38337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102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89747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9031073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, Full, Base, Source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489866" y="1998597"/>
            <a:ext cx="11163933" cy="338972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44" indent="0">
              <a:buFontTx/>
              <a:buNone/>
              <a:defRPr/>
            </a:lvl2pPr>
            <a:lvl3pPr marL="953688" indent="0">
              <a:buFontTx/>
              <a:buNone/>
              <a:defRPr/>
            </a:lvl3pPr>
            <a:lvl4pPr marL="1430532" indent="0">
              <a:buFontTx/>
              <a:buNone/>
              <a:defRPr/>
            </a:lvl4pPr>
            <a:lvl5pPr marL="190737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14038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44" indent="0">
              <a:buFontTx/>
              <a:buNone/>
              <a:defRPr/>
            </a:lvl2pPr>
            <a:lvl3pPr marL="953688" indent="0">
              <a:buFontTx/>
              <a:buNone/>
              <a:defRPr/>
            </a:lvl3pPr>
            <a:lvl4pPr marL="1430532" indent="0">
              <a:buFontTx/>
              <a:buNone/>
              <a:defRPr/>
            </a:lvl4pPr>
            <a:lvl5pPr marL="190737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102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89747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2205385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9866" y="489775"/>
            <a:ext cx="7645741" cy="50247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09837" y="331099"/>
            <a:ext cx="8967721" cy="59021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53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0202" y="1851257"/>
            <a:ext cx="10493855" cy="35240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005048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1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1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nb-NO" altLang="nb-NO" dirty="0"/>
          </a:p>
        </p:txBody>
      </p:sp>
    </p:spTree>
    <p:extLst>
      <p:ext uri="{BB962C8B-B14F-4D97-AF65-F5344CB8AC3E}">
        <p14:creationId xmlns:p14="http://schemas.microsoft.com/office/powerpoint/2010/main" val="324650083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-1" y="-11955"/>
            <a:ext cx="4987364" cy="6869955"/>
          </a:xfrm>
          <a:custGeom>
            <a:avLst/>
            <a:gdLst>
              <a:gd name="connsiteX0" fmla="*/ 0 w 4000500"/>
              <a:gd name="connsiteY0" fmla="*/ 0 h 5143500"/>
              <a:gd name="connsiteX1" fmla="*/ 4000500 w 4000500"/>
              <a:gd name="connsiteY1" fmla="*/ 0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4000500"/>
              <a:gd name="connsiteY0" fmla="*/ 0 h 5143500"/>
              <a:gd name="connsiteX1" fmla="*/ 432547 w 4000500"/>
              <a:gd name="connsiteY1" fmla="*/ 8964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3740523"/>
              <a:gd name="connsiteY0" fmla="*/ 0 h 5143500"/>
              <a:gd name="connsiteX1" fmla="*/ 432547 w 3740523"/>
              <a:gd name="connsiteY1" fmla="*/ 8964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0 h 5143500"/>
              <a:gd name="connsiteX1" fmla="*/ 441511 w 3740523"/>
              <a:gd name="connsiteY1" fmla="*/ 17929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8966 h 5152466"/>
              <a:gd name="connsiteX1" fmla="*/ 441511 w 3740523"/>
              <a:gd name="connsiteY1" fmla="*/ 0 h 5152466"/>
              <a:gd name="connsiteX2" fmla="*/ 3740523 w 3740523"/>
              <a:gd name="connsiteY2" fmla="*/ 5152466 h 5152466"/>
              <a:gd name="connsiteX3" fmla="*/ 0 w 3740523"/>
              <a:gd name="connsiteY3" fmla="*/ 5152466 h 5152466"/>
              <a:gd name="connsiteX4" fmla="*/ 0 w 3740523"/>
              <a:gd name="connsiteY4" fmla="*/ 8966 h 5152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523" h="5152466">
                <a:moveTo>
                  <a:pt x="0" y="8966"/>
                </a:moveTo>
                <a:lnTo>
                  <a:pt x="441511" y="0"/>
                </a:lnTo>
                <a:lnTo>
                  <a:pt x="3740523" y="5152466"/>
                </a:lnTo>
                <a:lnTo>
                  <a:pt x="0" y="5152466"/>
                </a:lnTo>
                <a:lnTo>
                  <a:pt x="0" y="8966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68001" y="2829183"/>
            <a:ext cx="5114700" cy="759119"/>
          </a:xfrm>
        </p:spPr>
        <p:txBody>
          <a:bodyPr anchor="ctr"/>
          <a:lstStyle>
            <a:lvl1pPr>
              <a:defRPr sz="4933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68001" y="3819109"/>
            <a:ext cx="6265412" cy="17764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>
                    <a:lumMod val="75000"/>
                  </a:schemeClr>
                </a:solidFill>
              </a:defRPr>
            </a:lvl1pPr>
            <a:lvl2pPr marL="4320" indent="0" algn="l">
              <a:spcBef>
                <a:spcPts val="0"/>
              </a:spcBef>
              <a:buNone/>
              <a:tabLst/>
              <a:defRPr baseline="0">
                <a:solidFill>
                  <a:schemeClr val="bg2">
                    <a:lumMod val="75000"/>
                  </a:schemeClr>
                </a:solidFill>
              </a:defRPr>
            </a:lvl2pPr>
            <a:lvl3pPr marL="12323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64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80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97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313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929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568001" y="1852084"/>
            <a:ext cx="6265412" cy="849939"/>
          </a:xfrm>
        </p:spPr>
        <p:txBody>
          <a:bodyPr anchor="b">
            <a:normAutofit/>
          </a:bodyPr>
          <a:lstStyle>
            <a:lvl1pPr>
              <a:defRPr sz="2933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10252048" y="897171"/>
            <a:ext cx="1553701" cy="844549"/>
          </a:xfrm>
          <a:solidFill>
            <a:schemeClr val="bg1"/>
          </a:solidFill>
        </p:spPr>
        <p:txBody>
          <a:bodyPr/>
          <a:lstStyle>
            <a:lvl1pPr algn="ctr">
              <a:defRPr sz="1867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9749" y="6169896"/>
            <a:ext cx="747175" cy="34692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67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7F034911-0302-4AAB-AEF0-815419E292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5568001" y="5375267"/>
            <a:ext cx="6265412" cy="794629"/>
          </a:xfrm>
          <a:prstGeom prst="rect">
            <a:avLst/>
          </a:prstGeom>
        </p:spPr>
        <p:txBody>
          <a:bodyPr lIns="0" tIns="0" rIns="0" bIns="0"/>
          <a:lstStyle>
            <a:lvl1pPr>
              <a:defRPr sz="1333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© 2015 Ipsos.  All rights reserved. Contains Ipsos' Confidential and Proprietary information and may not be disclosed or reproduced without the prior written consent of Ipsos.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319512" y="6249103"/>
            <a:ext cx="409584" cy="317340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72"/>
              </a:spcBef>
            </a:pPr>
            <a:fld id="{01990C03-C3A3-48FE-AF6D-3AE397C89625}" type="slidenum">
              <a:rPr lang="en-GB" sz="1333">
                <a:solidFill>
                  <a:schemeClr val="bg1"/>
                </a:solidFill>
              </a:rPr>
              <a:pPr>
                <a:lnSpc>
                  <a:spcPct val="85000"/>
                </a:lnSpc>
                <a:spcBef>
                  <a:spcPts val="272"/>
                </a:spcBef>
              </a:pPr>
              <a:t>‹#›</a:t>
            </a:fld>
            <a:endParaRPr lang="en-GB" sz="1333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80539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2001" y="914434"/>
            <a:ext cx="7661871" cy="50244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001" y="331098"/>
            <a:ext cx="8957556" cy="590215"/>
          </a:xfrm>
        </p:spPr>
        <p:txBody>
          <a:bodyPr anchor="b">
            <a:noAutofit/>
          </a:bodyPr>
          <a:lstStyle>
            <a:lvl1pPr marL="0" indent="0">
              <a:buNone/>
              <a:defRPr sz="2533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99465" y="5620954"/>
            <a:ext cx="8957433" cy="424383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72"/>
              </a:spcBef>
              <a:defRPr sz="1333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8736428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Disposition personnalisé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IPSOS_GAMECHANGERS_blue.png">
            <a:extLst>
              <a:ext uri="{FF2B5EF4-FFF2-40B4-BE49-F238E27FC236}">
                <a16:creationId xmlns:a16="http://schemas.microsoft.com/office/drawing/2014/main" id="{A467E844-BFF1-46BE-B799-192C7ECADA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88" t="-9671" b="-1"/>
          <a:stretch/>
        </p:blipFill>
        <p:spPr>
          <a:xfrm>
            <a:off x="11512498" y="6172039"/>
            <a:ext cx="497207" cy="469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69533"/>
      </p:ext>
    </p:extLst>
  </p:cSld>
  <p:clrMapOvr>
    <a:masterClrMapping/>
  </p:clrMapOvr>
  <p:transition advClick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2974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92847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16:9 Cover Colou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gray">
          <a:xfrm>
            <a:off x="162734" y="162705"/>
            <a:ext cx="11878055" cy="65311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90640" y="6720064"/>
            <a:ext cx="656795" cy="990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635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635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5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2149" y="6265180"/>
            <a:ext cx="2145323" cy="294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322196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73966-71B5-054B-A84F-6C4BEB9F782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21899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99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9557" y="6409099"/>
            <a:ext cx="360037" cy="365125"/>
          </a:xfrm>
        </p:spPr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351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- Cover -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9867" y="2943718"/>
            <a:ext cx="3078087" cy="468349"/>
          </a:xfrm>
          <a:prstGeom prst="rect">
            <a:avLst/>
          </a:prstGeom>
          <a:solidFill>
            <a:srgbClr val="000000"/>
          </a:solidFill>
        </p:spPr>
        <p:txBody>
          <a:bodyPr wrap="none" lIns="0" tIns="41410" rIns="0" bIns="41410" rtlCol="0" anchor="t">
            <a:spAutoFit/>
          </a:bodyPr>
          <a:lstStyle>
            <a:lvl1pPr marL="0" indent="0">
              <a:lnSpc>
                <a:spcPts val="3047"/>
              </a:lnSpc>
              <a:spcAft>
                <a:spcPts val="0"/>
              </a:spcAft>
              <a:buNone/>
              <a:defRPr lang="en-GB" sz="254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subtit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89865" y="2158653"/>
            <a:ext cx="2942491" cy="614100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cap="all" baseline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Title line 2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489865" y="1482723"/>
            <a:ext cx="2942491" cy="614100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cap="all" baseline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Title line 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663052" y="6711425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57674F0-7228-463A-B456-020DAFFCD045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  <p:pic>
        <p:nvPicPr>
          <p:cNvPr id="20" name="Picture 19" descr="IPSOS_GAMECHANGERS_blue.png">
            <a:extLst>
              <a:ext uri="{FF2B5EF4-FFF2-40B4-BE49-F238E27FC236}">
                <a16:creationId xmlns:a16="http://schemas.microsoft.com/office/drawing/2014/main" id="{A65C61B2-9B4F-4093-ADA2-55F9FB1747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1003084" y="6127877"/>
            <a:ext cx="1452017" cy="291592"/>
          </a:xfrm>
          <a:prstGeom prst="rect">
            <a:avLst/>
          </a:prstGeom>
        </p:spPr>
      </p:pic>
      <p:sp>
        <p:nvSpPr>
          <p:cNvPr id="21" name="Footer Placeholder 10">
            <a:extLst>
              <a:ext uri="{FF2B5EF4-FFF2-40B4-BE49-F238E27FC236}">
                <a16:creationId xmlns:a16="http://schemas.microsoft.com/office/drawing/2014/main" id="{C24BEF5F-45E8-49DC-AB15-06D38B4843D3}"/>
              </a:ext>
            </a:extLst>
          </p:cNvPr>
          <p:cNvSpPr txBox="1">
            <a:spLocks/>
          </p:cNvSpPr>
          <p:nvPr userDrawn="1"/>
        </p:nvSpPr>
        <p:spPr>
          <a:xfrm>
            <a:off x="10066225" y="6171885"/>
            <a:ext cx="1959319" cy="5259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51802" rtl="0" eaLnBrk="1" latinLnBrk="0" hangingPunct="1">
              <a:defRPr sz="1000" kern="1200">
                <a:solidFill>
                  <a:schemeClr val="accent4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259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704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606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507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408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310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211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3891"/>
            <a:r>
              <a:rPr lang="en-US" sz="635" dirty="0">
                <a:solidFill>
                  <a:prstClr val="white"/>
                </a:solidFill>
                <a:latin typeface="Segoe UI"/>
              </a:rPr>
              <a:t>© 2018 Ipsos.  All rights reserved. Contains Ipsos' Confidential and Proprietary information and may not be disclosed or reproduced without the prior written consent of Ipsos</a:t>
            </a:r>
            <a:r>
              <a:rPr lang="en-US" sz="816" dirty="0">
                <a:solidFill>
                  <a:prstClr val="white"/>
                </a:solidFill>
                <a:latin typeface="Segoe UI"/>
              </a:rPr>
              <a:t>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F0D8AEE-08DC-42CC-9210-5925829A0819}"/>
              </a:ext>
            </a:extLst>
          </p:cNvPr>
          <p:cNvSpPr/>
          <p:nvPr userDrawn="1"/>
        </p:nvSpPr>
        <p:spPr bwMode="gray">
          <a:xfrm>
            <a:off x="9887943" y="279966"/>
            <a:ext cx="1535288" cy="20978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96000" rIns="48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r>
              <a:rPr lang="nb-NO" sz="1333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orsk Monito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B8448D7-2D7B-430D-8B86-8557A7C2CAF8}"/>
              </a:ext>
            </a:extLst>
          </p:cNvPr>
          <p:cNvSpPr/>
          <p:nvPr userDrawn="1"/>
        </p:nvSpPr>
        <p:spPr bwMode="gray">
          <a:xfrm>
            <a:off x="11416223" y="279966"/>
            <a:ext cx="496532" cy="20978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96000" rIns="48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r>
              <a:rPr lang="nb-NO" sz="1333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1470873680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with image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9665" y="2188113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2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10317" y="2855222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3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10971" y="3522599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baseline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4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9013" y="1526790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1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663052" y="6711425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5823661"/>
            <a:ext cx="445939" cy="359168"/>
          </a:xfrm>
          <a:prstGeom prst="rect">
            <a:avLst/>
          </a:prstGeom>
        </p:spPr>
      </p:pic>
      <p:pic>
        <p:nvPicPr>
          <p:cNvPr id="16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003245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ABE4403-49FB-4592-87D4-5C34EF076590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A36F028F-F74F-45CD-AAC2-E9C4AF2ACE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971" y="332733"/>
            <a:ext cx="645012" cy="1107996"/>
          </a:xfrm>
          <a:prstGeom prst="rect">
            <a:avLst/>
          </a:prstGeom>
          <a:noFill/>
        </p:spPr>
        <p:txBody>
          <a:bodyPr vert="horz" wrap="none" lIns="72000" tIns="0" rIns="72000" bIns="0" rtlCol="0" anchor="ctr"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7253" b="1" baseline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>
              <a:spcBef>
                <a:spcPct val="0"/>
              </a:spcBef>
              <a:buNone/>
            </a:pPr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2981CD3-C6C6-46FF-A7B8-C571027C1942}"/>
              </a:ext>
            </a:extLst>
          </p:cNvPr>
          <p:cNvSpPr/>
          <p:nvPr userDrawn="1"/>
        </p:nvSpPr>
        <p:spPr bwMode="gray">
          <a:xfrm>
            <a:off x="9887943" y="279966"/>
            <a:ext cx="1535288" cy="20978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96000" rIns="48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r>
              <a:rPr lang="nb-NO" sz="1333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orsk Monito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1DFA7C0-BFF8-4D74-9C80-A35A5BA906C4}"/>
              </a:ext>
            </a:extLst>
          </p:cNvPr>
          <p:cNvSpPr/>
          <p:nvPr userDrawn="1"/>
        </p:nvSpPr>
        <p:spPr bwMode="gray">
          <a:xfrm>
            <a:off x="11416223" y="284564"/>
            <a:ext cx="496532" cy="20518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96000" rIns="48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r>
              <a:rPr lang="nb-NO" sz="1333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2725665815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ly - v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162735" y="162703"/>
            <a:ext cx="11884699" cy="326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32" tIns="75116" rIns="150232" bIns="751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489866" y="4965178"/>
            <a:ext cx="11213925" cy="903565"/>
          </a:xfrm>
          <a:prstGeom prst="rect">
            <a:avLst/>
          </a:prstGeom>
        </p:spPr>
        <p:txBody>
          <a:bodyPr wrap="square" lIns="82819" tIns="41410" rIns="82819" bIns="41410">
            <a:normAutofit/>
          </a:bodyPr>
          <a:lstStyle>
            <a:lvl1pPr marL="0" indent="0">
              <a:spcBef>
                <a:spcPts val="1252"/>
              </a:spcBef>
              <a:buNone/>
              <a:defRPr sz="1723">
                <a:solidFill>
                  <a:schemeClr val="tx1"/>
                </a:solidFill>
              </a:defRPr>
            </a:lvl1pPr>
            <a:lvl2pPr marL="476947" indent="0">
              <a:buNone/>
              <a:defRPr>
                <a:solidFill>
                  <a:schemeClr val="bg1"/>
                </a:solidFill>
              </a:defRPr>
            </a:lvl2pPr>
            <a:lvl3pPr marL="953891" indent="0">
              <a:buNone/>
              <a:defRPr>
                <a:solidFill>
                  <a:schemeClr val="bg1"/>
                </a:solidFill>
              </a:defRPr>
            </a:lvl3pPr>
            <a:lvl4pPr marL="1430836" indent="0">
              <a:buNone/>
              <a:defRPr>
                <a:solidFill>
                  <a:schemeClr val="bg1"/>
                </a:solidFill>
              </a:defRPr>
            </a:lvl4pPr>
            <a:lvl5pPr marL="190778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162736" y="162704"/>
            <a:ext cx="11865093" cy="31846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51" baseline="0"/>
            </a:lvl1pPr>
          </a:lstStyle>
          <a:p>
            <a:r>
              <a:rPr lang="en-GB" dirty="0"/>
              <a:t>Picture placeholder – insert image here</a:t>
            </a:r>
          </a:p>
        </p:txBody>
      </p:sp>
      <p:sp>
        <p:nvSpPr>
          <p:cNvPr id="11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89865" y="3733914"/>
            <a:ext cx="3899496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>
              <a:buFontTx/>
              <a:buNone/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9866" y="4357071"/>
            <a:ext cx="3150790" cy="3908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0" bIns="0" rtlCol="0">
            <a:spAutoFit/>
          </a:bodyPr>
          <a:lstStyle>
            <a:lvl1pPr>
              <a:defRPr lang="en-US" sz="254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3347371"/>
            <a:ext cx="12105683" cy="163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663052" y="6711425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5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7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F15EC50-97F2-40D0-AAB0-47F3ECBC0B4E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3968505942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ly 2 - Image Left">
    <p:bg>
      <p:bgPr>
        <a:blipFill dpi="0" rotWithShape="1">
          <a:blip r:embed="rId2">
            <a:lum/>
          </a:blip>
          <a:srcRect/>
          <a:stretch>
            <a:fillRect t="-19000" b="-1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164402" y="162704"/>
            <a:ext cx="5855501" cy="6529024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540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017314" y="98159"/>
            <a:ext cx="163289" cy="6603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464383" y="1595149"/>
            <a:ext cx="5198669" cy="369332"/>
          </a:xfrm>
          <a:prstGeom prst="rect">
            <a:avLst/>
          </a:prstGeom>
          <a:noFill/>
        </p:spPr>
        <p:txBody>
          <a:bodyPr wrap="square" lIns="82819" tIns="0" rIns="82819" bIns="0" rtlCol="0" anchor="ctr">
            <a:normAutofit/>
          </a:bodyPr>
          <a:lstStyle>
            <a:lvl1pPr algn="ctr">
              <a:defRPr lang="en-GB" sz="2400" b="1" baseline="0" dirty="0">
                <a:solidFill>
                  <a:srgbClr val="000000"/>
                </a:solidFill>
              </a:defRPr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Fly style 2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464753" y="3559622"/>
            <a:ext cx="5227612" cy="288272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1813">
                <a:solidFill>
                  <a:schemeClr val="tx1"/>
                </a:solidFill>
              </a:defRPr>
            </a:lvl1pPr>
            <a:lvl2pPr marL="476831" indent="0">
              <a:buNone/>
              <a:defRPr sz="1813">
                <a:solidFill>
                  <a:schemeClr val="bg1"/>
                </a:solidFill>
              </a:defRPr>
            </a:lvl2pPr>
            <a:lvl3pPr marL="953661" indent="0">
              <a:buNone/>
              <a:defRPr sz="1632">
                <a:solidFill>
                  <a:schemeClr val="bg1"/>
                </a:solidFill>
              </a:defRPr>
            </a:lvl3pPr>
            <a:lvl4pPr marL="1430492" indent="0">
              <a:buNone/>
              <a:defRPr sz="1632">
                <a:solidFill>
                  <a:schemeClr val="bg1"/>
                </a:solidFill>
              </a:defRPr>
            </a:lvl4pPr>
            <a:lvl5pPr marL="1907322" indent="0">
              <a:buNone/>
              <a:defRPr sz="1632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20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3B5126A-DDD3-4AAD-9E87-6FB85D1DB341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69EE7E7-BD03-440A-B943-FBE9B549AF82}"/>
              </a:ext>
            </a:extLst>
          </p:cNvPr>
          <p:cNvSpPr/>
          <p:nvPr userDrawn="1"/>
        </p:nvSpPr>
        <p:spPr bwMode="gray">
          <a:xfrm>
            <a:off x="9887943" y="279966"/>
            <a:ext cx="1535288" cy="20978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96000" rIns="48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r>
              <a:rPr lang="nb-NO" sz="1333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orsk Monito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C9AC6E3-27A4-45F5-8041-73503F0C479F}"/>
              </a:ext>
            </a:extLst>
          </p:cNvPr>
          <p:cNvSpPr/>
          <p:nvPr userDrawn="1"/>
        </p:nvSpPr>
        <p:spPr bwMode="gray">
          <a:xfrm>
            <a:off x="11416223" y="284564"/>
            <a:ext cx="496532" cy="20518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96000" rIns="48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r>
              <a:rPr lang="nb-NO" sz="1333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2389660815"/>
      </p:ext>
    </p:extLst>
  </p:cSld>
  <p:clrMapOvr>
    <a:masterClrMapping/>
  </p:clrMapOvr>
  <p:transition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olour fill - Title, Full Pag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9865" y="489745"/>
            <a:ext cx="3950952" cy="502531"/>
          </a:xfrm>
          <a:prstGeom prst="rect">
            <a:avLst/>
          </a:prstGeom>
          <a:noFill/>
        </p:spPr>
        <p:txBody>
          <a:bodyPr/>
          <a:lstStyle>
            <a:lvl1pPr algn="l">
              <a:defRPr b="0"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514035" y="1578090"/>
            <a:ext cx="11163933" cy="428354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663052" y="6711425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5963478"/>
            <a:ext cx="531015" cy="42769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113F409-AE59-458C-9DB5-51F78B52307C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797857726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our fill - Title+Sub, Full Pag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9865" y="489745"/>
            <a:ext cx="3950952" cy="502531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algn="l">
              <a:defRPr b="0">
                <a:latin typeface="+mj-lt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489866" y="1926857"/>
            <a:ext cx="11163933" cy="4097471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362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663052" y="6711425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3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7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D063399-E4F3-4019-8737-B73A8AE1FBE7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2023955664"/>
      </p:ext>
    </p:extLst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ly/Statement - 1 pic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6178087" y="162706"/>
            <a:ext cx="5855501" cy="65393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540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5117" y="2254831"/>
            <a:ext cx="2318870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algn="l">
              <a:defRPr lang="en-GB" b="0" baseline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Fly style 1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017314" y="98159"/>
            <a:ext cx="163289" cy="6603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05115" y="2906521"/>
            <a:ext cx="3150790" cy="3908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0" bIns="0" rtlCol="0">
            <a:spAutoFit/>
          </a:bodyPr>
          <a:lstStyle>
            <a:lvl1pPr>
              <a:defRPr lang="en-US" sz="254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05486" y="3559622"/>
            <a:ext cx="5227612" cy="189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13">
                <a:solidFill>
                  <a:schemeClr val="bg1"/>
                </a:solidFill>
              </a:defRPr>
            </a:lvl1pPr>
            <a:lvl2pPr marL="476831" indent="0">
              <a:buNone/>
              <a:defRPr sz="1813">
                <a:solidFill>
                  <a:schemeClr val="bg1"/>
                </a:solidFill>
              </a:defRPr>
            </a:lvl2pPr>
            <a:lvl3pPr marL="953661" indent="0">
              <a:buNone/>
              <a:defRPr sz="1632">
                <a:solidFill>
                  <a:schemeClr val="bg1"/>
                </a:solidFill>
              </a:defRPr>
            </a:lvl3pPr>
            <a:lvl4pPr marL="1430492" indent="0">
              <a:buNone/>
              <a:defRPr sz="1632">
                <a:solidFill>
                  <a:schemeClr val="bg1"/>
                </a:solidFill>
              </a:defRPr>
            </a:lvl4pPr>
            <a:lvl5pPr marL="1907322" indent="0">
              <a:buNone/>
              <a:defRPr sz="163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7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B3818DB-FC2F-41E4-BA23-B6D121C90B5F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34079865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403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33754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Full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489866" y="1577261"/>
            <a:ext cx="11163933" cy="444706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>
            <a:lvl1pPr algn="l">
              <a:defRPr b="0"/>
            </a:lvl1pPr>
          </a:lstStyle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1078974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Full Page Content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14039" y="706100"/>
            <a:ext cx="2875871" cy="502531"/>
          </a:xfrm>
          <a:prstGeom prst="rect">
            <a:avLst/>
          </a:prstGeom>
          <a:noFill/>
        </p:spPr>
        <p:txBody>
          <a:bodyPr/>
          <a:lstStyle>
            <a:lvl1pPr algn="l">
              <a:defRPr b="0"/>
            </a:lvl1pPr>
          </a:lstStyle>
          <a:p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89866" y="1579294"/>
            <a:ext cx="11163933" cy="428233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6749995"/>
      </p:ext>
    </p:extLst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Full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9866" y="2027853"/>
            <a:ext cx="11163933" cy="38337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6319190"/>
      </p:ext>
    </p:extLst>
  </p:cSld>
  <p:clrMapOvr>
    <a:masterClrMapping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2000" y="815054"/>
            <a:ext cx="5641072" cy="410369"/>
          </a:xfrm>
        </p:spPr>
        <p:txBody>
          <a:bodyPr anchor="t"/>
          <a:lstStyle>
            <a:lvl1pPr>
              <a:defRPr sz="2667" b="1" cap="none"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001" y="331098"/>
            <a:ext cx="8957556" cy="590215"/>
          </a:xfrm>
        </p:spPr>
        <p:txBody>
          <a:bodyPr anchor="b">
            <a:noAutofit/>
          </a:bodyPr>
          <a:lstStyle>
            <a:lvl1pPr marL="116414" indent="0">
              <a:buNone/>
              <a:defRPr sz="2533" b="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0688740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9865" y="2027853"/>
            <a:ext cx="6847264" cy="38337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7533098" y="2027308"/>
            <a:ext cx="4180785" cy="3834317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3630579"/>
      </p:ext>
    </p:extLst>
  </p:cSld>
  <p:clrMapOvr>
    <a:masterClrMapping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Full, Base, Source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489866" y="1998597"/>
            <a:ext cx="11163933" cy="338972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14038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7522123"/>
      </p:ext>
    </p:extLst>
  </p:cSld>
  <p:clrMapOvr>
    <a:masterClrMapping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xContent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9865" y="1577263"/>
            <a:ext cx="7306875" cy="444707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8229963" y="1577263"/>
            <a:ext cx="3448004" cy="44470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0560315"/>
      </p:ext>
    </p:extLst>
  </p:cSld>
  <p:clrMapOvr>
    <a:masterClrMapping/>
  </p:clrMapOvr>
  <p:transition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xContent v1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89865" y="1577257"/>
            <a:ext cx="7306875" cy="394168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8229963" y="1577257"/>
            <a:ext cx="3448004" cy="394168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9866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4596145"/>
      </p:ext>
    </p:extLst>
  </p:cSld>
  <p:clrMapOvr>
    <a:masterClrMapping/>
  </p:clrMapOvr>
  <p:transition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xContent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89865" y="2084858"/>
            <a:ext cx="7306875" cy="34340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29963" y="2084858"/>
            <a:ext cx="3448004" cy="34340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9916962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xContent v1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89865" y="2027855"/>
            <a:ext cx="7306875" cy="34910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8229963" y="2027855"/>
            <a:ext cx="3448004" cy="34910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89866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804373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2867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04070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x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489866" y="1599675"/>
            <a:ext cx="5379249" cy="39192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6295098" y="1599675"/>
            <a:ext cx="5382869" cy="39192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0290085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xContent v2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89866" y="1599672"/>
            <a:ext cx="5379249" cy="391926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295098" y="1599672"/>
            <a:ext cx="5382869" cy="391926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9866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5347453"/>
      </p:ext>
    </p:extLst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x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89866" y="2027853"/>
            <a:ext cx="5379249" cy="3491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295098" y="2027853"/>
            <a:ext cx="5382869" cy="3491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242285"/>
      </p:ext>
    </p:extLst>
  </p:cSld>
  <p:clrMapOvr>
    <a:masterClrMapping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xContent v2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84279" y="2029223"/>
            <a:ext cx="5379249" cy="348971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6265342" y="2029223"/>
            <a:ext cx="5382869" cy="348971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4279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84279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4279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6050150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xContent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9866" y="1599677"/>
            <a:ext cx="3448005" cy="391926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4371094" y="1599677"/>
            <a:ext cx="7306873" cy="39192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7945693"/>
      </p:ext>
    </p:extLst>
  </p:cSld>
  <p:clrMapOvr>
    <a:masterClrMapping/>
  </p:clrMapOvr>
  <p:transition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xContent v3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89866" y="1600202"/>
            <a:ext cx="3448005" cy="391874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544"/>
              </a:spcBef>
              <a:defRPr/>
            </a:lvl1pPr>
            <a:lvl2pPr>
              <a:lnSpc>
                <a:spcPct val="110000"/>
              </a:lnSpc>
              <a:spcBef>
                <a:spcPts val="544"/>
              </a:spcBef>
              <a:defRPr/>
            </a:lvl2pPr>
            <a:lvl3pPr>
              <a:lnSpc>
                <a:spcPct val="110000"/>
              </a:lnSpc>
              <a:spcBef>
                <a:spcPts val="544"/>
              </a:spcBef>
              <a:defRPr/>
            </a:lvl3pPr>
            <a:lvl4pPr>
              <a:lnSpc>
                <a:spcPct val="110000"/>
              </a:lnSpc>
              <a:spcBef>
                <a:spcPts val="544"/>
              </a:spcBef>
              <a:defRPr/>
            </a:lvl4pPr>
            <a:lvl5pPr>
              <a:lnSpc>
                <a:spcPct val="110000"/>
              </a:lnSpc>
              <a:spcBef>
                <a:spcPts val="544"/>
              </a:spcBef>
              <a:defRPr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4371101" y="1600202"/>
            <a:ext cx="7306876" cy="391874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544"/>
              </a:spcBef>
              <a:defRPr/>
            </a:lvl1pPr>
            <a:lvl2pPr>
              <a:lnSpc>
                <a:spcPct val="110000"/>
              </a:lnSpc>
              <a:spcBef>
                <a:spcPts val="544"/>
              </a:spcBef>
              <a:defRPr/>
            </a:lvl2pPr>
            <a:lvl3pPr>
              <a:lnSpc>
                <a:spcPct val="110000"/>
              </a:lnSpc>
              <a:spcBef>
                <a:spcPts val="544"/>
              </a:spcBef>
              <a:defRPr/>
            </a:lvl3pPr>
            <a:lvl4pPr>
              <a:lnSpc>
                <a:spcPct val="110000"/>
              </a:lnSpc>
              <a:spcBef>
                <a:spcPts val="544"/>
              </a:spcBef>
              <a:defRPr/>
            </a:lvl4pPr>
            <a:lvl5pPr>
              <a:lnSpc>
                <a:spcPct val="110000"/>
              </a:lnSpc>
              <a:spcBef>
                <a:spcPts val="544"/>
              </a:spcBef>
              <a:defRPr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89866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0830942"/>
      </p:ext>
    </p:extLst>
  </p:cSld>
  <p:clrMapOvr>
    <a:masterClrMapping/>
  </p:clrMapOvr>
  <p:transition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xContent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89866" y="2027853"/>
            <a:ext cx="3448005" cy="3491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371094" y="2027853"/>
            <a:ext cx="7306873" cy="3491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2094690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xContent v3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89866" y="2027855"/>
            <a:ext cx="3448005" cy="34910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4371094" y="2027855"/>
            <a:ext cx="7306873" cy="34910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14038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5177820"/>
      </p:ext>
    </p:extLst>
  </p:cSld>
  <p:clrMapOvr>
    <a:masterClrMapping/>
  </p:clrMapOvr>
  <p:transition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x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489866" y="1599677"/>
            <a:ext cx="3448005" cy="391926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371095" y="1599677"/>
            <a:ext cx="3449815" cy="391926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8229963" y="1599677"/>
            <a:ext cx="3448004" cy="391926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9213318"/>
      </p:ext>
    </p:extLst>
  </p:cSld>
  <p:clrMapOvr>
    <a:masterClrMapping/>
  </p:clrMapOvr>
  <p:transition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xContent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4" hasCustomPrompt="1"/>
          </p:nvPr>
        </p:nvSpPr>
        <p:spPr>
          <a:xfrm>
            <a:off x="489866" y="1599672"/>
            <a:ext cx="3448005" cy="391926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4371095" y="1599672"/>
            <a:ext cx="3449815" cy="3919269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6" hasCustomPrompt="1"/>
          </p:nvPr>
        </p:nvSpPr>
        <p:spPr>
          <a:xfrm>
            <a:off x="8229963" y="1599672"/>
            <a:ext cx="3448004" cy="3919269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89866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050328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3324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71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7C4457B5-A8C3-46A7-868D-52171EF747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06241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x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489866" y="2027861"/>
            <a:ext cx="3448005" cy="349108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371095" y="2027861"/>
            <a:ext cx="3449815" cy="349108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8229963" y="2027861"/>
            <a:ext cx="3448004" cy="349108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2754694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xContent v3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6" hasCustomPrompt="1"/>
          </p:nvPr>
        </p:nvSpPr>
        <p:spPr>
          <a:xfrm>
            <a:off x="489866" y="2027855"/>
            <a:ext cx="3448005" cy="34910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4371095" y="2027855"/>
            <a:ext cx="3449815" cy="34910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8" hasCustomPrompt="1"/>
          </p:nvPr>
        </p:nvSpPr>
        <p:spPr>
          <a:xfrm>
            <a:off x="8229963" y="2027855"/>
            <a:ext cx="3448004" cy="34910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521974"/>
            <a:ext cx="2308884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14038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9469799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0115775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4038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164570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6891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4213613"/>
      </p:ext>
    </p:extLst>
  </p:cSld>
  <p:clrMapOvr>
    <a:masterClrMapping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Only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6891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2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14038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947" indent="0">
              <a:buFontTx/>
              <a:buNone/>
              <a:defRPr/>
            </a:lvl2pPr>
            <a:lvl3pPr marL="953892" indent="0">
              <a:buFontTx/>
              <a:buNone/>
              <a:defRPr/>
            </a:lvl3pPr>
            <a:lvl4pPr marL="1430839" indent="0">
              <a:buFontTx/>
              <a:buNone/>
              <a:defRPr/>
            </a:lvl4pPr>
            <a:lvl5pPr marL="190778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292328"/>
      </p:ext>
    </p:extLst>
  </p:cSld>
  <p:clrMapOvr>
    <a:masterClrMapping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8979691"/>
      </p:ext>
    </p:extLst>
  </p:cSld>
  <p:clrMapOvr>
    <a:masterClrMapping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- Fly 3 - Tri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6106863" y="72018"/>
            <a:ext cx="5982395" cy="66522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89865" y="2382099"/>
            <a:ext cx="2318870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marL="518174" indent="-518174">
              <a:buFontTx/>
              <a:buNone/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Fly Style 3</a:t>
            </a:r>
            <a:endParaRPr lang="en-GB" dirty="0"/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9867" y="3591619"/>
            <a:ext cx="5206843" cy="2432709"/>
          </a:xfrm>
          <a:prstGeom prst="rect">
            <a:avLst/>
          </a:prstGeom>
        </p:spPr>
        <p:txBody>
          <a:bodyPr wrap="square" lIns="82819" tIns="41410" rIns="82819" bIns="41410">
            <a:normAutofit/>
          </a:bodyPr>
          <a:lstStyle>
            <a:lvl1pPr marL="0" indent="0">
              <a:spcBef>
                <a:spcPts val="1252"/>
              </a:spcBef>
              <a:buNone/>
              <a:defRPr sz="1723">
                <a:solidFill>
                  <a:schemeClr val="tx1"/>
                </a:solidFill>
              </a:defRPr>
            </a:lvl1pPr>
            <a:lvl2pPr marL="476831" indent="0">
              <a:buNone/>
              <a:defRPr>
                <a:solidFill>
                  <a:schemeClr val="bg1"/>
                </a:solidFill>
              </a:defRPr>
            </a:lvl2pPr>
            <a:lvl3pPr marL="953660" indent="0">
              <a:buNone/>
              <a:defRPr>
                <a:solidFill>
                  <a:schemeClr val="bg1"/>
                </a:solidFill>
              </a:defRPr>
            </a:lvl3pPr>
            <a:lvl4pPr marL="1430490" indent="0">
              <a:buNone/>
              <a:defRPr>
                <a:solidFill>
                  <a:schemeClr val="bg1"/>
                </a:solidFill>
              </a:defRPr>
            </a:lvl4pPr>
            <a:lvl5pPr marL="190732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8190438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76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10196278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76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184602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76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6014453" y="144449"/>
            <a:ext cx="4174963" cy="6631483"/>
            <a:chOff x="6629995" y="159259"/>
            <a:chExt cx="4602244" cy="7209945"/>
          </a:xfrm>
          <a:solidFill>
            <a:schemeClr val="bg1"/>
          </a:solidFill>
        </p:grpSpPr>
        <p:sp>
          <p:nvSpPr>
            <p:cNvPr id="4" name="Rectangle 3"/>
            <p:cNvSpPr/>
            <p:nvPr userDrawn="1"/>
          </p:nvSpPr>
          <p:spPr bwMode="gray">
            <a:xfrm>
              <a:off x="6629995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endParaRPr lang="en-GB" sz="2903" dirty="0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  <p:sp>
          <p:nvSpPr>
            <p:cNvPr id="29" name="Rectangle 28"/>
            <p:cNvSpPr/>
            <p:nvPr userDrawn="1"/>
          </p:nvSpPr>
          <p:spPr bwMode="gray">
            <a:xfrm>
              <a:off x="11052239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endParaRPr lang="en-GB" sz="2903" dirty="0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gray">
            <a:xfrm>
              <a:off x="8841117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endParaRPr lang="en-GB" sz="2903" dirty="0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</p:grp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9865" y="3005256"/>
            <a:ext cx="3146075" cy="390811"/>
          </a:xfrm>
          <a:prstGeom prst="rect">
            <a:avLst/>
          </a:prstGeom>
          <a:solidFill>
            <a:schemeClr val="tx1"/>
          </a:solidFill>
        </p:spPr>
        <p:txBody>
          <a:bodyPr wrap="none" lIns="72000" t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None/>
              <a:defRPr sz="2540" b="1">
                <a:solidFill>
                  <a:schemeClr val="bg1"/>
                </a:solidFill>
                <a:latin typeface="+mj-lt"/>
              </a:defRPr>
            </a:lvl1pPr>
            <a:lvl2pPr marL="476831" indent="0">
              <a:buNone/>
              <a:defRPr/>
            </a:lvl2pPr>
            <a:lvl3pPr marL="953661" indent="0">
              <a:buNone/>
              <a:defRPr/>
            </a:lvl3pPr>
            <a:lvl4pPr marL="1430492" indent="0">
              <a:buNone/>
              <a:defRPr/>
            </a:lvl4pPr>
            <a:lvl5pPr marL="1907322" indent="0">
              <a:buNone/>
              <a:defRPr/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26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6B6433C-2538-4B62-B8B6-EECE75FBB76F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3048323030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ly 4 - Double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6106863" y="72018"/>
            <a:ext cx="5982395" cy="66522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505119" y="3591619"/>
            <a:ext cx="5332263" cy="243270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spcBef>
                <a:spcPts val="1252"/>
              </a:spcBef>
              <a:buNone/>
              <a:defRPr sz="1723">
                <a:solidFill>
                  <a:schemeClr val="tx1"/>
                </a:solidFill>
              </a:defRPr>
            </a:lvl1pPr>
            <a:lvl2pPr marL="476831" indent="0">
              <a:buNone/>
              <a:defRPr>
                <a:solidFill>
                  <a:schemeClr val="bg1"/>
                </a:solidFill>
              </a:defRPr>
            </a:lvl2pPr>
            <a:lvl3pPr marL="953660" indent="0">
              <a:buNone/>
              <a:defRPr>
                <a:solidFill>
                  <a:schemeClr val="bg1"/>
                </a:solidFill>
              </a:defRPr>
            </a:lvl3pPr>
            <a:lvl4pPr marL="1430490" indent="0">
              <a:buNone/>
              <a:defRPr>
                <a:solidFill>
                  <a:schemeClr val="bg1"/>
                </a:solidFill>
              </a:defRPr>
            </a:lvl4pPr>
            <a:lvl5pPr marL="190732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014358" y="146223"/>
            <a:ext cx="163289" cy="65393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77646" y="3506756"/>
            <a:ext cx="5845959" cy="31849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540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35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77646" y="163472"/>
            <a:ext cx="5845959" cy="32020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540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6132110" y="3347371"/>
            <a:ext cx="5957145" cy="163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1931" tIns="95965" rIns="191931" bIns="95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endParaRPr lang="en-GB" sz="2631" dirty="0">
              <a:solidFill>
                <a:schemeClr val="bg1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5117" y="2382099"/>
            <a:ext cx="2318870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marL="518174" indent="-518174">
              <a:buFontTx/>
              <a:buNone/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Fly style 4</a:t>
            </a:r>
            <a:endParaRPr lang="en-GB" dirty="0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05115" y="3005257"/>
            <a:ext cx="3150790" cy="3908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0" bIns="0" rtlCol="0">
            <a:spAutoFit/>
          </a:bodyPr>
          <a:lstStyle>
            <a:lvl1pPr>
              <a:buFontTx/>
              <a:buNone/>
              <a:defRPr lang="en-US" sz="254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22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57DE88E-7779-4419-8009-5499F1CE8D40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756278935"/>
      </p:ext>
    </p:extLst>
  </p:cSld>
  <p:clrMapOvr>
    <a:masterClrMapping/>
  </p:clrMapOvr>
  <p:transition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 with image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62735" y="162706"/>
            <a:ext cx="11878055" cy="223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5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place image (or select frame and copy/paste image into it)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9667" y="2188114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89" b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2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10317" y="2855223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89" b="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3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10972" y="3522601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89" b="0" baseline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4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9013" y="1526791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89" b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1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9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71C186B-D1CE-4E88-9E39-92AFDF845135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209925040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D3309618-CC75-4177-8883-1C656B8EF5F0}"/>
              </a:ext>
            </a:extLst>
          </p:cNvPr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1000">
                <a:srgbClr val="131313">
                  <a:alpha val="55000"/>
                </a:srgbClr>
              </a:gs>
              <a:gs pos="38000">
                <a:schemeClr val="tx1">
                  <a:lumMod val="85000"/>
                  <a:lumOff val="15000"/>
                  <a:alpha val="16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2530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 dirty="0"/>
              <a:t>Undertittel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 dirty="0"/>
              <a:t>Tittel 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Ditt navn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132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030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5ABA2AAA-2D64-4286-AA8D-E8C4B33EF1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18929B-5A27-4738-A956-5210DE317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22435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with colour fi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9667" y="2188114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518174" indent="-518174" algn="l">
              <a:lnSpc>
                <a:spcPct val="100000"/>
              </a:lnSpc>
              <a:buFont typeface="Wingdings" panose="05000000000000000000" pitchFamily="2" charset="2"/>
              <a:buChar char="§"/>
              <a:defRPr lang="en-US" sz="3989" b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2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10317" y="2855223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518174" indent="-518174" algn="l">
              <a:lnSpc>
                <a:spcPct val="100000"/>
              </a:lnSpc>
              <a:buFont typeface="Wingdings" panose="05000000000000000000" pitchFamily="2" charset="2"/>
              <a:buChar char="§"/>
              <a:defRPr lang="en-US" sz="3989" b="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3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10972" y="3522601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518174" indent="-518174" algn="l">
              <a:lnSpc>
                <a:spcPct val="100000"/>
              </a:lnSpc>
              <a:buFont typeface="Wingdings" panose="05000000000000000000" pitchFamily="2" charset="2"/>
              <a:buChar char="§"/>
              <a:defRPr lang="en-US" sz="3989" b="0" baseline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4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9013" y="1526791"/>
            <a:ext cx="3618147" cy="614100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518174" indent="-518174" algn="l">
              <a:lnSpc>
                <a:spcPct val="100000"/>
              </a:lnSpc>
              <a:buFont typeface="Wingdings" panose="05000000000000000000" pitchFamily="2" charset="2"/>
              <a:buChar char="§"/>
              <a:defRPr lang="en-US" sz="3989" b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1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6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CD414F06-85B7-4AE7-801B-823B321A5340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2483731617"/>
      </p:ext>
    </p:extLst>
  </p:cSld>
  <p:clrMapOvr>
    <a:masterClrMapping/>
  </p:clrMapOvr>
  <p:transition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lour fill - Title+Sub, Full Pag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9865" y="476921"/>
            <a:ext cx="3950952" cy="502531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algn="l">
              <a:defRPr b="0">
                <a:latin typeface="+mj-lt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489866" y="1926858"/>
            <a:ext cx="11163933" cy="179994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362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4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20BAA32-D026-4EC9-9845-65232D5A726B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1772838164"/>
      </p:ext>
    </p:extLst>
  </p:cSld>
  <p:clrMapOvr>
    <a:masterClrMapping/>
  </p:clrMapOvr>
  <p:transition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Full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489866" y="1577262"/>
            <a:ext cx="11163933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>
            <a:lvl1pPr algn="l">
              <a:defRPr b="0"/>
            </a:lvl1pPr>
          </a:lstStyle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0363203"/>
      </p:ext>
    </p:extLst>
  </p:cSld>
  <p:clrMapOvr>
    <a:masterClrMapping/>
  </p:clrMapOvr>
  <p:transition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Full Page Content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14039" y="693276"/>
            <a:ext cx="2875871" cy="502531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algn="l">
              <a:defRPr b="0"/>
            </a:lvl1pPr>
          </a:lstStyle>
          <a:p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89866" y="1579295"/>
            <a:ext cx="11163933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6024327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89867" y="6024327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</p:spTree>
    <p:extLst>
      <p:ext uri="{BB962C8B-B14F-4D97-AF65-F5344CB8AC3E}">
        <p14:creationId xmlns:p14="http://schemas.microsoft.com/office/powerpoint/2010/main" val="2333464014"/>
      </p:ext>
    </p:extLst>
  </p:cSld>
  <p:clrMapOvr>
    <a:masterClrMapping/>
  </p:clrMapOvr>
  <p:transition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9865" y="2027854"/>
            <a:ext cx="6847264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7533100" y="2027308"/>
            <a:ext cx="4180785" cy="25112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6111848"/>
      </p:ext>
    </p:extLst>
  </p:cSld>
  <p:clrMapOvr>
    <a:masterClrMapping/>
  </p:clrMapOvr>
  <p:transition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Full, Base, Source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489866" y="1998598"/>
            <a:ext cx="11163933" cy="12555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14039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5978231"/>
      </p:ext>
    </p:extLst>
  </p:cSld>
  <p:clrMapOvr>
    <a:masterClrMapping/>
  </p:clrMapOvr>
  <p:transition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Long title &amp; Question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371094" y="1985430"/>
            <a:ext cx="7306873" cy="359882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540"/>
            </a:lvl1pPr>
            <a:lvl2pPr>
              <a:defRPr sz="2176"/>
            </a:lvl2pPr>
            <a:lvl3pPr>
              <a:defRPr sz="1904"/>
            </a:lvl3pPr>
            <a:lvl4pPr>
              <a:defRPr sz="1723"/>
            </a:lvl4pPr>
            <a:lvl5pPr>
              <a:defRPr sz="1723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514034" y="2368503"/>
            <a:ext cx="3448005" cy="32431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904" b="1"/>
            </a:lvl1pPr>
          </a:lstStyle>
          <a:p>
            <a:pPr lvl="0"/>
            <a:r>
              <a:rPr lang="en-US" dirty="0"/>
              <a:t>Question text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99142" y="1985434"/>
            <a:ext cx="670903" cy="326517"/>
          </a:xfrm>
          <a:prstGeom prst="rect">
            <a:avLst/>
          </a:prstGeom>
          <a:solidFill>
            <a:schemeClr val="accent3"/>
          </a:solidFill>
        </p:spPr>
        <p:txBody>
          <a:bodyPr lIns="36000" tIns="0" rIns="36000" bIns="0">
            <a:noAutofit/>
          </a:bodyPr>
          <a:lstStyle>
            <a:lvl1pPr marL="0" indent="0" algn="l">
              <a:buNone/>
              <a:defRPr sz="217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#</a:t>
            </a:r>
            <a:endParaRPr lang="en-GB" dirty="0"/>
          </a:p>
        </p:txBody>
      </p:sp>
      <p:sp>
        <p:nvSpPr>
          <p:cNvPr id="18" name="Title 17"/>
          <p:cNvSpPr>
            <a:spLocks noGrp="1"/>
          </p:cNvSpPr>
          <p:nvPr>
            <p:ph type="title" hasCustomPrompt="1"/>
          </p:nvPr>
        </p:nvSpPr>
        <p:spPr>
          <a:xfrm>
            <a:off x="507693" y="620645"/>
            <a:ext cx="11238268" cy="1175592"/>
          </a:xfrm>
          <a:prstGeom prst="rect">
            <a:avLst/>
          </a:prstGeom>
          <a:noFill/>
        </p:spPr>
        <p:txBody>
          <a:bodyPr wrap="square" lIns="0" tIns="0" rIns="0" bIns="0" anchor="t">
            <a:noAutofit/>
          </a:bodyPr>
          <a:lstStyle>
            <a:lvl1pPr marL="0" algn="l" defTabSz="953660" rtl="0" eaLnBrk="1" latinLnBrk="0" hangingPunct="1">
              <a:lnSpc>
                <a:spcPct val="120000"/>
              </a:lnSpc>
              <a:spcAft>
                <a:spcPts val="1044"/>
              </a:spcAft>
              <a:defRPr lang="en-GB" sz="2540" b="1" kern="1200" baseline="0" dirty="0">
                <a:solidFill>
                  <a:srgbClr val="FFFFFF"/>
                </a:solidFill>
                <a:highlight>
                  <a:srgbClr val="808080"/>
                </a:highlight>
                <a:latin typeface="+mn-lt"/>
                <a:ea typeface="Calibri"/>
                <a:cs typeface="Times New Roman"/>
              </a:defRPr>
            </a:lvl1pPr>
          </a:lstStyle>
          <a:p>
            <a:r>
              <a:rPr lang="en-US" dirty="0"/>
              <a:t>Long titles Click to edit Master title allows for 3 lines</a:t>
            </a:r>
            <a:br>
              <a:rPr lang="en-US" dirty="0"/>
            </a:br>
            <a:endParaRPr lang="en-GB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4039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</p:spTree>
    <p:extLst>
      <p:ext uri="{BB962C8B-B14F-4D97-AF65-F5344CB8AC3E}">
        <p14:creationId xmlns:p14="http://schemas.microsoft.com/office/powerpoint/2010/main" val="433894278"/>
      </p:ext>
    </p:extLst>
  </p:cSld>
  <p:clrMapOvr>
    <a:masterClrMapping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xContent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9865" y="1577265"/>
            <a:ext cx="7306875" cy="12555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8229963" y="1577265"/>
            <a:ext cx="3448004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8" y="476921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9437996"/>
      </p:ext>
    </p:extLst>
  </p:cSld>
  <p:clrMapOvr>
    <a:masterClrMapping/>
  </p:clrMapOvr>
  <p:transition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xContent v1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89865" y="1577258"/>
            <a:ext cx="730687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8229963" y="1577258"/>
            <a:ext cx="3448004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9867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6705011"/>
      </p:ext>
    </p:extLst>
  </p:cSld>
  <p:clrMapOvr>
    <a:masterClrMapping/>
  </p:clrMapOvr>
  <p:transition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xContent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89865" y="2084859"/>
            <a:ext cx="730687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29963" y="2084859"/>
            <a:ext cx="3448004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000323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5942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A05C525A-2558-46E8-80B5-941389990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39E13C7-429D-4FD8-8D51-1CD98F0746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73813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xContent v1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89865" y="2027857"/>
            <a:ext cx="730687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8229963" y="2027857"/>
            <a:ext cx="3448004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89867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0016109"/>
      </p:ext>
    </p:extLst>
  </p:cSld>
  <p:clrMapOvr>
    <a:masterClrMapping/>
  </p:clrMapOvr>
  <p:transition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x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489868" y="1599677"/>
            <a:ext cx="5379249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6295098" y="1599677"/>
            <a:ext cx="5382869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2337052"/>
      </p:ext>
    </p:extLst>
  </p:cSld>
  <p:clrMapOvr>
    <a:masterClrMapping/>
  </p:clrMapOvr>
  <p:transition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xContent v2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89868" y="1599674"/>
            <a:ext cx="5379249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295098" y="1599674"/>
            <a:ext cx="5382869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9867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3519659"/>
      </p:ext>
    </p:extLst>
  </p:cSld>
  <p:clrMapOvr>
    <a:masterClrMapping/>
  </p:clrMapOvr>
  <p:transition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x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89868" y="2027855"/>
            <a:ext cx="5379249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295098" y="2027855"/>
            <a:ext cx="5382869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7189657"/>
      </p:ext>
    </p:extLst>
  </p:cSld>
  <p:clrMapOvr>
    <a:masterClrMapping/>
  </p:clrMapOvr>
  <p:transition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xContent v2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84279" y="2029225"/>
            <a:ext cx="5379249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6265342" y="2029225"/>
            <a:ext cx="5382869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4280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84281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4279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6733841"/>
      </p:ext>
    </p:extLst>
  </p:cSld>
  <p:clrMapOvr>
    <a:masterClrMapping/>
  </p:clrMapOvr>
  <p:transition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xContent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9866" y="1599679"/>
            <a:ext cx="344800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4371094" y="1599679"/>
            <a:ext cx="7306873" cy="12555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8" y="476921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377703"/>
      </p:ext>
    </p:extLst>
  </p:cSld>
  <p:clrMapOvr>
    <a:masterClrMapping/>
  </p:clrMapOvr>
  <p:transition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xContent v3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89866" y="1600203"/>
            <a:ext cx="3448005" cy="1660364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544"/>
              </a:spcBef>
              <a:defRPr/>
            </a:lvl1pPr>
            <a:lvl2pPr>
              <a:lnSpc>
                <a:spcPct val="110000"/>
              </a:lnSpc>
              <a:spcBef>
                <a:spcPts val="544"/>
              </a:spcBef>
              <a:defRPr/>
            </a:lvl2pPr>
            <a:lvl3pPr>
              <a:lnSpc>
                <a:spcPct val="110000"/>
              </a:lnSpc>
              <a:spcBef>
                <a:spcPts val="544"/>
              </a:spcBef>
              <a:defRPr/>
            </a:lvl3pPr>
            <a:lvl4pPr>
              <a:lnSpc>
                <a:spcPct val="110000"/>
              </a:lnSpc>
              <a:spcBef>
                <a:spcPts val="544"/>
              </a:spcBef>
              <a:defRPr/>
            </a:lvl4pPr>
            <a:lvl5pPr>
              <a:lnSpc>
                <a:spcPct val="110000"/>
              </a:lnSpc>
              <a:spcBef>
                <a:spcPts val="544"/>
              </a:spcBef>
              <a:defRPr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4371102" y="1600203"/>
            <a:ext cx="7306876" cy="1660364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544"/>
              </a:spcBef>
              <a:defRPr/>
            </a:lvl1pPr>
            <a:lvl2pPr>
              <a:lnSpc>
                <a:spcPct val="110000"/>
              </a:lnSpc>
              <a:spcBef>
                <a:spcPts val="544"/>
              </a:spcBef>
              <a:defRPr/>
            </a:lvl2pPr>
            <a:lvl3pPr>
              <a:lnSpc>
                <a:spcPct val="110000"/>
              </a:lnSpc>
              <a:spcBef>
                <a:spcPts val="544"/>
              </a:spcBef>
              <a:defRPr/>
            </a:lvl3pPr>
            <a:lvl4pPr>
              <a:lnSpc>
                <a:spcPct val="110000"/>
              </a:lnSpc>
              <a:spcBef>
                <a:spcPts val="544"/>
              </a:spcBef>
              <a:defRPr/>
            </a:lvl4pPr>
            <a:lvl5pPr>
              <a:lnSpc>
                <a:spcPct val="110000"/>
              </a:lnSpc>
              <a:spcBef>
                <a:spcPts val="544"/>
              </a:spcBef>
              <a:defRPr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89867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2371148"/>
      </p:ext>
    </p:extLst>
  </p:cSld>
  <p:clrMapOvr>
    <a:masterClrMapping/>
  </p:clrMapOvr>
  <p:transition>
    <p:fade/>
  </p:transition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xContent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489866" y="2027855"/>
            <a:ext cx="344800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371094" y="2027855"/>
            <a:ext cx="7306873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6285317"/>
      </p:ext>
    </p:extLst>
  </p:cSld>
  <p:clrMapOvr>
    <a:masterClrMapping/>
  </p:clrMapOvr>
  <p:transition>
    <p:fade/>
  </p:transition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xContent v3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89866" y="2027857"/>
            <a:ext cx="344800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4371094" y="2027857"/>
            <a:ext cx="7306873" cy="12555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14039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1365882"/>
      </p:ext>
    </p:extLst>
  </p:cSld>
  <p:clrMapOvr>
    <a:masterClrMapping/>
  </p:clrMapOvr>
  <p:transition>
    <p:fad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3x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489866" y="1599679"/>
            <a:ext cx="344800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371095" y="1599679"/>
            <a:ext cx="344981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8229963" y="1599679"/>
            <a:ext cx="3448004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7788039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395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2B4A1FD1-2F6F-4AF1-B710-F76E885B22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66FD42-E6CB-4E63-977B-EE506F961D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52758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3xContent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4" hasCustomPrompt="1"/>
          </p:nvPr>
        </p:nvSpPr>
        <p:spPr>
          <a:xfrm>
            <a:off x="489866" y="1599674"/>
            <a:ext cx="344800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4371095" y="1599674"/>
            <a:ext cx="3449815" cy="125559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6" hasCustomPrompt="1"/>
          </p:nvPr>
        </p:nvSpPr>
        <p:spPr>
          <a:xfrm>
            <a:off x="8229963" y="1599674"/>
            <a:ext cx="3448004" cy="125559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89867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634422"/>
      </p:ext>
    </p:extLst>
  </p:cSld>
  <p:clrMapOvr>
    <a:masterClrMapping/>
  </p:clrMapOvr>
  <p:transition>
    <p:fade/>
  </p:transition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3x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489866" y="2027862"/>
            <a:ext cx="344800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371095" y="2027862"/>
            <a:ext cx="344981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8229963" y="2027862"/>
            <a:ext cx="3448004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112200"/>
      </p:ext>
    </p:extLst>
  </p:cSld>
  <p:clrMapOvr>
    <a:masterClrMapping/>
  </p:clrMapOvr>
  <p:transition>
    <p:fade/>
  </p:transition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3xContent v3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6" hasCustomPrompt="1"/>
          </p:nvPr>
        </p:nvSpPr>
        <p:spPr>
          <a:xfrm>
            <a:off x="489866" y="2027857"/>
            <a:ext cx="344800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4371095" y="2027857"/>
            <a:ext cx="3449815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8" hasCustomPrompt="1"/>
          </p:nvPr>
        </p:nvSpPr>
        <p:spPr>
          <a:xfrm>
            <a:off x="8229963" y="2027857"/>
            <a:ext cx="3448004" cy="12555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521974"/>
            <a:ext cx="2308884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14039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76921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5338411"/>
      </p:ext>
    </p:extLst>
  </p:cSld>
  <p:clrMapOvr>
    <a:masterClrMapping/>
  </p:clrMapOvr>
  <p:transition>
    <p:fade/>
  </p:transition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8" y="476921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591704"/>
      </p:ext>
    </p:extLst>
  </p:cSld>
  <p:clrMapOvr>
    <a:masterClrMapping/>
  </p:clrMapOvr>
  <p:transition>
    <p:fade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4039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8" y="476921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7830085"/>
      </p:ext>
    </p:extLst>
  </p:cSld>
  <p:clrMapOvr>
    <a:masterClrMapping/>
  </p:clrMapOvr>
  <p:transition>
    <p:fade/>
  </p:transition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6891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8" y="476921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1985940"/>
      </p:ext>
    </p:extLst>
  </p:cSld>
  <p:clrMapOvr>
    <a:masterClrMapping/>
  </p:clrMapOvr>
  <p:transition>
    <p:fade/>
  </p:transition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Only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06891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14039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8" y="476921"/>
            <a:ext cx="6818745" cy="5025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6760903"/>
      </p:ext>
    </p:extLst>
  </p:cSld>
  <p:clrMapOvr>
    <a:masterClrMapping/>
  </p:clrMapOvr>
  <p:transition>
    <p:fade/>
  </p:transition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, Bas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30253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14039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31" indent="0">
              <a:buFontTx/>
              <a:buNone/>
              <a:defRPr/>
            </a:lvl2pPr>
            <a:lvl3pPr marL="953661" indent="0">
              <a:buFontTx/>
              <a:buNone/>
              <a:defRPr/>
            </a:lvl3pPr>
            <a:lvl4pPr marL="1430492" indent="0">
              <a:buFontTx/>
              <a:buNone/>
              <a:defRPr/>
            </a:lvl4pPr>
            <a:lvl5pPr marL="1907322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</p:spTree>
    <p:extLst>
      <p:ext uri="{BB962C8B-B14F-4D97-AF65-F5344CB8AC3E}">
        <p14:creationId xmlns:p14="http://schemas.microsoft.com/office/powerpoint/2010/main" val="440563808"/>
      </p:ext>
    </p:extLst>
  </p:cSld>
  <p:clrMapOvr>
    <a:masterClrMapping/>
  </p:clrMapOvr>
  <p:transition>
    <p:fade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picture left - content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164402" y="162706"/>
            <a:ext cx="5855501" cy="653935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51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017314" y="98159"/>
            <a:ext cx="163289" cy="6603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2"/>
          </p:nvPr>
        </p:nvSpPr>
        <p:spPr>
          <a:xfrm>
            <a:off x="6425932" y="2235381"/>
            <a:ext cx="5418461" cy="3610113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2176">
                <a:solidFill>
                  <a:schemeClr val="tx1"/>
                </a:solidFill>
              </a:defRPr>
            </a:lvl1pPr>
            <a:lvl2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813">
                <a:solidFill>
                  <a:schemeClr val="tx1"/>
                </a:solidFill>
              </a:defRPr>
            </a:lvl2pPr>
            <a:lvl3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tx1"/>
                </a:solidFill>
              </a:defRPr>
            </a:lvl3pPr>
            <a:lvl4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tx1"/>
                </a:solidFill>
              </a:defRPr>
            </a:lvl4pPr>
            <a:lvl5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456564" y="866364"/>
            <a:ext cx="3899496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algn="l"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456564" y="1532598"/>
            <a:ext cx="2778050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20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5547269-4871-409B-B6EE-BA59347CFACA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4156216844"/>
      </p:ext>
    </p:extLst>
  </p:cSld>
  <p:clrMapOvr>
    <a:masterClrMapping/>
  </p:clrMapOvr>
  <p:transition>
    <p:fade/>
  </p:transition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picture right - content le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6178087" y="162706"/>
            <a:ext cx="5855501" cy="653935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32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017314" y="98159"/>
            <a:ext cx="163289" cy="6603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2"/>
          </p:nvPr>
        </p:nvSpPr>
        <p:spPr>
          <a:xfrm>
            <a:off x="489866" y="2235381"/>
            <a:ext cx="5418461" cy="3610113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2176">
                <a:solidFill>
                  <a:schemeClr val="tx1"/>
                </a:solidFill>
              </a:defRPr>
            </a:lvl1pPr>
            <a:lvl2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813">
                <a:solidFill>
                  <a:schemeClr val="tx1"/>
                </a:solidFill>
              </a:defRPr>
            </a:lvl2pPr>
            <a:lvl3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tx1"/>
                </a:solidFill>
              </a:defRPr>
            </a:lvl3pPr>
            <a:lvl4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tx1"/>
                </a:solidFill>
              </a:defRPr>
            </a:lvl4pPr>
            <a:lvl5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89865" y="855306"/>
            <a:ext cx="3899496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marL="518174" indent="-518174">
              <a:buFontTx/>
              <a:buNone/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89865" y="1521539"/>
            <a:ext cx="2778050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20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2AA4AFE-8366-473F-A6D6-23061479A5F8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3463558471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892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2D1E5417-BAA4-429E-95E5-698476B661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ED434F4-3F5A-4CC8-AF47-2D44BC94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85047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pictures right - content le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6106863" y="72018"/>
            <a:ext cx="5982395" cy="66522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014358" y="146223"/>
            <a:ext cx="163289" cy="65393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177646" y="3506756"/>
            <a:ext cx="5845959" cy="31849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540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35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6177646" y="163472"/>
            <a:ext cx="5845959" cy="32020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540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6132110" y="3347371"/>
            <a:ext cx="5957145" cy="163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1931" tIns="95965" rIns="191931" bIns="959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endParaRPr lang="en-GB" sz="2631" dirty="0">
              <a:solidFill>
                <a:schemeClr val="bg1"/>
              </a:solidFill>
            </a:endParaRPr>
          </a:p>
        </p:txBody>
      </p:sp>
      <p:sp>
        <p:nvSpPr>
          <p:cNvPr id="17" name="Content Placeholder 6"/>
          <p:cNvSpPr>
            <a:spLocks noGrp="1"/>
          </p:cNvSpPr>
          <p:nvPr>
            <p:ph sz="quarter" idx="12"/>
          </p:nvPr>
        </p:nvSpPr>
        <p:spPr>
          <a:xfrm>
            <a:off x="474483" y="2235381"/>
            <a:ext cx="5418461" cy="3610113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2176">
                <a:solidFill>
                  <a:schemeClr val="tx1"/>
                </a:solidFill>
              </a:defRPr>
            </a:lvl1pPr>
            <a:lvl2pPr>
              <a:spcBef>
                <a:spcPts val="544"/>
              </a:spcBef>
              <a:spcAft>
                <a:spcPts val="544"/>
              </a:spcAft>
              <a:buClrTx/>
              <a:defRPr sz="1813">
                <a:solidFill>
                  <a:schemeClr val="tx1"/>
                </a:solidFill>
              </a:defRPr>
            </a:lvl2pPr>
            <a:lvl3pPr>
              <a:spcBef>
                <a:spcPts val="544"/>
              </a:spcBef>
              <a:spcAft>
                <a:spcPts val="544"/>
              </a:spcAft>
              <a:buClrTx/>
              <a:defRPr sz="1632">
                <a:solidFill>
                  <a:schemeClr val="tx1"/>
                </a:solidFill>
              </a:defRPr>
            </a:lvl3pPr>
            <a:lvl4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632">
                <a:solidFill>
                  <a:schemeClr val="tx1"/>
                </a:solidFill>
              </a:defRPr>
            </a:lvl4pPr>
            <a:lvl5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6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5115" y="855306"/>
            <a:ext cx="3899496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>
              <a:buFontTx/>
              <a:buNone/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05115" y="1521539"/>
            <a:ext cx="2778050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23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DA1BFDD-A97F-444A-B8B2-1D7B656BAA53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327936644"/>
      </p:ext>
    </p:extLst>
  </p:cSld>
  <p:clrMapOvr>
    <a:masterClrMapping/>
  </p:clrMapOvr>
  <p:transition>
    <p:fade/>
  </p:transition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ictures right - content le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6106863" y="72018"/>
            <a:ext cx="5982395" cy="66522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8190438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51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10196278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51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184602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51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6014453" y="144449"/>
            <a:ext cx="4174963" cy="6631483"/>
            <a:chOff x="6629995" y="159259"/>
            <a:chExt cx="4602244" cy="7209945"/>
          </a:xfrm>
          <a:solidFill>
            <a:schemeClr val="bg1"/>
          </a:solidFill>
        </p:grpSpPr>
        <p:sp>
          <p:nvSpPr>
            <p:cNvPr id="4" name="Rectangle 3"/>
            <p:cNvSpPr/>
            <p:nvPr userDrawn="1"/>
          </p:nvSpPr>
          <p:spPr bwMode="gray">
            <a:xfrm>
              <a:off x="6629995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endParaRPr lang="en-GB" sz="2903" dirty="0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  <p:sp>
          <p:nvSpPr>
            <p:cNvPr id="29" name="Rectangle 28"/>
            <p:cNvSpPr/>
            <p:nvPr userDrawn="1"/>
          </p:nvSpPr>
          <p:spPr bwMode="gray">
            <a:xfrm>
              <a:off x="11052239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endParaRPr lang="en-GB" sz="2903" dirty="0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gray">
            <a:xfrm>
              <a:off x="8841117" y="159259"/>
              <a:ext cx="180000" cy="720994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5638" tIns="82819" rIns="165638" bIns="8281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endParaRPr lang="en-GB" sz="2903" dirty="0">
                <a:solidFill>
                  <a:schemeClr val="bg1"/>
                </a:solidFill>
                <a:latin typeface="Segoe UI Light" panose="020B0502040204020203" pitchFamily="34" charset="0"/>
              </a:endParaRPr>
            </a:p>
          </p:txBody>
        </p:sp>
      </p:grpSp>
      <p:sp>
        <p:nvSpPr>
          <p:cNvPr id="27" name="Content Placeholder 6"/>
          <p:cNvSpPr>
            <a:spLocks noGrp="1"/>
          </p:cNvSpPr>
          <p:nvPr>
            <p:ph sz="quarter" idx="12"/>
          </p:nvPr>
        </p:nvSpPr>
        <p:spPr>
          <a:xfrm>
            <a:off x="474483" y="2235381"/>
            <a:ext cx="5418461" cy="3610113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2176">
                <a:solidFill>
                  <a:schemeClr val="tx1"/>
                </a:solidFill>
              </a:defRPr>
            </a:lvl1pPr>
            <a:lvl2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813">
                <a:solidFill>
                  <a:schemeClr val="tx1"/>
                </a:solidFill>
              </a:defRPr>
            </a:lvl2pPr>
            <a:lvl3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632">
                <a:solidFill>
                  <a:schemeClr val="tx1"/>
                </a:solidFill>
              </a:defRPr>
            </a:lvl3pPr>
            <a:lvl4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632">
                <a:solidFill>
                  <a:schemeClr val="tx1"/>
                </a:solidFill>
              </a:defRPr>
            </a:lvl4pPr>
            <a:lvl5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6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5115" y="855306"/>
            <a:ext cx="3899496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 marL="518174" indent="-518174">
              <a:buFontTx/>
              <a:buNone/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5115" y="1521539"/>
            <a:ext cx="2778050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24" name="TextBox 23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26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C97C09DB-9A21-47C8-AF0C-4AE756AFE357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1606555318"/>
      </p:ext>
    </p:extLst>
  </p:cSld>
  <p:clrMapOvr>
    <a:masterClrMapping/>
  </p:clrMapOvr>
  <p:transition>
    <p:fade/>
  </p:transition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pictures Left - content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151641" y="115482"/>
            <a:ext cx="5869692" cy="66045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174087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76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162414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76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4003942" y="144449"/>
            <a:ext cx="163289" cy="66314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 bwMode="gray">
          <a:xfrm>
            <a:off x="1998105" y="144449"/>
            <a:ext cx="163289" cy="66314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168251" y="164871"/>
            <a:ext cx="1828831" cy="65189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2176" baseline="0"/>
            </a:lvl1pPr>
          </a:lstStyle>
          <a:p>
            <a:r>
              <a:rPr lang="en-GB" dirty="0"/>
              <a:t>A picture can be inserted here, it can be left blank or it can be filled in another colour</a:t>
            </a:r>
          </a:p>
        </p:txBody>
      </p:sp>
      <p:sp>
        <p:nvSpPr>
          <p:cNvPr id="18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014456" y="144449"/>
            <a:ext cx="163289" cy="66314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27" name="Content Placeholder 6"/>
          <p:cNvSpPr>
            <a:spLocks noGrp="1"/>
          </p:cNvSpPr>
          <p:nvPr>
            <p:ph sz="quarter" idx="12"/>
          </p:nvPr>
        </p:nvSpPr>
        <p:spPr>
          <a:xfrm>
            <a:off x="6445919" y="2235381"/>
            <a:ext cx="5418461" cy="3610113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spcBef>
                <a:spcPts val="544"/>
              </a:spcBef>
              <a:spcAft>
                <a:spcPts val="544"/>
              </a:spcAft>
              <a:buClrTx/>
              <a:defRPr sz="2176">
                <a:solidFill>
                  <a:schemeClr val="tx1"/>
                </a:solidFill>
              </a:defRPr>
            </a:lvl1pPr>
            <a:lvl2pPr>
              <a:spcBef>
                <a:spcPts val="544"/>
              </a:spcBef>
              <a:spcAft>
                <a:spcPts val="544"/>
              </a:spcAft>
              <a:buClrTx/>
              <a:defRPr sz="1813">
                <a:solidFill>
                  <a:schemeClr val="tx1"/>
                </a:solidFill>
              </a:defRPr>
            </a:lvl2pPr>
            <a:lvl3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632">
                <a:solidFill>
                  <a:schemeClr val="tx1"/>
                </a:solidFill>
              </a:defRPr>
            </a:lvl3pPr>
            <a:lvl4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632">
                <a:solidFill>
                  <a:schemeClr val="tx1"/>
                </a:solidFill>
              </a:defRPr>
            </a:lvl4pPr>
            <a:lvl5pPr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 sz="1632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456564" y="855306"/>
            <a:ext cx="3899496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456564" y="1521539"/>
            <a:ext cx="2778050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D9F82D9-5335-43C7-9532-DF4F98087F53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1279134724"/>
      </p:ext>
    </p:extLst>
  </p:cSld>
  <p:clrMapOvr>
    <a:masterClrMapping/>
  </p:clrMapOvr>
  <p:transition>
    <p:fade/>
  </p:transition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1718156" y="2990582"/>
            <a:ext cx="8755697" cy="876843"/>
          </a:xfrm>
          <a:prstGeom prst="rect">
            <a:avLst/>
          </a:prstGeom>
          <a:noFill/>
        </p:spPr>
        <p:txBody>
          <a:bodyPr wrap="none" anchor="ctr"/>
          <a:lstStyle>
            <a:lvl1pPr algn="ctr">
              <a:lnSpc>
                <a:spcPct val="110000"/>
              </a:lnSpc>
              <a:defRPr sz="562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statement</a:t>
            </a:r>
            <a:endParaRPr lang="en-GB" dirty="0"/>
          </a:p>
        </p:txBody>
      </p:sp>
      <p:sp>
        <p:nvSpPr>
          <p:cNvPr id="9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2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4D2298A-C8BD-4415-977D-D9B413F8C828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617259386"/>
      </p:ext>
    </p:extLst>
  </p:cSld>
  <p:clrMapOvr>
    <a:masterClrMapping/>
  </p:clrMapOvr>
  <p:transition>
    <p:fade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a fi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4991" y="4082105"/>
            <a:ext cx="5582136" cy="1249243"/>
          </a:xfrm>
          <a:prstGeom prst="rect">
            <a:avLst/>
          </a:prstGeom>
        </p:spPr>
        <p:txBody>
          <a:bodyPr wrap="square" lIns="82819" tIns="41410" rIns="82819" bIns="41410">
            <a:normAutofit/>
          </a:bodyPr>
          <a:lstStyle>
            <a:lvl1pPr marL="0" indent="0">
              <a:spcBef>
                <a:spcPts val="1252"/>
              </a:spcBef>
              <a:buNone/>
              <a:defRPr sz="1723">
                <a:solidFill>
                  <a:schemeClr val="bg1"/>
                </a:solidFill>
              </a:defRPr>
            </a:lvl1pPr>
            <a:lvl2pPr marL="476831" indent="0">
              <a:buNone/>
              <a:defRPr>
                <a:solidFill>
                  <a:schemeClr val="bg1"/>
                </a:solidFill>
              </a:defRPr>
            </a:lvl2pPr>
            <a:lvl3pPr marL="953660" indent="0">
              <a:buNone/>
              <a:defRPr>
                <a:solidFill>
                  <a:schemeClr val="bg1"/>
                </a:solidFill>
              </a:defRPr>
            </a:lvl3pPr>
            <a:lvl4pPr marL="1430490" indent="0">
              <a:buNone/>
              <a:defRPr>
                <a:solidFill>
                  <a:schemeClr val="bg1"/>
                </a:solidFill>
              </a:defRPr>
            </a:lvl4pPr>
            <a:lvl5pPr marL="190732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05121" y="3494312"/>
            <a:ext cx="3245342" cy="468349"/>
          </a:xfrm>
          <a:prstGeom prst="rect">
            <a:avLst/>
          </a:prstGeom>
          <a:solidFill>
            <a:schemeClr val="accent2"/>
          </a:solidFill>
        </p:spPr>
        <p:txBody>
          <a:bodyPr wrap="none" lIns="82819" tIns="41410" rIns="82819" bIns="41410" rtlCol="0" anchor="t">
            <a:spAutoFit/>
          </a:bodyPr>
          <a:lstStyle>
            <a:lvl1pPr marL="0" indent="0">
              <a:lnSpc>
                <a:spcPts val="3045"/>
              </a:lnSpc>
              <a:spcAft>
                <a:spcPts val="0"/>
              </a:spcAft>
              <a:buNone/>
              <a:defRPr lang="en-GB" sz="254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subtitle</a:t>
            </a:r>
            <a:endParaRPr lang="en-GB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5114" y="2703140"/>
            <a:ext cx="5339697" cy="842970"/>
          </a:xfrm>
          <a:prstGeom prst="rect">
            <a:avLst/>
          </a:prstGeom>
          <a:solidFill>
            <a:schemeClr val="accent3"/>
          </a:solidFill>
        </p:spPr>
        <p:txBody>
          <a:bodyPr tIns="144000" bIns="0" anchor="ctr"/>
          <a:lstStyle>
            <a:lvl1pPr algn="l">
              <a:defRPr sz="4533">
                <a:latin typeface="+mj-lt"/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784" b="38176"/>
          <a:stretch/>
        </p:blipFill>
        <p:spPr>
          <a:xfrm>
            <a:off x="440879" y="6314391"/>
            <a:ext cx="890117" cy="277264"/>
          </a:xfrm>
          <a:prstGeom prst="rect">
            <a:avLst/>
          </a:prstGeom>
        </p:spPr>
      </p:pic>
      <p:sp>
        <p:nvSpPr>
          <p:cNvPr id="3" name="Media Placeholder 2"/>
          <p:cNvSpPr>
            <a:spLocks noGrp="1"/>
          </p:cNvSpPr>
          <p:nvPr>
            <p:ph type="media" sz="quarter" idx="12" hasCustomPrompt="1"/>
          </p:nvPr>
        </p:nvSpPr>
        <p:spPr>
          <a:xfrm>
            <a:off x="153936" y="163833"/>
            <a:ext cx="11884133" cy="6530337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 algn="ctr">
              <a:buNone/>
              <a:defRPr sz="145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media here – this will keep your chosen media within a fram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6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942BF75-3B11-466C-8CF3-B4DED2B7E488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4163829896"/>
      </p:ext>
    </p:extLst>
  </p:cSld>
  <p:clrMapOvr>
    <a:masterClrMapping/>
  </p:clrMapOvr>
  <p:transition>
    <p:fade/>
  </p:transition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- half page  media fi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6017314" y="98159"/>
            <a:ext cx="163289" cy="66039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2"/>
          </p:nvPr>
        </p:nvSpPr>
        <p:spPr>
          <a:xfrm>
            <a:off x="6425932" y="2235381"/>
            <a:ext cx="5418461" cy="3610113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2176">
                <a:solidFill>
                  <a:schemeClr val="bg1"/>
                </a:solidFill>
              </a:defRPr>
            </a:lvl1pPr>
            <a:lvl2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813">
                <a:solidFill>
                  <a:schemeClr val="bg1"/>
                </a:solidFill>
              </a:defRPr>
            </a:lvl2pPr>
            <a:lvl3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bg1"/>
                </a:solidFill>
              </a:defRPr>
            </a:lvl3pPr>
            <a:lvl4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bg1"/>
                </a:solidFill>
              </a:defRPr>
            </a:lvl4pPr>
            <a:lvl5pPr>
              <a:spcBef>
                <a:spcPts val="544"/>
              </a:spcBef>
              <a:spcAft>
                <a:spcPts val="544"/>
              </a:spcAft>
              <a:buClr>
                <a:schemeClr val="bg1"/>
              </a:buClr>
              <a:defRPr sz="1632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456564" y="866364"/>
            <a:ext cx="3899496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456564" y="1532598"/>
            <a:ext cx="2778050" cy="339388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079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14"/>
          </p:nvPr>
        </p:nvSpPr>
        <p:spPr>
          <a:xfrm>
            <a:off x="162737" y="164601"/>
            <a:ext cx="5852257" cy="25112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media</a:t>
            </a:r>
            <a:endParaRPr lang="en-GB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20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F742D9D-3BCF-475B-9E7A-EB3B67997E0F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2687325883"/>
      </p:ext>
    </p:extLst>
  </p:cSld>
  <p:clrMapOvr>
    <a:masterClrMapping/>
  </p:clrMapOvr>
  <p:transition>
    <p:fade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resentation - 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157695" y="157665"/>
            <a:ext cx="11876615" cy="22320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451" baseline="0"/>
            </a:lvl1pPr>
          </a:lstStyle>
          <a:p>
            <a:r>
              <a:rPr lang="en-GB" dirty="0"/>
              <a:t>Insert image by clicking the picture icon and selecting file.  Image may then be cropped as desire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05123" y="1077819"/>
            <a:ext cx="7316135" cy="1419016"/>
          </a:xfrm>
          <a:prstGeom prst="rect">
            <a:avLst/>
          </a:prstGeom>
          <a:noFill/>
        </p:spPr>
        <p:txBody>
          <a:bodyPr wrap="square" anchor="t"/>
          <a:lstStyle>
            <a:lvl1pPr algn="l">
              <a:lnSpc>
                <a:spcPts val="5531"/>
              </a:lnSpc>
              <a:defRPr sz="4896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tatement or with </a:t>
            </a:r>
            <a:br>
              <a:rPr lang="en-US" dirty="0"/>
            </a:br>
            <a:r>
              <a:rPr lang="en-US" dirty="0"/>
              <a:t>quote with image</a:t>
            </a:r>
            <a:endParaRPr lang="en-GB" dirty="0"/>
          </a:p>
        </p:txBody>
      </p:sp>
      <p:sp>
        <p:nvSpPr>
          <p:cNvPr id="9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663053" y="6711426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pic>
        <p:nvPicPr>
          <p:cNvPr id="13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9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8D20A27-4BD3-4618-9761-64C94509CB7F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87001358"/>
      </p:ext>
    </p:extLst>
  </p:cSld>
  <p:clrMapOvr>
    <a:masterClrMapping/>
  </p:clrMapOvr>
  <p:transition>
    <p:fade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16:9 Cover Colou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gray">
          <a:xfrm>
            <a:off x="162735" y="162706"/>
            <a:ext cx="11878055" cy="65311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2" rIns="130583" bIns="65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90640" y="6720064"/>
            <a:ext cx="656795" cy="990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635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635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sp>
        <p:nvSpPr>
          <p:cNvPr id="2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05115" y="2199111"/>
            <a:ext cx="6049028" cy="61388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GB" sz="3989" baseline="0" dirty="0">
                <a:solidFill>
                  <a:schemeClr val="bg1"/>
                </a:solidFill>
              </a:defRPr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Fly 1- Click to edit title</a:t>
            </a:r>
            <a:endParaRPr lang="en-GB" dirty="0"/>
          </a:p>
        </p:txBody>
      </p:sp>
      <p:sp>
        <p:nvSpPr>
          <p:cNvPr id="30" name="Freeform 36"/>
          <p:cNvSpPr>
            <a:spLocks noEditPoints="1"/>
          </p:cNvSpPr>
          <p:nvPr userDrawn="1"/>
        </p:nvSpPr>
        <p:spPr bwMode="auto">
          <a:xfrm>
            <a:off x="522763" y="6157659"/>
            <a:ext cx="1924691" cy="261232"/>
          </a:xfrm>
          <a:custGeom>
            <a:avLst/>
            <a:gdLst>
              <a:gd name="T0" fmla="*/ 432 w 18254"/>
              <a:gd name="T1" fmla="*/ 1592 h 2478"/>
              <a:gd name="T2" fmla="*/ 1564 w 18254"/>
              <a:gd name="T3" fmla="*/ 1932 h 2478"/>
              <a:gd name="T4" fmla="*/ 2064 w 18254"/>
              <a:gd name="T5" fmla="*/ 1364 h 2478"/>
              <a:gd name="T6" fmla="*/ 1696 w 18254"/>
              <a:gd name="T7" fmla="*/ 648 h 2478"/>
              <a:gd name="T8" fmla="*/ 720 w 18254"/>
              <a:gd name="T9" fmla="*/ 662 h 2478"/>
              <a:gd name="T10" fmla="*/ 1218 w 18254"/>
              <a:gd name="T11" fmla="*/ 944 h 2478"/>
              <a:gd name="T12" fmla="*/ 1716 w 18254"/>
              <a:gd name="T13" fmla="*/ 1448 h 2478"/>
              <a:gd name="T14" fmla="*/ 1100 w 18254"/>
              <a:gd name="T15" fmla="*/ 1342 h 2478"/>
              <a:gd name="T16" fmla="*/ 2228 w 18254"/>
              <a:gd name="T17" fmla="*/ 910 h 2478"/>
              <a:gd name="T18" fmla="*/ 2788 w 18254"/>
              <a:gd name="T19" fmla="*/ 1538 h 2478"/>
              <a:gd name="T20" fmla="*/ 2416 w 18254"/>
              <a:gd name="T21" fmla="*/ 1916 h 2478"/>
              <a:gd name="T22" fmla="*/ 3124 w 18254"/>
              <a:gd name="T23" fmla="*/ 1556 h 2478"/>
              <a:gd name="T24" fmla="*/ 2560 w 18254"/>
              <a:gd name="T25" fmla="*/ 928 h 2478"/>
              <a:gd name="T26" fmla="*/ 3336 w 18254"/>
              <a:gd name="T27" fmla="*/ 1620 h 2478"/>
              <a:gd name="T28" fmla="*/ 4106 w 18254"/>
              <a:gd name="T29" fmla="*/ 1904 h 2478"/>
              <a:gd name="T30" fmla="*/ 4550 w 18254"/>
              <a:gd name="T31" fmla="*/ 1228 h 2478"/>
              <a:gd name="T32" fmla="*/ 4006 w 18254"/>
              <a:gd name="T33" fmla="*/ 614 h 2478"/>
              <a:gd name="T34" fmla="*/ 3296 w 18254"/>
              <a:gd name="T35" fmla="*/ 994 h 2478"/>
              <a:gd name="T36" fmla="*/ 3940 w 18254"/>
              <a:gd name="T37" fmla="*/ 878 h 2478"/>
              <a:gd name="T38" fmla="*/ 4042 w 18254"/>
              <a:gd name="T39" fmla="*/ 1634 h 2478"/>
              <a:gd name="T40" fmla="*/ 5282 w 18254"/>
              <a:gd name="T41" fmla="*/ 610 h 2478"/>
              <a:gd name="T42" fmla="*/ 4764 w 18254"/>
              <a:gd name="T43" fmla="*/ 1112 h 2478"/>
              <a:gd name="T44" fmla="*/ 5264 w 18254"/>
              <a:gd name="T45" fmla="*/ 1630 h 2478"/>
              <a:gd name="T46" fmla="*/ 5262 w 18254"/>
              <a:gd name="T47" fmla="*/ 1920 h 2478"/>
              <a:gd name="T48" fmla="*/ 5512 w 18254"/>
              <a:gd name="T49" fmla="*/ 1304 h 2478"/>
              <a:gd name="T50" fmla="*/ 5180 w 18254"/>
              <a:gd name="T51" fmla="*/ 858 h 2478"/>
              <a:gd name="T52" fmla="*/ 7918 w 18254"/>
              <a:gd name="T53" fmla="*/ 1894 h 2478"/>
              <a:gd name="T54" fmla="*/ 8180 w 18254"/>
              <a:gd name="T55" fmla="*/ 150 h 2478"/>
              <a:gd name="T56" fmla="*/ 6722 w 18254"/>
              <a:gd name="T57" fmla="*/ 1532 h 2478"/>
              <a:gd name="T58" fmla="*/ 9988 w 18254"/>
              <a:gd name="T59" fmla="*/ 720 h 2478"/>
              <a:gd name="T60" fmla="*/ 9500 w 18254"/>
              <a:gd name="T61" fmla="*/ 840 h 2478"/>
              <a:gd name="T62" fmla="*/ 9326 w 18254"/>
              <a:gd name="T63" fmla="*/ 1110 h 2478"/>
              <a:gd name="T64" fmla="*/ 9070 w 18254"/>
              <a:gd name="T65" fmla="*/ 1772 h 2478"/>
              <a:gd name="T66" fmla="*/ 9852 w 18254"/>
              <a:gd name="T67" fmla="*/ 1734 h 2478"/>
              <a:gd name="T68" fmla="*/ 9400 w 18254"/>
              <a:gd name="T69" fmla="*/ 1630 h 2478"/>
              <a:gd name="T70" fmla="*/ 9730 w 18254"/>
              <a:gd name="T71" fmla="*/ 1256 h 2478"/>
              <a:gd name="T72" fmla="*/ 10954 w 18254"/>
              <a:gd name="T73" fmla="*/ 890 h 2478"/>
              <a:gd name="T74" fmla="*/ 10762 w 18254"/>
              <a:gd name="T75" fmla="*/ 804 h 2478"/>
              <a:gd name="T76" fmla="*/ 11684 w 18254"/>
              <a:gd name="T77" fmla="*/ 466 h 2478"/>
              <a:gd name="T78" fmla="*/ 12038 w 18254"/>
              <a:gd name="T79" fmla="*/ 1210 h 2478"/>
              <a:gd name="T80" fmla="*/ 13118 w 18254"/>
              <a:gd name="T81" fmla="*/ 1628 h 2478"/>
              <a:gd name="T82" fmla="*/ 13636 w 18254"/>
              <a:gd name="T83" fmla="*/ 842 h 2478"/>
              <a:gd name="T84" fmla="*/ 12856 w 18254"/>
              <a:gd name="T85" fmla="*/ 674 h 2478"/>
              <a:gd name="T86" fmla="*/ 12566 w 18254"/>
              <a:gd name="T87" fmla="*/ 1382 h 2478"/>
              <a:gd name="T88" fmla="*/ 13308 w 18254"/>
              <a:gd name="T89" fmla="*/ 1934 h 2478"/>
              <a:gd name="T90" fmla="*/ 13220 w 18254"/>
              <a:gd name="T91" fmla="*/ 884 h 2478"/>
              <a:gd name="T92" fmla="*/ 14392 w 18254"/>
              <a:gd name="T93" fmla="*/ 1604 h 2478"/>
              <a:gd name="T94" fmla="*/ 14030 w 18254"/>
              <a:gd name="T95" fmla="*/ 882 h 2478"/>
              <a:gd name="T96" fmla="*/ 14494 w 18254"/>
              <a:gd name="T97" fmla="*/ 1934 h 2478"/>
              <a:gd name="T98" fmla="*/ 14854 w 18254"/>
              <a:gd name="T99" fmla="*/ 662 h 2478"/>
              <a:gd name="T100" fmla="*/ 17626 w 18254"/>
              <a:gd name="T101" fmla="*/ 620 h 2478"/>
              <a:gd name="T102" fmla="*/ 16944 w 18254"/>
              <a:gd name="T103" fmla="*/ 986 h 2478"/>
              <a:gd name="T104" fmla="*/ 17122 w 18254"/>
              <a:gd name="T105" fmla="*/ 1804 h 2478"/>
              <a:gd name="T106" fmla="*/ 17872 w 18254"/>
              <a:gd name="T107" fmla="*/ 1740 h 2478"/>
              <a:gd name="T108" fmla="*/ 17430 w 18254"/>
              <a:gd name="T109" fmla="*/ 2208 h 2478"/>
              <a:gd name="T110" fmla="*/ 18004 w 18254"/>
              <a:gd name="T111" fmla="*/ 2340 h 2478"/>
              <a:gd name="T112" fmla="*/ 18254 w 18254"/>
              <a:gd name="T113" fmla="*/ 632 h 2478"/>
              <a:gd name="T114" fmla="*/ 17822 w 18254"/>
              <a:gd name="T115" fmla="*/ 994 h 2478"/>
              <a:gd name="T116" fmla="*/ 17460 w 18254"/>
              <a:gd name="T117" fmla="*/ 1648 h 2478"/>
              <a:gd name="T118" fmla="*/ 15880 w 18254"/>
              <a:gd name="T119" fmla="*/ 1048 h 2478"/>
              <a:gd name="T120" fmla="*/ 16326 w 18254"/>
              <a:gd name="T121" fmla="*/ 1474 h 2478"/>
              <a:gd name="T122" fmla="*/ 16456 w 18254"/>
              <a:gd name="T123" fmla="*/ 660 h 2478"/>
              <a:gd name="T124" fmla="*/ 15772 w 18254"/>
              <a:gd name="T125" fmla="*/ 680 h 24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54" h="2478">
                <a:moveTo>
                  <a:pt x="36" y="1894"/>
                </a:moveTo>
                <a:lnTo>
                  <a:pt x="36" y="1894"/>
                </a:lnTo>
                <a:lnTo>
                  <a:pt x="42" y="1790"/>
                </a:lnTo>
                <a:lnTo>
                  <a:pt x="46" y="1690"/>
                </a:lnTo>
                <a:lnTo>
                  <a:pt x="48" y="1576"/>
                </a:lnTo>
                <a:lnTo>
                  <a:pt x="48" y="1442"/>
                </a:lnTo>
                <a:lnTo>
                  <a:pt x="48" y="762"/>
                </a:lnTo>
                <a:lnTo>
                  <a:pt x="48" y="762"/>
                </a:lnTo>
                <a:lnTo>
                  <a:pt x="48" y="672"/>
                </a:lnTo>
                <a:lnTo>
                  <a:pt x="46" y="588"/>
                </a:lnTo>
                <a:lnTo>
                  <a:pt x="42" y="508"/>
                </a:lnTo>
                <a:lnTo>
                  <a:pt x="38" y="432"/>
                </a:lnTo>
                <a:lnTo>
                  <a:pt x="30" y="358"/>
                </a:lnTo>
                <a:lnTo>
                  <a:pt x="22" y="288"/>
                </a:lnTo>
                <a:lnTo>
                  <a:pt x="12" y="218"/>
                </a:lnTo>
                <a:lnTo>
                  <a:pt x="0" y="150"/>
                </a:lnTo>
                <a:lnTo>
                  <a:pt x="428" y="150"/>
                </a:lnTo>
                <a:lnTo>
                  <a:pt x="428" y="150"/>
                </a:lnTo>
                <a:lnTo>
                  <a:pt x="426" y="252"/>
                </a:lnTo>
                <a:lnTo>
                  <a:pt x="422" y="370"/>
                </a:lnTo>
                <a:lnTo>
                  <a:pt x="418" y="502"/>
                </a:lnTo>
                <a:lnTo>
                  <a:pt x="416" y="644"/>
                </a:lnTo>
                <a:lnTo>
                  <a:pt x="416" y="1282"/>
                </a:lnTo>
                <a:lnTo>
                  <a:pt x="416" y="1282"/>
                </a:lnTo>
                <a:lnTo>
                  <a:pt x="418" y="1352"/>
                </a:lnTo>
                <a:lnTo>
                  <a:pt x="420" y="1428"/>
                </a:lnTo>
                <a:lnTo>
                  <a:pt x="426" y="1510"/>
                </a:lnTo>
                <a:lnTo>
                  <a:pt x="432" y="1592"/>
                </a:lnTo>
                <a:lnTo>
                  <a:pt x="448" y="1752"/>
                </a:lnTo>
                <a:lnTo>
                  <a:pt x="466" y="1894"/>
                </a:lnTo>
                <a:lnTo>
                  <a:pt x="36" y="1894"/>
                </a:lnTo>
                <a:close/>
                <a:moveTo>
                  <a:pt x="744" y="2452"/>
                </a:moveTo>
                <a:lnTo>
                  <a:pt x="1148" y="2426"/>
                </a:lnTo>
                <a:lnTo>
                  <a:pt x="1148" y="2426"/>
                </a:lnTo>
                <a:lnTo>
                  <a:pt x="1140" y="2356"/>
                </a:lnTo>
                <a:lnTo>
                  <a:pt x="1134" y="2284"/>
                </a:lnTo>
                <a:lnTo>
                  <a:pt x="1130" y="2214"/>
                </a:lnTo>
                <a:lnTo>
                  <a:pt x="1126" y="2148"/>
                </a:lnTo>
                <a:lnTo>
                  <a:pt x="1124" y="2034"/>
                </a:lnTo>
                <a:lnTo>
                  <a:pt x="1124" y="1960"/>
                </a:lnTo>
                <a:lnTo>
                  <a:pt x="1124" y="1812"/>
                </a:lnTo>
                <a:lnTo>
                  <a:pt x="1124" y="1812"/>
                </a:lnTo>
                <a:lnTo>
                  <a:pt x="1192" y="1854"/>
                </a:lnTo>
                <a:lnTo>
                  <a:pt x="1230" y="1874"/>
                </a:lnTo>
                <a:lnTo>
                  <a:pt x="1272" y="1894"/>
                </a:lnTo>
                <a:lnTo>
                  <a:pt x="1294" y="1902"/>
                </a:lnTo>
                <a:lnTo>
                  <a:pt x="1318" y="1910"/>
                </a:lnTo>
                <a:lnTo>
                  <a:pt x="1344" y="1918"/>
                </a:lnTo>
                <a:lnTo>
                  <a:pt x="1372" y="1924"/>
                </a:lnTo>
                <a:lnTo>
                  <a:pt x="1402" y="1928"/>
                </a:lnTo>
                <a:lnTo>
                  <a:pt x="1434" y="1932"/>
                </a:lnTo>
                <a:lnTo>
                  <a:pt x="1466" y="1934"/>
                </a:lnTo>
                <a:lnTo>
                  <a:pt x="1502" y="1934"/>
                </a:lnTo>
                <a:lnTo>
                  <a:pt x="1502" y="1934"/>
                </a:lnTo>
                <a:lnTo>
                  <a:pt x="1534" y="1934"/>
                </a:lnTo>
                <a:lnTo>
                  <a:pt x="1564" y="1932"/>
                </a:lnTo>
                <a:lnTo>
                  <a:pt x="1594" y="1928"/>
                </a:lnTo>
                <a:lnTo>
                  <a:pt x="1624" y="1922"/>
                </a:lnTo>
                <a:lnTo>
                  <a:pt x="1652" y="1916"/>
                </a:lnTo>
                <a:lnTo>
                  <a:pt x="1680" y="1908"/>
                </a:lnTo>
                <a:lnTo>
                  <a:pt x="1706" y="1898"/>
                </a:lnTo>
                <a:lnTo>
                  <a:pt x="1732" y="1886"/>
                </a:lnTo>
                <a:lnTo>
                  <a:pt x="1758" y="1874"/>
                </a:lnTo>
                <a:lnTo>
                  <a:pt x="1782" y="1860"/>
                </a:lnTo>
                <a:lnTo>
                  <a:pt x="1806" y="1846"/>
                </a:lnTo>
                <a:lnTo>
                  <a:pt x="1828" y="1830"/>
                </a:lnTo>
                <a:lnTo>
                  <a:pt x="1850" y="1812"/>
                </a:lnTo>
                <a:lnTo>
                  <a:pt x="1872" y="1794"/>
                </a:lnTo>
                <a:lnTo>
                  <a:pt x="1892" y="1774"/>
                </a:lnTo>
                <a:lnTo>
                  <a:pt x="1910" y="1754"/>
                </a:lnTo>
                <a:lnTo>
                  <a:pt x="1928" y="1732"/>
                </a:lnTo>
                <a:lnTo>
                  <a:pt x="1946" y="1710"/>
                </a:lnTo>
                <a:lnTo>
                  <a:pt x="1962" y="1686"/>
                </a:lnTo>
                <a:lnTo>
                  <a:pt x="1976" y="1660"/>
                </a:lnTo>
                <a:lnTo>
                  <a:pt x="1990" y="1634"/>
                </a:lnTo>
                <a:lnTo>
                  <a:pt x="2002" y="1608"/>
                </a:lnTo>
                <a:lnTo>
                  <a:pt x="2014" y="1580"/>
                </a:lnTo>
                <a:lnTo>
                  <a:pt x="2026" y="1552"/>
                </a:lnTo>
                <a:lnTo>
                  <a:pt x="2034" y="1522"/>
                </a:lnTo>
                <a:lnTo>
                  <a:pt x="2042" y="1492"/>
                </a:lnTo>
                <a:lnTo>
                  <a:pt x="2050" y="1462"/>
                </a:lnTo>
                <a:lnTo>
                  <a:pt x="2056" y="1430"/>
                </a:lnTo>
                <a:lnTo>
                  <a:pt x="2060" y="1396"/>
                </a:lnTo>
                <a:lnTo>
                  <a:pt x="2064" y="1364"/>
                </a:lnTo>
                <a:lnTo>
                  <a:pt x="2066" y="1330"/>
                </a:lnTo>
                <a:lnTo>
                  <a:pt x="2066" y="1296"/>
                </a:lnTo>
                <a:lnTo>
                  <a:pt x="2066" y="1296"/>
                </a:lnTo>
                <a:lnTo>
                  <a:pt x="2066" y="1258"/>
                </a:lnTo>
                <a:lnTo>
                  <a:pt x="2064" y="1222"/>
                </a:lnTo>
                <a:lnTo>
                  <a:pt x="2060" y="1186"/>
                </a:lnTo>
                <a:lnTo>
                  <a:pt x="2056" y="1150"/>
                </a:lnTo>
                <a:lnTo>
                  <a:pt x="2050" y="1116"/>
                </a:lnTo>
                <a:lnTo>
                  <a:pt x="2042" y="1084"/>
                </a:lnTo>
                <a:lnTo>
                  <a:pt x="2034" y="1050"/>
                </a:lnTo>
                <a:lnTo>
                  <a:pt x="2024" y="1018"/>
                </a:lnTo>
                <a:lnTo>
                  <a:pt x="2012" y="988"/>
                </a:lnTo>
                <a:lnTo>
                  <a:pt x="2000" y="958"/>
                </a:lnTo>
                <a:lnTo>
                  <a:pt x="1988" y="930"/>
                </a:lnTo>
                <a:lnTo>
                  <a:pt x="1974" y="902"/>
                </a:lnTo>
                <a:lnTo>
                  <a:pt x="1958" y="874"/>
                </a:lnTo>
                <a:lnTo>
                  <a:pt x="1942" y="850"/>
                </a:lnTo>
                <a:lnTo>
                  <a:pt x="1924" y="824"/>
                </a:lnTo>
                <a:lnTo>
                  <a:pt x="1906" y="802"/>
                </a:lnTo>
                <a:lnTo>
                  <a:pt x="1886" y="778"/>
                </a:lnTo>
                <a:lnTo>
                  <a:pt x="1866" y="758"/>
                </a:lnTo>
                <a:lnTo>
                  <a:pt x="1844" y="738"/>
                </a:lnTo>
                <a:lnTo>
                  <a:pt x="1822" y="720"/>
                </a:lnTo>
                <a:lnTo>
                  <a:pt x="1798" y="702"/>
                </a:lnTo>
                <a:lnTo>
                  <a:pt x="1774" y="686"/>
                </a:lnTo>
                <a:lnTo>
                  <a:pt x="1748" y="672"/>
                </a:lnTo>
                <a:lnTo>
                  <a:pt x="1724" y="658"/>
                </a:lnTo>
                <a:lnTo>
                  <a:pt x="1696" y="648"/>
                </a:lnTo>
                <a:lnTo>
                  <a:pt x="1668" y="636"/>
                </a:lnTo>
                <a:lnTo>
                  <a:pt x="1640" y="628"/>
                </a:lnTo>
                <a:lnTo>
                  <a:pt x="1612" y="620"/>
                </a:lnTo>
                <a:lnTo>
                  <a:pt x="1582" y="616"/>
                </a:lnTo>
                <a:lnTo>
                  <a:pt x="1552" y="612"/>
                </a:lnTo>
                <a:lnTo>
                  <a:pt x="1520" y="608"/>
                </a:lnTo>
                <a:lnTo>
                  <a:pt x="1488" y="608"/>
                </a:lnTo>
                <a:lnTo>
                  <a:pt x="1488" y="608"/>
                </a:lnTo>
                <a:lnTo>
                  <a:pt x="1446" y="610"/>
                </a:lnTo>
                <a:lnTo>
                  <a:pt x="1406" y="614"/>
                </a:lnTo>
                <a:lnTo>
                  <a:pt x="1368" y="620"/>
                </a:lnTo>
                <a:lnTo>
                  <a:pt x="1334" y="628"/>
                </a:lnTo>
                <a:lnTo>
                  <a:pt x="1302" y="638"/>
                </a:lnTo>
                <a:lnTo>
                  <a:pt x="1274" y="650"/>
                </a:lnTo>
                <a:lnTo>
                  <a:pt x="1246" y="664"/>
                </a:lnTo>
                <a:lnTo>
                  <a:pt x="1222" y="680"/>
                </a:lnTo>
                <a:lnTo>
                  <a:pt x="1198" y="696"/>
                </a:lnTo>
                <a:lnTo>
                  <a:pt x="1178" y="712"/>
                </a:lnTo>
                <a:lnTo>
                  <a:pt x="1158" y="730"/>
                </a:lnTo>
                <a:lnTo>
                  <a:pt x="1138" y="748"/>
                </a:lnTo>
                <a:lnTo>
                  <a:pt x="1106" y="784"/>
                </a:lnTo>
                <a:lnTo>
                  <a:pt x="1074" y="818"/>
                </a:lnTo>
                <a:lnTo>
                  <a:pt x="1074" y="818"/>
                </a:lnTo>
                <a:lnTo>
                  <a:pt x="1064" y="770"/>
                </a:lnTo>
                <a:lnTo>
                  <a:pt x="1054" y="724"/>
                </a:lnTo>
                <a:lnTo>
                  <a:pt x="1044" y="680"/>
                </a:lnTo>
                <a:lnTo>
                  <a:pt x="1030" y="638"/>
                </a:lnTo>
                <a:lnTo>
                  <a:pt x="720" y="662"/>
                </a:lnTo>
                <a:lnTo>
                  <a:pt x="720" y="662"/>
                </a:lnTo>
                <a:lnTo>
                  <a:pt x="748" y="822"/>
                </a:lnTo>
                <a:lnTo>
                  <a:pt x="760" y="900"/>
                </a:lnTo>
                <a:lnTo>
                  <a:pt x="770" y="978"/>
                </a:lnTo>
                <a:lnTo>
                  <a:pt x="780" y="1056"/>
                </a:lnTo>
                <a:lnTo>
                  <a:pt x="786" y="1136"/>
                </a:lnTo>
                <a:lnTo>
                  <a:pt x="792" y="1216"/>
                </a:lnTo>
                <a:lnTo>
                  <a:pt x="792" y="1298"/>
                </a:lnTo>
                <a:lnTo>
                  <a:pt x="792" y="1812"/>
                </a:lnTo>
                <a:lnTo>
                  <a:pt x="792" y="1812"/>
                </a:lnTo>
                <a:lnTo>
                  <a:pt x="792" y="1888"/>
                </a:lnTo>
                <a:lnTo>
                  <a:pt x="786" y="1972"/>
                </a:lnTo>
                <a:lnTo>
                  <a:pt x="780" y="2064"/>
                </a:lnTo>
                <a:lnTo>
                  <a:pt x="774" y="2156"/>
                </a:lnTo>
                <a:lnTo>
                  <a:pt x="756" y="2328"/>
                </a:lnTo>
                <a:lnTo>
                  <a:pt x="744" y="2452"/>
                </a:lnTo>
                <a:close/>
                <a:moveTo>
                  <a:pt x="1098" y="1298"/>
                </a:moveTo>
                <a:lnTo>
                  <a:pt x="1098" y="1298"/>
                </a:lnTo>
                <a:lnTo>
                  <a:pt x="1100" y="1252"/>
                </a:lnTo>
                <a:lnTo>
                  <a:pt x="1104" y="1208"/>
                </a:lnTo>
                <a:lnTo>
                  <a:pt x="1110" y="1166"/>
                </a:lnTo>
                <a:lnTo>
                  <a:pt x="1118" y="1128"/>
                </a:lnTo>
                <a:lnTo>
                  <a:pt x="1128" y="1090"/>
                </a:lnTo>
                <a:lnTo>
                  <a:pt x="1142" y="1056"/>
                </a:lnTo>
                <a:lnTo>
                  <a:pt x="1158" y="1024"/>
                </a:lnTo>
                <a:lnTo>
                  <a:pt x="1176" y="994"/>
                </a:lnTo>
                <a:lnTo>
                  <a:pt x="1196" y="968"/>
                </a:lnTo>
                <a:lnTo>
                  <a:pt x="1218" y="944"/>
                </a:lnTo>
                <a:lnTo>
                  <a:pt x="1244" y="924"/>
                </a:lnTo>
                <a:lnTo>
                  <a:pt x="1272" y="908"/>
                </a:lnTo>
                <a:lnTo>
                  <a:pt x="1302" y="894"/>
                </a:lnTo>
                <a:lnTo>
                  <a:pt x="1334" y="884"/>
                </a:lnTo>
                <a:lnTo>
                  <a:pt x="1370" y="880"/>
                </a:lnTo>
                <a:lnTo>
                  <a:pt x="1408" y="878"/>
                </a:lnTo>
                <a:lnTo>
                  <a:pt x="1408" y="878"/>
                </a:lnTo>
                <a:lnTo>
                  <a:pt x="1442" y="880"/>
                </a:lnTo>
                <a:lnTo>
                  <a:pt x="1478" y="886"/>
                </a:lnTo>
                <a:lnTo>
                  <a:pt x="1510" y="894"/>
                </a:lnTo>
                <a:lnTo>
                  <a:pt x="1540" y="908"/>
                </a:lnTo>
                <a:lnTo>
                  <a:pt x="1570" y="924"/>
                </a:lnTo>
                <a:lnTo>
                  <a:pt x="1596" y="946"/>
                </a:lnTo>
                <a:lnTo>
                  <a:pt x="1622" y="968"/>
                </a:lnTo>
                <a:lnTo>
                  <a:pt x="1644" y="994"/>
                </a:lnTo>
                <a:lnTo>
                  <a:pt x="1664" y="1024"/>
                </a:lnTo>
                <a:lnTo>
                  <a:pt x="1682" y="1056"/>
                </a:lnTo>
                <a:lnTo>
                  <a:pt x="1698" y="1090"/>
                </a:lnTo>
                <a:lnTo>
                  <a:pt x="1712" y="1128"/>
                </a:lnTo>
                <a:lnTo>
                  <a:pt x="1722" y="1168"/>
                </a:lnTo>
                <a:lnTo>
                  <a:pt x="1730" y="1210"/>
                </a:lnTo>
                <a:lnTo>
                  <a:pt x="1734" y="1252"/>
                </a:lnTo>
                <a:lnTo>
                  <a:pt x="1736" y="1298"/>
                </a:lnTo>
                <a:lnTo>
                  <a:pt x="1736" y="1298"/>
                </a:lnTo>
                <a:lnTo>
                  <a:pt x="1734" y="1338"/>
                </a:lnTo>
                <a:lnTo>
                  <a:pt x="1730" y="1378"/>
                </a:lnTo>
                <a:lnTo>
                  <a:pt x="1724" y="1414"/>
                </a:lnTo>
                <a:lnTo>
                  <a:pt x="1716" y="1448"/>
                </a:lnTo>
                <a:lnTo>
                  <a:pt x="1704" y="1482"/>
                </a:lnTo>
                <a:lnTo>
                  <a:pt x="1692" y="1512"/>
                </a:lnTo>
                <a:lnTo>
                  <a:pt x="1676" y="1540"/>
                </a:lnTo>
                <a:lnTo>
                  <a:pt x="1656" y="1564"/>
                </a:lnTo>
                <a:lnTo>
                  <a:pt x="1636" y="1588"/>
                </a:lnTo>
                <a:lnTo>
                  <a:pt x="1612" y="1608"/>
                </a:lnTo>
                <a:lnTo>
                  <a:pt x="1586" y="1624"/>
                </a:lnTo>
                <a:lnTo>
                  <a:pt x="1558" y="1640"/>
                </a:lnTo>
                <a:lnTo>
                  <a:pt x="1528" y="1650"/>
                </a:lnTo>
                <a:lnTo>
                  <a:pt x="1496" y="1658"/>
                </a:lnTo>
                <a:lnTo>
                  <a:pt x="1460" y="1664"/>
                </a:lnTo>
                <a:lnTo>
                  <a:pt x="1422" y="1666"/>
                </a:lnTo>
                <a:lnTo>
                  <a:pt x="1422" y="1666"/>
                </a:lnTo>
                <a:lnTo>
                  <a:pt x="1384" y="1664"/>
                </a:lnTo>
                <a:lnTo>
                  <a:pt x="1350" y="1660"/>
                </a:lnTo>
                <a:lnTo>
                  <a:pt x="1316" y="1652"/>
                </a:lnTo>
                <a:lnTo>
                  <a:pt x="1284" y="1642"/>
                </a:lnTo>
                <a:lnTo>
                  <a:pt x="1256" y="1630"/>
                </a:lnTo>
                <a:lnTo>
                  <a:pt x="1230" y="1614"/>
                </a:lnTo>
                <a:lnTo>
                  <a:pt x="1206" y="1594"/>
                </a:lnTo>
                <a:lnTo>
                  <a:pt x="1184" y="1572"/>
                </a:lnTo>
                <a:lnTo>
                  <a:pt x="1164" y="1548"/>
                </a:lnTo>
                <a:lnTo>
                  <a:pt x="1146" y="1520"/>
                </a:lnTo>
                <a:lnTo>
                  <a:pt x="1132" y="1490"/>
                </a:lnTo>
                <a:lnTo>
                  <a:pt x="1120" y="1458"/>
                </a:lnTo>
                <a:lnTo>
                  <a:pt x="1112" y="1422"/>
                </a:lnTo>
                <a:lnTo>
                  <a:pt x="1104" y="1384"/>
                </a:lnTo>
                <a:lnTo>
                  <a:pt x="1100" y="1342"/>
                </a:lnTo>
                <a:lnTo>
                  <a:pt x="1098" y="1298"/>
                </a:lnTo>
                <a:lnTo>
                  <a:pt x="1098" y="1298"/>
                </a:lnTo>
                <a:close/>
                <a:moveTo>
                  <a:pt x="2994" y="882"/>
                </a:moveTo>
                <a:lnTo>
                  <a:pt x="2994" y="630"/>
                </a:lnTo>
                <a:lnTo>
                  <a:pt x="2994" y="630"/>
                </a:lnTo>
                <a:lnTo>
                  <a:pt x="2926" y="622"/>
                </a:lnTo>
                <a:lnTo>
                  <a:pt x="2858" y="614"/>
                </a:lnTo>
                <a:lnTo>
                  <a:pt x="2788" y="610"/>
                </a:lnTo>
                <a:lnTo>
                  <a:pt x="2720" y="608"/>
                </a:lnTo>
                <a:lnTo>
                  <a:pt x="2720" y="608"/>
                </a:lnTo>
                <a:lnTo>
                  <a:pt x="2666" y="610"/>
                </a:lnTo>
                <a:lnTo>
                  <a:pt x="2616" y="614"/>
                </a:lnTo>
                <a:lnTo>
                  <a:pt x="2568" y="620"/>
                </a:lnTo>
                <a:lnTo>
                  <a:pt x="2522" y="630"/>
                </a:lnTo>
                <a:lnTo>
                  <a:pt x="2478" y="642"/>
                </a:lnTo>
                <a:lnTo>
                  <a:pt x="2438" y="658"/>
                </a:lnTo>
                <a:lnTo>
                  <a:pt x="2400" y="676"/>
                </a:lnTo>
                <a:lnTo>
                  <a:pt x="2366" y="696"/>
                </a:lnTo>
                <a:lnTo>
                  <a:pt x="2334" y="720"/>
                </a:lnTo>
                <a:lnTo>
                  <a:pt x="2306" y="746"/>
                </a:lnTo>
                <a:lnTo>
                  <a:pt x="2282" y="774"/>
                </a:lnTo>
                <a:lnTo>
                  <a:pt x="2262" y="804"/>
                </a:lnTo>
                <a:lnTo>
                  <a:pt x="2254" y="820"/>
                </a:lnTo>
                <a:lnTo>
                  <a:pt x="2246" y="838"/>
                </a:lnTo>
                <a:lnTo>
                  <a:pt x="2240" y="854"/>
                </a:lnTo>
                <a:lnTo>
                  <a:pt x="2234" y="872"/>
                </a:lnTo>
                <a:lnTo>
                  <a:pt x="2230" y="892"/>
                </a:lnTo>
                <a:lnTo>
                  <a:pt x="2228" y="910"/>
                </a:lnTo>
                <a:lnTo>
                  <a:pt x="2226" y="930"/>
                </a:lnTo>
                <a:lnTo>
                  <a:pt x="2224" y="950"/>
                </a:lnTo>
                <a:lnTo>
                  <a:pt x="2224" y="950"/>
                </a:lnTo>
                <a:lnTo>
                  <a:pt x="2226" y="986"/>
                </a:lnTo>
                <a:lnTo>
                  <a:pt x="2232" y="1018"/>
                </a:lnTo>
                <a:lnTo>
                  <a:pt x="2242" y="1050"/>
                </a:lnTo>
                <a:lnTo>
                  <a:pt x="2254" y="1082"/>
                </a:lnTo>
                <a:lnTo>
                  <a:pt x="2270" y="1112"/>
                </a:lnTo>
                <a:lnTo>
                  <a:pt x="2286" y="1142"/>
                </a:lnTo>
                <a:lnTo>
                  <a:pt x="2306" y="1170"/>
                </a:lnTo>
                <a:lnTo>
                  <a:pt x="2328" y="1196"/>
                </a:lnTo>
                <a:lnTo>
                  <a:pt x="2352" y="1220"/>
                </a:lnTo>
                <a:lnTo>
                  <a:pt x="2376" y="1244"/>
                </a:lnTo>
                <a:lnTo>
                  <a:pt x="2402" y="1266"/>
                </a:lnTo>
                <a:lnTo>
                  <a:pt x="2430" y="1288"/>
                </a:lnTo>
                <a:lnTo>
                  <a:pt x="2456" y="1306"/>
                </a:lnTo>
                <a:lnTo>
                  <a:pt x="2482" y="1324"/>
                </a:lnTo>
                <a:lnTo>
                  <a:pt x="2510" y="1340"/>
                </a:lnTo>
                <a:lnTo>
                  <a:pt x="2536" y="1354"/>
                </a:lnTo>
                <a:lnTo>
                  <a:pt x="2536" y="1354"/>
                </a:lnTo>
                <a:lnTo>
                  <a:pt x="2640" y="1414"/>
                </a:lnTo>
                <a:lnTo>
                  <a:pt x="2684" y="1440"/>
                </a:lnTo>
                <a:lnTo>
                  <a:pt x="2720" y="1464"/>
                </a:lnTo>
                <a:lnTo>
                  <a:pt x="2752" y="1488"/>
                </a:lnTo>
                <a:lnTo>
                  <a:pt x="2764" y="1500"/>
                </a:lnTo>
                <a:lnTo>
                  <a:pt x="2774" y="1512"/>
                </a:lnTo>
                <a:lnTo>
                  <a:pt x="2782" y="1526"/>
                </a:lnTo>
                <a:lnTo>
                  <a:pt x="2788" y="1538"/>
                </a:lnTo>
                <a:lnTo>
                  <a:pt x="2792" y="1552"/>
                </a:lnTo>
                <a:lnTo>
                  <a:pt x="2792" y="1566"/>
                </a:lnTo>
                <a:lnTo>
                  <a:pt x="2792" y="1566"/>
                </a:lnTo>
                <a:lnTo>
                  <a:pt x="2792" y="1580"/>
                </a:lnTo>
                <a:lnTo>
                  <a:pt x="2788" y="1594"/>
                </a:lnTo>
                <a:lnTo>
                  <a:pt x="2784" y="1608"/>
                </a:lnTo>
                <a:lnTo>
                  <a:pt x="2778" y="1620"/>
                </a:lnTo>
                <a:lnTo>
                  <a:pt x="2770" y="1630"/>
                </a:lnTo>
                <a:lnTo>
                  <a:pt x="2760" y="1642"/>
                </a:lnTo>
                <a:lnTo>
                  <a:pt x="2750" y="1650"/>
                </a:lnTo>
                <a:lnTo>
                  <a:pt x="2738" y="1658"/>
                </a:lnTo>
                <a:lnTo>
                  <a:pt x="2724" y="1666"/>
                </a:lnTo>
                <a:lnTo>
                  <a:pt x="2710" y="1672"/>
                </a:lnTo>
                <a:lnTo>
                  <a:pt x="2682" y="1682"/>
                </a:lnTo>
                <a:lnTo>
                  <a:pt x="2650" y="1688"/>
                </a:lnTo>
                <a:lnTo>
                  <a:pt x="2616" y="1690"/>
                </a:lnTo>
                <a:lnTo>
                  <a:pt x="2616" y="1690"/>
                </a:lnTo>
                <a:lnTo>
                  <a:pt x="2566" y="1688"/>
                </a:lnTo>
                <a:lnTo>
                  <a:pt x="2516" y="1682"/>
                </a:lnTo>
                <a:lnTo>
                  <a:pt x="2466" y="1672"/>
                </a:lnTo>
                <a:lnTo>
                  <a:pt x="2416" y="1660"/>
                </a:lnTo>
                <a:lnTo>
                  <a:pt x="2368" y="1648"/>
                </a:lnTo>
                <a:lnTo>
                  <a:pt x="2324" y="1634"/>
                </a:lnTo>
                <a:lnTo>
                  <a:pt x="2246" y="1610"/>
                </a:lnTo>
                <a:lnTo>
                  <a:pt x="2246" y="1878"/>
                </a:lnTo>
                <a:lnTo>
                  <a:pt x="2246" y="1878"/>
                </a:lnTo>
                <a:lnTo>
                  <a:pt x="2332" y="1898"/>
                </a:lnTo>
                <a:lnTo>
                  <a:pt x="2416" y="1916"/>
                </a:lnTo>
                <a:lnTo>
                  <a:pt x="2460" y="1924"/>
                </a:lnTo>
                <a:lnTo>
                  <a:pt x="2504" y="1930"/>
                </a:lnTo>
                <a:lnTo>
                  <a:pt x="2552" y="1934"/>
                </a:lnTo>
                <a:lnTo>
                  <a:pt x="2604" y="1934"/>
                </a:lnTo>
                <a:lnTo>
                  <a:pt x="2604" y="1934"/>
                </a:lnTo>
                <a:lnTo>
                  <a:pt x="2662" y="1934"/>
                </a:lnTo>
                <a:lnTo>
                  <a:pt x="2716" y="1928"/>
                </a:lnTo>
                <a:lnTo>
                  <a:pt x="2768" y="1920"/>
                </a:lnTo>
                <a:lnTo>
                  <a:pt x="2818" y="1910"/>
                </a:lnTo>
                <a:lnTo>
                  <a:pt x="2864" y="1896"/>
                </a:lnTo>
                <a:lnTo>
                  <a:pt x="2906" y="1878"/>
                </a:lnTo>
                <a:lnTo>
                  <a:pt x="2946" y="1858"/>
                </a:lnTo>
                <a:lnTo>
                  <a:pt x="2982" y="1836"/>
                </a:lnTo>
                <a:lnTo>
                  <a:pt x="3014" y="1810"/>
                </a:lnTo>
                <a:lnTo>
                  <a:pt x="3042" y="1782"/>
                </a:lnTo>
                <a:lnTo>
                  <a:pt x="3054" y="1766"/>
                </a:lnTo>
                <a:lnTo>
                  <a:pt x="3066" y="1750"/>
                </a:lnTo>
                <a:lnTo>
                  <a:pt x="3076" y="1734"/>
                </a:lnTo>
                <a:lnTo>
                  <a:pt x="3086" y="1716"/>
                </a:lnTo>
                <a:lnTo>
                  <a:pt x="3094" y="1698"/>
                </a:lnTo>
                <a:lnTo>
                  <a:pt x="3102" y="1680"/>
                </a:lnTo>
                <a:lnTo>
                  <a:pt x="3108" y="1662"/>
                </a:lnTo>
                <a:lnTo>
                  <a:pt x="3114" y="1642"/>
                </a:lnTo>
                <a:lnTo>
                  <a:pt x="3118" y="1620"/>
                </a:lnTo>
                <a:lnTo>
                  <a:pt x="3120" y="1600"/>
                </a:lnTo>
                <a:lnTo>
                  <a:pt x="3122" y="1578"/>
                </a:lnTo>
                <a:lnTo>
                  <a:pt x="3124" y="1556"/>
                </a:lnTo>
                <a:lnTo>
                  <a:pt x="3124" y="1556"/>
                </a:lnTo>
                <a:lnTo>
                  <a:pt x="3122" y="1516"/>
                </a:lnTo>
                <a:lnTo>
                  <a:pt x="3116" y="1478"/>
                </a:lnTo>
                <a:lnTo>
                  <a:pt x="3106" y="1444"/>
                </a:lnTo>
                <a:lnTo>
                  <a:pt x="3094" y="1412"/>
                </a:lnTo>
                <a:lnTo>
                  <a:pt x="3078" y="1382"/>
                </a:lnTo>
                <a:lnTo>
                  <a:pt x="3060" y="1354"/>
                </a:lnTo>
                <a:lnTo>
                  <a:pt x="3040" y="1328"/>
                </a:lnTo>
                <a:lnTo>
                  <a:pt x="3018" y="1304"/>
                </a:lnTo>
                <a:lnTo>
                  <a:pt x="2994" y="1282"/>
                </a:lnTo>
                <a:lnTo>
                  <a:pt x="2970" y="1262"/>
                </a:lnTo>
                <a:lnTo>
                  <a:pt x="2944" y="1242"/>
                </a:lnTo>
                <a:lnTo>
                  <a:pt x="2918" y="1224"/>
                </a:lnTo>
                <a:lnTo>
                  <a:pt x="2866" y="1192"/>
                </a:lnTo>
                <a:lnTo>
                  <a:pt x="2814" y="1164"/>
                </a:lnTo>
                <a:lnTo>
                  <a:pt x="2814" y="1164"/>
                </a:lnTo>
                <a:lnTo>
                  <a:pt x="2716" y="1110"/>
                </a:lnTo>
                <a:lnTo>
                  <a:pt x="2672" y="1082"/>
                </a:lnTo>
                <a:lnTo>
                  <a:pt x="2634" y="1058"/>
                </a:lnTo>
                <a:lnTo>
                  <a:pt x="2602" y="1032"/>
                </a:lnTo>
                <a:lnTo>
                  <a:pt x="2588" y="1018"/>
                </a:lnTo>
                <a:lnTo>
                  <a:pt x="2576" y="1006"/>
                </a:lnTo>
                <a:lnTo>
                  <a:pt x="2568" y="992"/>
                </a:lnTo>
                <a:lnTo>
                  <a:pt x="2560" y="978"/>
                </a:lnTo>
                <a:lnTo>
                  <a:pt x="2556" y="964"/>
                </a:lnTo>
                <a:lnTo>
                  <a:pt x="2556" y="950"/>
                </a:lnTo>
                <a:lnTo>
                  <a:pt x="2556" y="950"/>
                </a:lnTo>
                <a:lnTo>
                  <a:pt x="2556" y="938"/>
                </a:lnTo>
                <a:lnTo>
                  <a:pt x="2560" y="928"/>
                </a:lnTo>
                <a:lnTo>
                  <a:pt x="2564" y="918"/>
                </a:lnTo>
                <a:lnTo>
                  <a:pt x="2572" y="908"/>
                </a:lnTo>
                <a:lnTo>
                  <a:pt x="2580" y="898"/>
                </a:lnTo>
                <a:lnTo>
                  <a:pt x="2590" y="890"/>
                </a:lnTo>
                <a:lnTo>
                  <a:pt x="2602" y="884"/>
                </a:lnTo>
                <a:lnTo>
                  <a:pt x="2616" y="876"/>
                </a:lnTo>
                <a:lnTo>
                  <a:pt x="2648" y="866"/>
                </a:lnTo>
                <a:lnTo>
                  <a:pt x="2686" y="858"/>
                </a:lnTo>
                <a:lnTo>
                  <a:pt x="2728" y="854"/>
                </a:lnTo>
                <a:lnTo>
                  <a:pt x="2776" y="852"/>
                </a:lnTo>
                <a:lnTo>
                  <a:pt x="2776" y="852"/>
                </a:lnTo>
                <a:lnTo>
                  <a:pt x="2802" y="854"/>
                </a:lnTo>
                <a:lnTo>
                  <a:pt x="2830" y="856"/>
                </a:lnTo>
                <a:lnTo>
                  <a:pt x="2884" y="862"/>
                </a:lnTo>
                <a:lnTo>
                  <a:pt x="2994" y="882"/>
                </a:lnTo>
                <a:close/>
                <a:moveTo>
                  <a:pt x="3248" y="1264"/>
                </a:moveTo>
                <a:lnTo>
                  <a:pt x="3248" y="1264"/>
                </a:lnTo>
                <a:lnTo>
                  <a:pt x="3248" y="1300"/>
                </a:lnTo>
                <a:lnTo>
                  <a:pt x="3250" y="1336"/>
                </a:lnTo>
                <a:lnTo>
                  <a:pt x="3254" y="1370"/>
                </a:lnTo>
                <a:lnTo>
                  <a:pt x="3260" y="1404"/>
                </a:lnTo>
                <a:lnTo>
                  <a:pt x="3266" y="1438"/>
                </a:lnTo>
                <a:lnTo>
                  <a:pt x="3276" y="1470"/>
                </a:lnTo>
                <a:lnTo>
                  <a:pt x="3284" y="1502"/>
                </a:lnTo>
                <a:lnTo>
                  <a:pt x="3296" y="1534"/>
                </a:lnTo>
                <a:lnTo>
                  <a:pt x="3308" y="1562"/>
                </a:lnTo>
                <a:lnTo>
                  <a:pt x="3322" y="1592"/>
                </a:lnTo>
                <a:lnTo>
                  <a:pt x="3336" y="1620"/>
                </a:lnTo>
                <a:lnTo>
                  <a:pt x="3354" y="1648"/>
                </a:lnTo>
                <a:lnTo>
                  <a:pt x="3370" y="1674"/>
                </a:lnTo>
                <a:lnTo>
                  <a:pt x="3390" y="1698"/>
                </a:lnTo>
                <a:lnTo>
                  <a:pt x="3410" y="1722"/>
                </a:lnTo>
                <a:lnTo>
                  <a:pt x="3430" y="1746"/>
                </a:lnTo>
                <a:lnTo>
                  <a:pt x="3452" y="1768"/>
                </a:lnTo>
                <a:lnTo>
                  <a:pt x="3476" y="1788"/>
                </a:lnTo>
                <a:lnTo>
                  <a:pt x="3500" y="1806"/>
                </a:lnTo>
                <a:lnTo>
                  <a:pt x="3526" y="1826"/>
                </a:lnTo>
                <a:lnTo>
                  <a:pt x="3552" y="1842"/>
                </a:lnTo>
                <a:lnTo>
                  <a:pt x="3580" y="1858"/>
                </a:lnTo>
                <a:lnTo>
                  <a:pt x="3608" y="1872"/>
                </a:lnTo>
                <a:lnTo>
                  <a:pt x="3638" y="1884"/>
                </a:lnTo>
                <a:lnTo>
                  <a:pt x="3668" y="1896"/>
                </a:lnTo>
                <a:lnTo>
                  <a:pt x="3698" y="1906"/>
                </a:lnTo>
                <a:lnTo>
                  <a:pt x="3730" y="1914"/>
                </a:lnTo>
                <a:lnTo>
                  <a:pt x="3762" y="1922"/>
                </a:lnTo>
                <a:lnTo>
                  <a:pt x="3796" y="1928"/>
                </a:lnTo>
                <a:lnTo>
                  <a:pt x="3830" y="1932"/>
                </a:lnTo>
                <a:lnTo>
                  <a:pt x="3866" y="1934"/>
                </a:lnTo>
                <a:lnTo>
                  <a:pt x="3902" y="1934"/>
                </a:lnTo>
                <a:lnTo>
                  <a:pt x="3902" y="1934"/>
                </a:lnTo>
                <a:lnTo>
                  <a:pt x="3938" y="1934"/>
                </a:lnTo>
                <a:lnTo>
                  <a:pt x="3972" y="1932"/>
                </a:lnTo>
                <a:lnTo>
                  <a:pt x="4008" y="1926"/>
                </a:lnTo>
                <a:lnTo>
                  <a:pt x="4040" y="1922"/>
                </a:lnTo>
                <a:lnTo>
                  <a:pt x="4074" y="1914"/>
                </a:lnTo>
                <a:lnTo>
                  <a:pt x="4106" y="1904"/>
                </a:lnTo>
                <a:lnTo>
                  <a:pt x="4136" y="1894"/>
                </a:lnTo>
                <a:lnTo>
                  <a:pt x="4166" y="1882"/>
                </a:lnTo>
                <a:lnTo>
                  <a:pt x="4196" y="1868"/>
                </a:lnTo>
                <a:lnTo>
                  <a:pt x="4224" y="1854"/>
                </a:lnTo>
                <a:lnTo>
                  <a:pt x="4252" y="1838"/>
                </a:lnTo>
                <a:lnTo>
                  <a:pt x="4278" y="1820"/>
                </a:lnTo>
                <a:lnTo>
                  <a:pt x="4302" y="1802"/>
                </a:lnTo>
                <a:lnTo>
                  <a:pt x="4326" y="1782"/>
                </a:lnTo>
                <a:lnTo>
                  <a:pt x="4350" y="1760"/>
                </a:lnTo>
                <a:lnTo>
                  <a:pt x="4372" y="1738"/>
                </a:lnTo>
                <a:lnTo>
                  <a:pt x="4392" y="1714"/>
                </a:lnTo>
                <a:lnTo>
                  <a:pt x="4412" y="1690"/>
                </a:lnTo>
                <a:lnTo>
                  <a:pt x="4430" y="1664"/>
                </a:lnTo>
                <a:lnTo>
                  <a:pt x="4448" y="1638"/>
                </a:lnTo>
                <a:lnTo>
                  <a:pt x="4464" y="1612"/>
                </a:lnTo>
                <a:lnTo>
                  <a:pt x="4478" y="1584"/>
                </a:lnTo>
                <a:lnTo>
                  <a:pt x="4492" y="1554"/>
                </a:lnTo>
                <a:lnTo>
                  <a:pt x="4504" y="1524"/>
                </a:lnTo>
                <a:lnTo>
                  <a:pt x="4514" y="1494"/>
                </a:lnTo>
                <a:lnTo>
                  <a:pt x="4524" y="1464"/>
                </a:lnTo>
                <a:lnTo>
                  <a:pt x="4532" y="1432"/>
                </a:lnTo>
                <a:lnTo>
                  <a:pt x="4538" y="1398"/>
                </a:lnTo>
                <a:lnTo>
                  <a:pt x="4544" y="1366"/>
                </a:lnTo>
                <a:lnTo>
                  <a:pt x="4548" y="1332"/>
                </a:lnTo>
                <a:lnTo>
                  <a:pt x="4550" y="1298"/>
                </a:lnTo>
                <a:lnTo>
                  <a:pt x="4550" y="1264"/>
                </a:lnTo>
                <a:lnTo>
                  <a:pt x="4550" y="1264"/>
                </a:lnTo>
                <a:lnTo>
                  <a:pt x="4550" y="1228"/>
                </a:lnTo>
                <a:lnTo>
                  <a:pt x="4548" y="1192"/>
                </a:lnTo>
                <a:lnTo>
                  <a:pt x="4544" y="1158"/>
                </a:lnTo>
                <a:lnTo>
                  <a:pt x="4538" y="1124"/>
                </a:lnTo>
                <a:lnTo>
                  <a:pt x="4532" y="1092"/>
                </a:lnTo>
                <a:lnTo>
                  <a:pt x="4524" y="1058"/>
                </a:lnTo>
                <a:lnTo>
                  <a:pt x="4514" y="1028"/>
                </a:lnTo>
                <a:lnTo>
                  <a:pt x="4504" y="998"/>
                </a:lnTo>
                <a:lnTo>
                  <a:pt x="4492" y="968"/>
                </a:lnTo>
                <a:lnTo>
                  <a:pt x="4478" y="940"/>
                </a:lnTo>
                <a:lnTo>
                  <a:pt x="4462" y="912"/>
                </a:lnTo>
                <a:lnTo>
                  <a:pt x="4446" y="886"/>
                </a:lnTo>
                <a:lnTo>
                  <a:pt x="4430" y="860"/>
                </a:lnTo>
                <a:lnTo>
                  <a:pt x="4412" y="836"/>
                </a:lnTo>
                <a:lnTo>
                  <a:pt x="4392" y="812"/>
                </a:lnTo>
                <a:lnTo>
                  <a:pt x="4370" y="790"/>
                </a:lnTo>
                <a:lnTo>
                  <a:pt x="4348" y="768"/>
                </a:lnTo>
                <a:lnTo>
                  <a:pt x="4326" y="750"/>
                </a:lnTo>
                <a:lnTo>
                  <a:pt x="4302" y="730"/>
                </a:lnTo>
                <a:lnTo>
                  <a:pt x="4276" y="712"/>
                </a:lnTo>
                <a:lnTo>
                  <a:pt x="4250" y="696"/>
                </a:lnTo>
                <a:lnTo>
                  <a:pt x="4224" y="682"/>
                </a:lnTo>
                <a:lnTo>
                  <a:pt x="4196" y="668"/>
                </a:lnTo>
                <a:lnTo>
                  <a:pt x="4166" y="656"/>
                </a:lnTo>
                <a:lnTo>
                  <a:pt x="4136" y="644"/>
                </a:lnTo>
                <a:lnTo>
                  <a:pt x="4104" y="636"/>
                </a:lnTo>
                <a:lnTo>
                  <a:pt x="4074" y="626"/>
                </a:lnTo>
                <a:lnTo>
                  <a:pt x="4040" y="620"/>
                </a:lnTo>
                <a:lnTo>
                  <a:pt x="4006" y="614"/>
                </a:lnTo>
                <a:lnTo>
                  <a:pt x="3972" y="610"/>
                </a:lnTo>
                <a:lnTo>
                  <a:pt x="3938" y="608"/>
                </a:lnTo>
                <a:lnTo>
                  <a:pt x="3902" y="608"/>
                </a:lnTo>
                <a:lnTo>
                  <a:pt x="3902" y="608"/>
                </a:lnTo>
                <a:lnTo>
                  <a:pt x="3866" y="608"/>
                </a:lnTo>
                <a:lnTo>
                  <a:pt x="3830" y="610"/>
                </a:lnTo>
                <a:lnTo>
                  <a:pt x="3796" y="614"/>
                </a:lnTo>
                <a:lnTo>
                  <a:pt x="3762" y="620"/>
                </a:lnTo>
                <a:lnTo>
                  <a:pt x="3728" y="626"/>
                </a:lnTo>
                <a:lnTo>
                  <a:pt x="3696" y="634"/>
                </a:lnTo>
                <a:lnTo>
                  <a:pt x="3666" y="644"/>
                </a:lnTo>
                <a:lnTo>
                  <a:pt x="3634" y="654"/>
                </a:lnTo>
                <a:lnTo>
                  <a:pt x="3606" y="666"/>
                </a:lnTo>
                <a:lnTo>
                  <a:pt x="3578" y="680"/>
                </a:lnTo>
                <a:lnTo>
                  <a:pt x="3550" y="694"/>
                </a:lnTo>
                <a:lnTo>
                  <a:pt x="3524" y="710"/>
                </a:lnTo>
                <a:lnTo>
                  <a:pt x="3498" y="728"/>
                </a:lnTo>
                <a:lnTo>
                  <a:pt x="3474" y="746"/>
                </a:lnTo>
                <a:lnTo>
                  <a:pt x="3450" y="766"/>
                </a:lnTo>
                <a:lnTo>
                  <a:pt x="3428" y="788"/>
                </a:lnTo>
                <a:lnTo>
                  <a:pt x="3408" y="810"/>
                </a:lnTo>
                <a:lnTo>
                  <a:pt x="3388" y="832"/>
                </a:lnTo>
                <a:lnTo>
                  <a:pt x="3370" y="856"/>
                </a:lnTo>
                <a:lnTo>
                  <a:pt x="3352" y="882"/>
                </a:lnTo>
                <a:lnTo>
                  <a:pt x="3336" y="908"/>
                </a:lnTo>
                <a:lnTo>
                  <a:pt x="3320" y="936"/>
                </a:lnTo>
                <a:lnTo>
                  <a:pt x="3308" y="964"/>
                </a:lnTo>
                <a:lnTo>
                  <a:pt x="3296" y="994"/>
                </a:lnTo>
                <a:lnTo>
                  <a:pt x="3284" y="1024"/>
                </a:lnTo>
                <a:lnTo>
                  <a:pt x="3274" y="1056"/>
                </a:lnTo>
                <a:lnTo>
                  <a:pt x="3266" y="1088"/>
                </a:lnTo>
                <a:lnTo>
                  <a:pt x="3260" y="1122"/>
                </a:lnTo>
                <a:lnTo>
                  <a:pt x="3254" y="1156"/>
                </a:lnTo>
                <a:lnTo>
                  <a:pt x="3250" y="1192"/>
                </a:lnTo>
                <a:lnTo>
                  <a:pt x="3248" y="1228"/>
                </a:lnTo>
                <a:lnTo>
                  <a:pt x="3248" y="1264"/>
                </a:lnTo>
                <a:close/>
                <a:moveTo>
                  <a:pt x="3578" y="1264"/>
                </a:moveTo>
                <a:lnTo>
                  <a:pt x="3578" y="1264"/>
                </a:lnTo>
                <a:lnTo>
                  <a:pt x="3580" y="1222"/>
                </a:lnTo>
                <a:lnTo>
                  <a:pt x="3584" y="1180"/>
                </a:lnTo>
                <a:lnTo>
                  <a:pt x="3590" y="1142"/>
                </a:lnTo>
                <a:lnTo>
                  <a:pt x="3598" y="1106"/>
                </a:lnTo>
                <a:lnTo>
                  <a:pt x="3610" y="1072"/>
                </a:lnTo>
                <a:lnTo>
                  <a:pt x="3622" y="1040"/>
                </a:lnTo>
                <a:lnTo>
                  <a:pt x="3640" y="1010"/>
                </a:lnTo>
                <a:lnTo>
                  <a:pt x="3658" y="984"/>
                </a:lnTo>
                <a:lnTo>
                  <a:pt x="3680" y="960"/>
                </a:lnTo>
                <a:lnTo>
                  <a:pt x="3704" y="938"/>
                </a:lnTo>
                <a:lnTo>
                  <a:pt x="3730" y="920"/>
                </a:lnTo>
                <a:lnTo>
                  <a:pt x="3758" y="904"/>
                </a:lnTo>
                <a:lnTo>
                  <a:pt x="3790" y="892"/>
                </a:lnTo>
                <a:lnTo>
                  <a:pt x="3824" y="884"/>
                </a:lnTo>
                <a:lnTo>
                  <a:pt x="3862" y="878"/>
                </a:lnTo>
                <a:lnTo>
                  <a:pt x="3902" y="878"/>
                </a:lnTo>
                <a:lnTo>
                  <a:pt x="3902" y="878"/>
                </a:lnTo>
                <a:lnTo>
                  <a:pt x="3940" y="878"/>
                </a:lnTo>
                <a:lnTo>
                  <a:pt x="3976" y="884"/>
                </a:lnTo>
                <a:lnTo>
                  <a:pt x="4010" y="892"/>
                </a:lnTo>
                <a:lnTo>
                  <a:pt x="4040" y="904"/>
                </a:lnTo>
                <a:lnTo>
                  <a:pt x="4070" y="918"/>
                </a:lnTo>
                <a:lnTo>
                  <a:pt x="4096" y="934"/>
                </a:lnTo>
                <a:lnTo>
                  <a:pt x="4120" y="956"/>
                </a:lnTo>
                <a:lnTo>
                  <a:pt x="4140" y="978"/>
                </a:lnTo>
                <a:lnTo>
                  <a:pt x="4158" y="1004"/>
                </a:lnTo>
                <a:lnTo>
                  <a:pt x="4176" y="1034"/>
                </a:lnTo>
                <a:lnTo>
                  <a:pt x="4188" y="1066"/>
                </a:lnTo>
                <a:lnTo>
                  <a:pt x="4200" y="1100"/>
                </a:lnTo>
                <a:lnTo>
                  <a:pt x="4208" y="1138"/>
                </a:lnTo>
                <a:lnTo>
                  <a:pt x="4214" y="1178"/>
                </a:lnTo>
                <a:lnTo>
                  <a:pt x="4218" y="1220"/>
                </a:lnTo>
                <a:lnTo>
                  <a:pt x="4220" y="1264"/>
                </a:lnTo>
                <a:lnTo>
                  <a:pt x="4220" y="1264"/>
                </a:lnTo>
                <a:lnTo>
                  <a:pt x="4218" y="1306"/>
                </a:lnTo>
                <a:lnTo>
                  <a:pt x="4214" y="1346"/>
                </a:lnTo>
                <a:lnTo>
                  <a:pt x="4208" y="1386"/>
                </a:lnTo>
                <a:lnTo>
                  <a:pt x="4200" y="1422"/>
                </a:lnTo>
                <a:lnTo>
                  <a:pt x="4190" y="1458"/>
                </a:lnTo>
                <a:lnTo>
                  <a:pt x="4176" y="1492"/>
                </a:lnTo>
                <a:lnTo>
                  <a:pt x="4160" y="1522"/>
                </a:lnTo>
                <a:lnTo>
                  <a:pt x="4142" y="1550"/>
                </a:lnTo>
                <a:lnTo>
                  <a:pt x="4120" y="1576"/>
                </a:lnTo>
                <a:lnTo>
                  <a:pt x="4096" y="1598"/>
                </a:lnTo>
                <a:lnTo>
                  <a:pt x="4070" y="1618"/>
                </a:lnTo>
                <a:lnTo>
                  <a:pt x="4042" y="1634"/>
                </a:lnTo>
                <a:lnTo>
                  <a:pt x="4010" y="1648"/>
                </a:lnTo>
                <a:lnTo>
                  <a:pt x="3976" y="1658"/>
                </a:lnTo>
                <a:lnTo>
                  <a:pt x="3940" y="1664"/>
                </a:lnTo>
                <a:lnTo>
                  <a:pt x="3902" y="1666"/>
                </a:lnTo>
                <a:lnTo>
                  <a:pt x="3902" y="1666"/>
                </a:lnTo>
                <a:lnTo>
                  <a:pt x="3864" y="1664"/>
                </a:lnTo>
                <a:lnTo>
                  <a:pt x="3828" y="1658"/>
                </a:lnTo>
                <a:lnTo>
                  <a:pt x="3796" y="1648"/>
                </a:lnTo>
                <a:lnTo>
                  <a:pt x="3764" y="1636"/>
                </a:lnTo>
                <a:lnTo>
                  <a:pt x="3736" y="1618"/>
                </a:lnTo>
                <a:lnTo>
                  <a:pt x="3708" y="1600"/>
                </a:lnTo>
                <a:lnTo>
                  <a:pt x="3684" y="1576"/>
                </a:lnTo>
                <a:lnTo>
                  <a:pt x="3662" y="1552"/>
                </a:lnTo>
                <a:lnTo>
                  <a:pt x="3644" y="1522"/>
                </a:lnTo>
                <a:lnTo>
                  <a:pt x="3626" y="1492"/>
                </a:lnTo>
                <a:lnTo>
                  <a:pt x="3612" y="1460"/>
                </a:lnTo>
                <a:lnTo>
                  <a:pt x="3600" y="1424"/>
                </a:lnTo>
                <a:lnTo>
                  <a:pt x="3590" y="1386"/>
                </a:lnTo>
                <a:lnTo>
                  <a:pt x="3584" y="1348"/>
                </a:lnTo>
                <a:lnTo>
                  <a:pt x="3580" y="1306"/>
                </a:lnTo>
                <a:lnTo>
                  <a:pt x="3578" y="1264"/>
                </a:lnTo>
                <a:lnTo>
                  <a:pt x="3578" y="1264"/>
                </a:lnTo>
                <a:close/>
                <a:moveTo>
                  <a:pt x="5488" y="882"/>
                </a:moveTo>
                <a:lnTo>
                  <a:pt x="5488" y="630"/>
                </a:lnTo>
                <a:lnTo>
                  <a:pt x="5488" y="630"/>
                </a:lnTo>
                <a:lnTo>
                  <a:pt x="5420" y="622"/>
                </a:lnTo>
                <a:lnTo>
                  <a:pt x="5352" y="614"/>
                </a:lnTo>
                <a:lnTo>
                  <a:pt x="5282" y="610"/>
                </a:lnTo>
                <a:lnTo>
                  <a:pt x="5214" y="608"/>
                </a:lnTo>
                <a:lnTo>
                  <a:pt x="5214" y="608"/>
                </a:lnTo>
                <a:lnTo>
                  <a:pt x="5160" y="610"/>
                </a:lnTo>
                <a:lnTo>
                  <a:pt x="5110" y="614"/>
                </a:lnTo>
                <a:lnTo>
                  <a:pt x="5062" y="620"/>
                </a:lnTo>
                <a:lnTo>
                  <a:pt x="5016" y="630"/>
                </a:lnTo>
                <a:lnTo>
                  <a:pt x="4972" y="642"/>
                </a:lnTo>
                <a:lnTo>
                  <a:pt x="4932" y="658"/>
                </a:lnTo>
                <a:lnTo>
                  <a:pt x="4894" y="676"/>
                </a:lnTo>
                <a:lnTo>
                  <a:pt x="4860" y="696"/>
                </a:lnTo>
                <a:lnTo>
                  <a:pt x="4828" y="720"/>
                </a:lnTo>
                <a:lnTo>
                  <a:pt x="4800" y="746"/>
                </a:lnTo>
                <a:lnTo>
                  <a:pt x="4776" y="774"/>
                </a:lnTo>
                <a:lnTo>
                  <a:pt x="4756" y="804"/>
                </a:lnTo>
                <a:lnTo>
                  <a:pt x="4748" y="820"/>
                </a:lnTo>
                <a:lnTo>
                  <a:pt x="4740" y="838"/>
                </a:lnTo>
                <a:lnTo>
                  <a:pt x="4734" y="854"/>
                </a:lnTo>
                <a:lnTo>
                  <a:pt x="4728" y="872"/>
                </a:lnTo>
                <a:lnTo>
                  <a:pt x="4724" y="892"/>
                </a:lnTo>
                <a:lnTo>
                  <a:pt x="4720" y="910"/>
                </a:lnTo>
                <a:lnTo>
                  <a:pt x="4720" y="930"/>
                </a:lnTo>
                <a:lnTo>
                  <a:pt x="4718" y="950"/>
                </a:lnTo>
                <a:lnTo>
                  <a:pt x="4718" y="950"/>
                </a:lnTo>
                <a:lnTo>
                  <a:pt x="4720" y="986"/>
                </a:lnTo>
                <a:lnTo>
                  <a:pt x="4726" y="1018"/>
                </a:lnTo>
                <a:lnTo>
                  <a:pt x="4736" y="1050"/>
                </a:lnTo>
                <a:lnTo>
                  <a:pt x="4748" y="1082"/>
                </a:lnTo>
                <a:lnTo>
                  <a:pt x="4764" y="1112"/>
                </a:lnTo>
                <a:lnTo>
                  <a:pt x="4780" y="1142"/>
                </a:lnTo>
                <a:lnTo>
                  <a:pt x="4800" y="1170"/>
                </a:lnTo>
                <a:lnTo>
                  <a:pt x="4822" y="1196"/>
                </a:lnTo>
                <a:lnTo>
                  <a:pt x="4846" y="1220"/>
                </a:lnTo>
                <a:lnTo>
                  <a:pt x="4870" y="1244"/>
                </a:lnTo>
                <a:lnTo>
                  <a:pt x="4896" y="1266"/>
                </a:lnTo>
                <a:lnTo>
                  <a:pt x="4924" y="1288"/>
                </a:lnTo>
                <a:lnTo>
                  <a:pt x="4950" y="1306"/>
                </a:lnTo>
                <a:lnTo>
                  <a:pt x="4976" y="1324"/>
                </a:lnTo>
                <a:lnTo>
                  <a:pt x="5004" y="1340"/>
                </a:lnTo>
                <a:lnTo>
                  <a:pt x="5030" y="1354"/>
                </a:lnTo>
                <a:lnTo>
                  <a:pt x="5030" y="1354"/>
                </a:lnTo>
                <a:lnTo>
                  <a:pt x="5134" y="1414"/>
                </a:lnTo>
                <a:lnTo>
                  <a:pt x="5178" y="1440"/>
                </a:lnTo>
                <a:lnTo>
                  <a:pt x="5214" y="1464"/>
                </a:lnTo>
                <a:lnTo>
                  <a:pt x="5246" y="1488"/>
                </a:lnTo>
                <a:lnTo>
                  <a:pt x="5258" y="1500"/>
                </a:lnTo>
                <a:lnTo>
                  <a:pt x="5268" y="1512"/>
                </a:lnTo>
                <a:lnTo>
                  <a:pt x="5276" y="1526"/>
                </a:lnTo>
                <a:lnTo>
                  <a:pt x="5282" y="1538"/>
                </a:lnTo>
                <a:lnTo>
                  <a:pt x="5286" y="1552"/>
                </a:lnTo>
                <a:lnTo>
                  <a:pt x="5286" y="1566"/>
                </a:lnTo>
                <a:lnTo>
                  <a:pt x="5286" y="1566"/>
                </a:lnTo>
                <a:lnTo>
                  <a:pt x="5286" y="1580"/>
                </a:lnTo>
                <a:lnTo>
                  <a:pt x="5282" y="1594"/>
                </a:lnTo>
                <a:lnTo>
                  <a:pt x="5278" y="1608"/>
                </a:lnTo>
                <a:lnTo>
                  <a:pt x="5272" y="1620"/>
                </a:lnTo>
                <a:lnTo>
                  <a:pt x="5264" y="1630"/>
                </a:lnTo>
                <a:lnTo>
                  <a:pt x="5254" y="1642"/>
                </a:lnTo>
                <a:lnTo>
                  <a:pt x="5244" y="1650"/>
                </a:lnTo>
                <a:lnTo>
                  <a:pt x="5232" y="1658"/>
                </a:lnTo>
                <a:lnTo>
                  <a:pt x="5218" y="1666"/>
                </a:lnTo>
                <a:lnTo>
                  <a:pt x="5204" y="1672"/>
                </a:lnTo>
                <a:lnTo>
                  <a:pt x="5174" y="1682"/>
                </a:lnTo>
                <a:lnTo>
                  <a:pt x="5144" y="1688"/>
                </a:lnTo>
                <a:lnTo>
                  <a:pt x="5110" y="1690"/>
                </a:lnTo>
                <a:lnTo>
                  <a:pt x="5110" y="1690"/>
                </a:lnTo>
                <a:lnTo>
                  <a:pt x="5060" y="1688"/>
                </a:lnTo>
                <a:lnTo>
                  <a:pt x="5010" y="1682"/>
                </a:lnTo>
                <a:lnTo>
                  <a:pt x="4960" y="1672"/>
                </a:lnTo>
                <a:lnTo>
                  <a:pt x="4910" y="1660"/>
                </a:lnTo>
                <a:lnTo>
                  <a:pt x="4862" y="1648"/>
                </a:lnTo>
                <a:lnTo>
                  <a:pt x="4818" y="1634"/>
                </a:lnTo>
                <a:lnTo>
                  <a:pt x="4740" y="1610"/>
                </a:lnTo>
                <a:lnTo>
                  <a:pt x="4740" y="1878"/>
                </a:lnTo>
                <a:lnTo>
                  <a:pt x="4740" y="1878"/>
                </a:lnTo>
                <a:lnTo>
                  <a:pt x="4826" y="1898"/>
                </a:lnTo>
                <a:lnTo>
                  <a:pt x="4910" y="1916"/>
                </a:lnTo>
                <a:lnTo>
                  <a:pt x="4954" y="1924"/>
                </a:lnTo>
                <a:lnTo>
                  <a:pt x="4998" y="1930"/>
                </a:lnTo>
                <a:lnTo>
                  <a:pt x="5046" y="1934"/>
                </a:lnTo>
                <a:lnTo>
                  <a:pt x="5098" y="1934"/>
                </a:lnTo>
                <a:lnTo>
                  <a:pt x="5098" y="1934"/>
                </a:lnTo>
                <a:lnTo>
                  <a:pt x="5156" y="1934"/>
                </a:lnTo>
                <a:lnTo>
                  <a:pt x="5210" y="1928"/>
                </a:lnTo>
                <a:lnTo>
                  <a:pt x="5262" y="1920"/>
                </a:lnTo>
                <a:lnTo>
                  <a:pt x="5312" y="1910"/>
                </a:lnTo>
                <a:lnTo>
                  <a:pt x="5358" y="1896"/>
                </a:lnTo>
                <a:lnTo>
                  <a:pt x="5400" y="1878"/>
                </a:lnTo>
                <a:lnTo>
                  <a:pt x="5440" y="1858"/>
                </a:lnTo>
                <a:lnTo>
                  <a:pt x="5476" y="1836"/>
                </a:lnTo>
                <a:lnTo>
                  <a:pt x="5508" y="1810"/>
                </a:lnTo>
                <a:lnTo>
                  <a:pt x="5536" y="1782"/>
                </a:lnTo>
                <a:lnTo>
                  <a:pt x="5548" y="1766"/>
                </a:lnTo>
                <a:lnTo>
                  <a:pt x="5560" y="1750"/>
                </a:lnTo>
                <a:lnTo>
                  <a:pt x="5570" y="1734"/>
                </a:lnTo>
                <a:lnTo>
                  <a:pt x="5580" y="1716"/>
                </a:lnTo>
                <a:lnTo>
                  <a:pt x="5588" y="1698"/>
                </a:lnTo>
                <a:lnTo>
                  <a:pt x="5596" y="1680"/>
                </a:lnTo>
                <a:lnTo>
                  <a:pt x="5602" y="1662"/>
                </a:lnTo>
                <a:lnTo>
                  <a:pt x="5608" y="1642"/>
                </a:lnTo>
                <a:lnTo>
                  <a:pt x="5612" y="1620"/>
                </a:lnTo>
                <a:lnTo>
                  <a:pt x="5614" y="1600"/>
                </a:lnTo>
                <a:lnTo>
                  <a:pt x="5616" y="1578"/>
                </a:lnTo>
                <a:lnTo>
                  <a:pt x="5616" y="1556"/>
                </a:lnTo>
                <a:lnTo>
                  <a:pt x="5616" y="1556"/>
                </a:lnTo>
                <a:lnTo>
                  <a:pt x="5614" y="1516"/>
                </a:lnTo>
                <a:lnTo>
                  <a:pt x="5610" y="1478"/>
                </a:lnTo>
                <a:lnTo>
                  <a:pt x="5600" y="1444"/>
                </a:lnTo>
                <a:lnTo>
                  <a:pt x="5588" y="1412"/>
                </a:lnTo>
                <a:lnTo>
                  <a:pt x="5572" y="1382"/>
                </a:lnTo>
                <a:lnTo>
                  <a:pt x="5554" y="1354"/>
                </a:lnTo>
                <a:lnTo>
                  <a:pt x="5534" y="1328"/>
                </a:lnTo>
                <a:lnTo>
                  <a:pt x="5512" y="1304"/>
                </a:lnTo>
                <a:lnTo>
                  <a:pt x="5488" y="1282"/>
                </a:lnTo>
                <a:lnTo>
                  <a:pt x="5464" y="1262"/>
                </a:lnTo>
                <a:lnTo>
                  <a:pt x="5438" y="1242"/>
                </a:lnTo>
                <a:lnTo>
                  <a:pt x="5412" y="1224"/>
                </a:lnTo>
                <a:lnTo>
                  <a:pt x="5360" y="1192"/>
                </a:lnTo>
                <a:lnTo>
                  <a:pt x="5308" y="1164"/>
                </a:lnTo>
                <a:lnTo>
                  <a:pt x="5308" y="1164"/>
                </a:lnTo>
                <a:lnTo>
                  <a:pt x="5210" y="1110"/>
                </a:lnTo>
                <a:lnTo>
                  <a:pt x="5166" y="1082"/>
                </a:lnTo>
                <a:lnTo>
                  <a:pt x="5128" y="1058"/>
                </a:lnTo>
                <a:lnTo>
                  <a:pt x="5096" y="1032"/>
                </a:lnTo>
                <a:lnTo>
                  <a:pt x="5082" y="1018"/>
                </a:lnTo>
                <a:lnTo>
                  <a:pt x="5070" y="1006"/>
                </a:lnTo>
                <a:lnTo>
                  <a:pt x="5062" y="992"/>
                </a:lnTo>
                <a:lnTo>
                  <a:pt x="5054" y="978"/>
                </a:lnTo>
                <a:lnTo>
                  <a:pt x="5050" y="964"/>
                </a:lnTo>
                <a:lnTo>
                  <a:pt x="5050" y="950"/>
                </a:lnTo>
                <a:lnTo>
                  <a:pt x="5050" y="950"/>
                </a:lnTo>
                <a:lnTo>
                  <a:pt x="5050" y="938"/>
                </a:lnTo>
                <a:lnTo>
                  <a:pt x="5054" y="928"/>
                </a:lnTo>
                <a:lnTo>
                  <a:pt x="5058" y="918"/>
                </a:lnTo>
                <a:lnTo>
                  <a:pt x="5066" y="908"/>
                </a:lnTo>
                <a:lnTo>
                  <a:pt x="5074" y="898"/>
                </a:lnTo>
                <a:lnTo>
                  <a:pt x="5084" y="890"/>
                </a:lnTo>
                <a:lnTo>
                  <a:pt x="5096" y="884"/>
                </a:lnTo>
                <a:lnTo>
                  <a:pt x="5110" y="876"/>
                </a:lnTo>
                <a:lnTo>
                  <a:pt x="5142" y="866"/>
                </a:lnTo>
                <a:lnTo>
                  <a:pt x="5180" y="858"/>
                </a:lnTo>
                <a:lnTo>
                  <a:pt x="5222" y="854"/>
                </a:lnTo>
                <a:lnTo>
                  <a:pt x="5270" y="852"/>
                </a:lnTo>
                <a:lnTo>
                  <a:pt x="5270" y="852"/>
                </a:lnTo>
                <a:lnTo>
                  <a:pt x="5296" y="854"/>
                </a:lnTo>
                <a:lnTo>
                  <a:pt x="5324" y="856"/>
                </a:lnTo>
                <a:lnTo>
                  <a:pt x="5378" y="862"/>
                </a:lnTo>
                <a:lnTo>
                  <a:pt x="5488" y="882"/>
                </a:lnTo>
                <a:close/>
                <a:moveTo>
                  <a:pt x="6696" y="1894"/>
                </a:moveTo>
                <a:lnTo>
                  <a:pt x="7038" y="1894"/>
                </a:lnTo>
                <a:lnTo>
                  <a:pt x="7038" y="1894"/>
                </a:lnTo>
                <a:lnTo>
                  <a:pt x="7030" y="1774"/>
                </a:lnTo>
                <a:lnTo>
                  <a:pt x="7024" y="1646"/>
                </a:lnTo>
                <a:lnTo>
                  <a:pt x="7020" y="1512"/>
                </a:lnTo>
                <a:lnTo>
                  <a:pt x="7020" y="1444"/>
                </a:lnTo>
                <a:lnTo>
                  <a:pt x="7022" y="1380"/>
                </a:lnTo>
                <a:lnTo>
                  <a:pt x="7042" y="518"/>
                </a:lnTo>
                <a:lnTo>
                  <a:pt x="7046" y="518"/>
                </a:lnTo>
                <a:lnTo>
                  <a:pt x="7046" y="518"/>
                </a:lnTo>
                <a:lnTo>
                  <a:pt x="7168" y="876"/>
                </a:lnTo>
                <a:lnTo>
                  <a:pt x="7304" y="1268"/>
                </a:lnTo>
                <a:lnTo>
                  <a:pt x="7368" y="1458"/>
                </a:lnTo>
                <a:lnTo>
                  <a:pt x="7424" y="1638"/>
                </a:lnTo>
                <a:lnTo>
                  <a:pt x="7448" y="1722"/>
                </a:lnTo>
                <a:lnTo>
                  <a:pt x="7470" y="1800"/>
                </a:lnTo>
                <a:lnTo>
                  <a:pt x="7488" y="1870"/>
                </a:lnTo>
                <a:lnTo>
                  <a:pt x="7504" y="1934"/>
                </a:lnTo>
                <a:lnTo>
                  <a:pt x="7918" y="1894"/>
                </a:lnTo>
                <a:lnTo>
                  <a:pt x="7918" y="1894"/>
                </a:lnTo>
                <a:lnTo>
                  <a:pt x="7954" y="1758"/>
                </a:lnTo>
                <a:lnTo>
                  <a:pt x="8002" y="1596"/>
                </a:lnTo>
                <a:lnTo>
                  <a:pt x="8058" y="1416"/>
                </a:lnTo>
                <a:lnTo>
                  <a:pt x="8120" y="1226"/>
                </a:lnTo>
                <a:lnTo>
                  <a:pt x="8186" y="1032"/>
                </a:lnTo>
                <a:lnTo>
                  <a:pt x="8250" y="844"/>
                </a:lnTo>
                <a:lnTo>
                  <a:pt x="8312" y="670"/>
                </a:lnTo>
                <a:lnTo>
                  <a:pt x="8368" y="518"/>
                </a:lnTo>
                <a:lnTo>
                  <a:pt x="8372" y="518"/>
                </a:lnTo>
                <a:lnTo>
                  <a:pt x="8392" y="1380"/>
                </a:lnTo>
                <a:lnTo>
                  <a:pt x="8392" y="1380"/>
                </a:lnTo>
                <a:lnTo>
                  <a:pt x="8394" y="1476"/>
                </a:lnTo>
                <a:lnTo>
                  <a:pt x="8396" y="1608"/>
                </a:lnTo>
                <a:lnTo>
                  <a:pt x="8394" y="1680"/>
                </a:lnTo>
                <a:lnTo>
                  <a:pt x="8392" y="1754"/>
                </a:lnTo>
                <a:lnTo>
                  <a:pt x="8388" y="1826"/>
                </a:lnTo>
                <a:lnTo>
                  <a:pt x="8382" y="1894"/>
                </a:lnTo>
                <a:lnTo>
                  <a:pt x="8774" y="1894"/>
                </a:lnTo>
                <a:lnTo>
                  <a:pt x="8774" y="1894"/>
                </a:lnTo>
                <a:lnTo>
                  <a:pt x="8760" y="1764"/>
                </a:lnTo>
                <a:lnTo>
                  <a:pt x="8748" y="1634"/>
                </a:lnTo>
                <a:lnTo>
                  <a:pt x="8740" y="1504"/>
                </a:lnTo>
                <a:lnTo>
                  <a:pt x="8736" y="1442"/>
                </a:lnTo>
                <a:lnTo>
                  <a:pt x="8736" y="1380"/>
                </a:lnTo>
                <a:lnTo>
                  <a:pt x="8718" y="710"/>
                </a:lnTo>
                <a:lnTo>
                  <a:pt x="8718" y="150"/>
                </a:lnTo>
                <a:lnTo>
                  <a:pt x="8180" y="150"/>
                </a:lnTo>
                <a:lnTo>
                  <a:pt x="8180" y="150"/>
                </a:lnTo>
                <a:lnTo>
                  <a:pt x="8128" y="302"/>
                </a:lnTo>
                <a:lnTo>
                  <a:pt x="8066" y="482"/>
                </a:lnTo>
                <a:lnTo>
                  <a:pt x="7934" y="892"/>
                </a:lnTo>
                <a:lnTo>
                  <a:pt x="7810" y="1290"/>
                </a:lnTo>
                <a:lnTo>
                  <a:pt x="7760" y="1454"/>
                </a:lnTo>
                <a:lnTo>
                  <a:pt x="7722" y="1582"/>
                </a:lnTo>
                <a:lnTo>
                  <a:pt x="7716" y="1582"/>
                </a:lnTo>
                <a:lnTo>
                  <a:pt x="7716" y="1582"/>
                </a:lnTo>
                <a:lnTo>
                  <a:pt x="7706" y="1532"/>
                </a:lnTo>
                <a:lnTo>
                  <a:pt x="7690" y="1468"/>
                </a:lnTo>
                <a:lnTo>
                  <a:pt x="7642" y="1300"/>
                </a:lnTo>
                <a:lnTo>
                  <a:pt x="7580" y="1098"/>
                </a:lnTo>
                <a:lnTo>
                  <a:pt x="7510" y="876"/>
                </a:lnTo>
                <a:lnTo>
                  <a:pt x="7372" y="446"/>
                </a:lnTo>
                <a:lnTo>
                  <a:pt x="7316" y="272"/>
                </a:lnTo>
                <a:lnTo>
                  <a:pt x="7278" y="150"/>
                </a:lnTo>
                <a:lnTo>
                  <a:pt x="6730" y="150"/>
                </a:lnTo>
                <a:lnTo>
                  <a:pt x="6730" y="150"/>
                </a:lnTo>
                <a:lnTo>
                  <a:pt x="6742" y="366"/>
                </a:lnTo>
                <a:lnTo>
                  <a:pt x="6748" y="466"/>
                </a:lnTo>
                <a:lnTo>
                  <a:pt x="6750" y="546"/>
                </a:lnTo>
                <a:lnTo>
                  <a:pt x="6750" y="546"/>
                </a:lnTo>
                <a:lnTo>
                  <a:pt x="6748" y="644"/>
                </a:lnTo>
                <a:lnTo>
                  <a:pt x="6746" y="696"/>
                </a:lnTo>
                <a:lnTo>
                  <a:pt x="6744" y="748"/>
                </a:lnTo>
                <a:lnTo>
                  <a:pt x="6728" y="1380"/>
                </a:lnTo>
                <a:lnTo>
                  <a:pt x="6728" y="1380"/>
                </a:lnTo>
                <a:lnTo>
                  <a:pt x="6722" y="1532"/>
                </a:lnTo>
                <a:lnTo>
                  <a:pt x="6712" y="1670"/>
                </a:lnTo>
                <a:lnTo>
                  <a:pt x="6696" y="1894"/>
                </a:lnTo>
                <a:close/>
                <a:moveTo>
                  <a:pt x="9868" y="1894"/>
                </a:moveTo>
                <a:lnTo>
                  <a:pt x="10174" y="1894"/>
                </a:lnTo>
                <a:lnTo>
                  <a:pt x="10174" y="1894"/>
                </a:lnTo>
                <a:lnTo>
                  <a:pt x="10160" y="1796"/>
                </a:lnTo>
                <a:lnTo>
                  <a:pt x="10148" y="1690"/>
                </a:lnTo>
                <a:lnTo>
                  <a:pt x="10142" y="1634"/>
                </a:lnTo>
                <a:lnTo>
                  <a:pt x="10138" y="1578"/>
                </a:lnTo>
                <a:lnTo>
                  <a:pt x="10136" y="1522"/>
                </a:lnTo>
                <a:lnTo>
                  <a:pt x="10134" y="1464"/>
                </a:lnTo>
                <a:lnTo>
                  <a:pt x="10134" y="1216"/>
                </a:lnTo>
                <a:lnTo>
                  <a:pt x="10134" y="1216"/>
                </a:lnTo>
                <a:lnTo>
                  <a:pt x="10134" y="1158"/>
                </a:lnTo>
                <a:lnTo>
                  <a:pt x="10134" y="1102"/>
                </a:lnTo>
                <a:lnTo>
                  <a:pt x="10130" y="1046"/>
                </a:lnTo>
                <a:lnTo>
                  <a:pt x="10124" y="992"/>
                </a:lnTo>
                <a:lnTo>
                  <a:pt x="10114" y="938"/>
                </a:lnTo>
                <a:lnTo>
                  <a:pt x="10108" y="914"/>
                </a:lnTo>
                <a:lnTo>
                  <a:pt x="10100" y="888"/>
                </a:lnTo>
                <a:lnTo>
                  <a:pt x="10092" y="864"/>
                </a:lnTo>
                <a:lnTo>
                  <a:pt x="10082" y="840"/>
                </a:lnTo>
                <a:lnTo>
                  <a:pt x="10070" y="818"/>
                </a:lnTo>
                <a:lnTo>
                  <a:pt x="10056" y="796"/>
                </a:lnTo>
                <a:lnTo>
                  <a:pt x="10042" y="776"/>
                </a:lnTo>
                <a:lnTo>
                  <a:pt x="10026" y="756"/>
                </a:lnTo>
                <a:lnTo>
                  <a:pt x="10008" y="738"/>
                </a:lnTo>
                <a:lnTo>
                  <a:pt x="9988" y="720"/>
                </a:lnTo>
                <a:lnTo>
                  <a:pt x="9966" y="702"/>
                </a:lnTo>
                <a:lnTo>
                  <a:pt x="9942" y="686"/>
                </a:lnTo>
                <a:lnTo>
                  <a:pt x="9914" y="672"/>
                </a:lnTo>
                <a:lnTo>
                  <a:pt x="9886" y="660"/>
                </a:lnTo>
                <a:lnTo>
                  <a:pt x="9854" y="648"/>
                </a:lnTo>
                <a:lnTo>
                  <a:pt x="9822" y="638"/>
                </a:lnTo>
                <a:lnTo>
                  <a:pt x="9786" y="628"/>
                </a:lnTo>
                <a:lnTo>
                  <a:pt x="9746" y="622"/>
                </a:lnTo>
                <a:lnTo>
                  <a:pt x="9704" y="616"/>
                </a:lnTo>
                <a:lnTo>
                  <a:pt x="9660" y="612"/>
                </a:lnTo>
                <a:lnTo>
                  <a:pt x="9612" y="608"/>
                </a:lnTo>
                <a:lnTo>
                  <a:pt x="9562" y="608"/>
                </a:lnTo>
                <a:lnTo>
                  <a:pt x="9562" y="608"/>
                </a:lnTo>
                <a:lnTo>
                  <a:pt x="9490" y="610"/>
                </a:lnTo>
                <a:lnTo>
                  <a:pt x="9426" y="612"/>
                </a:lnTo>
                <a:lnTo>
                  <a:pt x="9368" y="618"/>
                </a:lnTo>
                <a:lnTo>
                  <a:pt x="9314" y="624"/>
                </a:lnTo>
                <a:lnTo>
                  <a:pt x="9268" y="632"/>
                </a:lnTo>
                <a:lnTo>
                  <a:pt x="9228" y="640"/>
                </a:lnTo>
                <a:lnTo>
                  <a:pt x="9164" y="654"/>
                </a:lnTo>
                <a:lnTo>
                  <a:pt x="9164" y="886"/>
                </a:lnTo>
                <a:lnTo>
                  <a:pt x="9164" y="886"/>
                </a:lnTo>
                <a:lnTo>
                  <a:pt x="9224" y="874"/>
                </a:lnTo>
                <a:lnTo>
                  <a:pt x="9306" y="860"/>
                </a:lnTo>
                <a:lnTo>
                  <a:pt x="9354" y="852"/>
                </a:lnTo>
                <a:lnTo>
                  <a:pt x="9402" y="846"/>
                </a:lnTo>
                <a:lnTo>
                  <a:pt x="9452" y="842"/>
                </a:lnTo>
                <a:lnTo>
                  <a:pt x="9500" y="840"/>
                </a:lnTo>
                <a:lnTo>
                  <a:pt x="9500" y="840"/>
                </a:lnTo>
                <a:lnTo>
                  <a:pt x="9546" y="842"/>
                </a:lnTo>
                <a:lnTo>
                  <a:pt x="9586" y="844"/>
                </a:lnTo>
                <a:lnTo>
                  <a:pt x="9624" y="850"/>
                </a:lnTo>
                <a:lnTo>
                  <a:pt x="9656" y="856"/>
                </a:lnTo>
                <a:lnTo>
                  <a:pt x="9686" y="864"/>
                </a:lnTo>
                <a:lnTo>
                  <a:pt x="9712" y="874"/>
                </a:lnTo>
                <a:lnTo>
                  <a:pt x="9734" y="886"/>
                </a:lnTo>
                <a:lnTo>
                  <a:pt x="9754" y="898"/>
                </a:lnTo>
                <a:lnTo>
                  <a:pt x="9772" y="914"/>
                </a:lnTo>
                <a:lnTo>
                  <a:pt x="9786" y="930"/>
                </a:lnTo>
                <a:lnTo>
                  <a:pt x="9798" y="946"/>
                </a:lnTo>
                <a:lnTo>
                  <a:pt x="9808" y="966"/>
                </a:lnTo>
                <a:lnTo>
                  <a:pt x="9816" y="986"/>
                </a:lnTo>
                <a:lnTo>
                  <a:pt x="9822" y="1006"/>
                </a:lnTo>
                <a:lnTo>
                  <a:pt x="9826" y="1028"/>
                </a:lnTo>
                <a:lnTo>
                  <a:pt x="9828" y="1050"/>
                </a:lnTo>
                <a:lnTo>
                  <a:pt x="9828" y="1050"/>
                </a:lnTo>
                <a:lnTo>
                  <a:pt x="9762" y="1048"/>
                </a:lnTo>
                <a:lnTo>
                  <a:pt x="9696" y="1046"/>
                </a:lnTo>
                <a:lnTo>
                  <a:pt x="9696" y="1046"/>
                </a:lnTo>
                <a:lnTo>
                  <a:pt x="9622" y="1048"/>
                </a:lnTo>
                <a:lnTo>
                  <a:pt x="9550" y="1054"/>
                </a:lnTo>
                <a:lnTo>
                  <a:pt x="9482" y="1066"/>
                </a:lnTo>
                <a:lnTo>
                  <a:pt x="9416" y="1080"/>
                </a:lnTo>
                <a:lnTo>
                  <a:pt x="9386" y="1088"/>
                </a:lnTo>
                <a:lnTo>
                  <a:pt x="9356" y="1098"/>
                </a:lnTo>
                <a:lnTo>
                  <a:pt x="9326" y="1110"/>
                </a:lnTo>
                <a:lnTo>
                  <a:pt x="9298" y="1120"/>
                </a:lnTo>
                <a:lnTo>
                  <a:pt x="9272" y="1134"/>
                </a:lnTo>
                <a:lnTo>
                  <a:pt x="9246" y="1148"/>
                </a:lnTo>
                <a:lnTo>
                  <a:pt x="9220" y="1162"/>
                </a:lnTo>
                <a:lnTo>
                  <a:pt x="9196" y="1178"/>
                </a:lnTo>
                <a:lnTo>
                  <a:pt x="9174" y="1194"/>
                </a:lnTo>
                <a:lnTo>
                  <a:pt x="9152" y="1210"/>
                </a:lnTo>
                <a:lnTo>
                  <a:pt x="9132" y="1228"/>
                </a:lnTo>
                <a:lnTo>
                  <a:pt x="9114" y="1248"/>
                </a:lnTo>
                <a:lnTo>
                  <a:pt x="9096" y="1268"/>
                </a:lnTo>
                <a:lnTo>
                  <a:pt x="9080" y="1288"/>
                </a:lnTo>
                <a:lnTo>
                  <a:pt x="9066" y="1310"/>
                </a:lnTo>
                <a:lnTo>
                  <a:pt x="9052" y="1334"/>
                </a:lnTo>
                <a:lnTo>
                  <a:pt x="9042" y="1356"/>
                </a:lnTo>
                <a:lnTo>
                  <a:pt x="9030" y="1380"/>
                </a:lnTo>
                <a:lnTo>
                  <a:pt x="9022" y="1406"/>
                </a:lnTo>
                <a:lnTo>
                  <a:pt x="9014" y="1432"/>
                </a:lnTo>
                <a:lnTo>
                  <a:pt x="9008" y="1458"/>
                </a:lnTo>
                <a:lnTo>
                  <a:pt x="9004" y="1486"/>
                </a:lnTo>
                <a:lnTo>
                  <a:pt x="9002" y="1514"/>
                </a:lnTo>
                <a:lnTo>
                  <a:pt x="9002" y="1544"/>
                </a:lnTo>
                <a:lnTo>
                  <a:pt x="9002" y="1544"/>
                </a:lnTo>
                <a:lnTo>
                  <a:pt x="9004" y="1586"/>
                </a:lnTo>
                <a:lnTo>
                  <a:pt x="9010" y="1628"/>
                </a:lnTo>
                <a:lnTo>
                  <a:pt x="9020" y="1668"/>
                </a:lnTo>
                <a:lnTo>
                  <a:pt x="9032" y="1706"/>
                </a:lnTo>
                <a:lnTo>
                  <a:pt x="9050" y="1740"/>
                </a:lnTo>
                <a:lnTo>
                  <a:pt x="9070" y="1772"/>
                </a:lnTo>
                <a:lnTo>
                  <a:pt x="9092" y="1802"/>
                </a:lnTo>
                <a:lnTo>
                  <a:pt x="9118" y="1828"/>
                </a:lnTo>
                <a:lnTo>
                  <a:pt x="9146" y="1852"/>
                </a:lnTo>
                <a:lnTo>
                  <a:pt x="9178" y="1874"/>
                </a:lnTo>
                <a:lnTo>
                  <a:pt x="9212" y="1892"/>
                </a:lnTo>
                <a:lnTo>
                  <a:pt x="9248" y="1908"/>
                </a:lnTo>
                <a:lnTo>
                  <a:pt x="9284" y="1920"/>
                </a:lnTo>
                <a:lnTo>
                  <a:pt x="9324" y="1928"/>
                </a:lnTo>
                <a:lnTo>
                  <a:pt x="9366" y="1932"/>
                </a:lnTo>
                <a:lnTo>
                  <a:pt x="9408" y="1934"/>
                </a:lnTo>
                <a:lnTo>
                  <a:pt x="9408" y="1934"/>
                </a:lnTo>
                <a:lnTo>
                  <a:pt x="9452" y="1934"/>
                </a:lnTo>
                <a:lnTo>
                  <a:pt x="9492" y="1928"/>
                </a:lnTo>
                <a:lnTo>
                  <a:pt x="9530" y="1920"/>
                </a:lnTo>
                <a:lnTo>
                  <a:pt x="9566" y="1910"/>
                </a:lnTo>
                <a:lnTo>
                  <a:pt x="9600" y="1898"/>
                </a:lnTo>
                <a:lnTo>
                  <a:pt x="9632" y="1884"/>
                </a:lnTo>
                <a:lnTo>
                  <a:pt x="9662" y="1866"/>
                </a:lnTo>
                <a:lnTo>
                  <a:pt x="9688" y="1850"/>
                </a:lnTo>
                <a:lnTo>
                  <a:pt x="9714" y="1830"/>
                </a:lnTo>
                <a:lnTo>
                  <a:pt x="9738" y="1810"/>
                </a:lnTo>
                <a:lnTo>
                  <a:pt x="9760" y="1788"/>
                </a:lnTo>
                <a:lnTo>
                  <a:pt x="9780" y="1768"/>
                </a:lnTo>
                <a:lnTo>
                  <a:pt x="9816" y="1724"/>
                </a:lnTo>
                <a:lnTo>
                  <a:pt x="9846" y="1682"/>
                </a:lnTo>
                <a:lnTo>
                  <a:pt x="9850" y="1682"/>
                </a:lnTo>
                <a:lnTo>
                  <a:pt x="9850" y="1682"/>
                </a:lnTo>
                <a:lnTo>
                  <a:pt x="9852" y="1734"/>
                </a:lnTo>
                <a:lnTo>
                  <a:pt x="9856" y="1786"/>
                </a:lnTo>
                <a:lnTo>
                  <a:pt x="9868" y="1894"/>
                </a:lnTo>
                <a:close/>
                <a:moveTo>
                  <a:pt x="9828" y="1312"/>
                </a:moveTo>
                <a:lnTo>
                  <a:pt x="9828" y="1312"/>
                </a:lnTo>
                <a:lnTo>
                  <a:pt x="9828" y="1344"/>
                </a:lnTo>
                <a:lnTo>
                  <a:pt x="9824" y="1374"/>
                </a:lnTo>
                <a:lnTo>
                  <a:pt x="9818" y="1404"/>
                </a:lnTo>
                <a:lnTo>
                  <a:pt x="9810" y="1436"/>
                </a:lnTo>
                <a:lnTo>
                  <a:pt x="9800" y="1466"/>
                </a:lnTo>
                <a:lnTo>
                  <a:pt x="9786" y="1494"/>
                </a:lnTo>
                <a:lnTo>
                  <a:pt x="9772" y="1522"/>
                </a:lnTo>
                <a:lnTo>
                  <a:pt x="9754" y="1548"/>
                </a:lnTo>
                <a:lnTo>
                  <a:pt x="9734" y="1574"/>
                </a:lnTo>
                <a:lnTo>
                  <a:pt x="9710" y="1596"/>
                </a:lnTo>
                <a:lnTo>
                  <a:pt x="9686" y="1616"/>
                </a:lnTo>
                <a:lnTo>
                  <a:pt x="9658" y="1632"/>
                </a:lnTo>
                <a:lnTo>
                  <a:pt x="9628" y="1646"/>
                </a:lnTo>
                <a:lnTo>
                  <a:pt x="9596" y="1656"/>
                </a:lnTo>
                <a:lnTo>
                  <a:pt x="9562" y="1664"/>
                </a:lnTo>
                <a:lnTo>
                  <a:pt x="9526" y="1666"/>
                </a:lnTo>
                <a:lnTo>
                  <a:pt x="9526" y="1666"/>
                </a:lnTo>
                <a:lnTo>
                  <a:pt x="9506" y="1664"/>
                </a:lnTo>
                <a:lnTo>
                  <a:pt x="9486" y="1662"/>
                </a:lnTo>
                <a:lnTo>
                  <a:pt x="9466" y="1658"/>
                </a:lnTo>
                <a:lnTo>
                  <a:pt x="9448" y="1654"/>
                </a:lnTo>
                <a:lnTo>
                  <a:pt x="9432" y="1648"/>
                </a:lnTo>
                <a:lnTo>
                  <a:pt x="9416" y="1640"/>
                </a:lnTo>
                <a:lnTo>
                  <a:pt x="9400" y="1630"/>
                </a:lnTo>
                <a:lnTo>
                  <a:pt x="9388" y="1622"/>
                </a:lnTo>
                <a:lnTo>
                  <a:pt x="9376" y="1610"/>
                </a:lnTo>
                <a:lnTo>
                  <a:pt x="9364" y="1598"/>
                </a:lnTo>
                <a:lnTo>
                  <a:pt x="9354" y="1586"/>
                </a:lnTo>
                <a:lnTo>
                  <a:pt x="9346" y="1572"/>
                </a:lnTo>
                <a:lnTo>
                  <a:pt x="9340" y="1556"/>
                </a:lnTo>
                <a:lnTo>
                  <a:pt x="9336" y="1542"/>
                </a:lnTo>
                <a:lnTo>
                  <a:pt x="9334" y="1526"/>
                </a:lnTo>
                <a:lnTo>
                  <a:pt x="9332" y="1508"/>
                </a:lnTo>
                <a:lnTo>
                  <a:pt x="9332" y="1508"/>
                </a:lnTo>
                <a:lnTo>
                  <a:pt x="9334" y="1482"/>
                </a:lnTo>
                <a:lnTo>
                  <a:pt x="9338" y="1456"/>
                </a:lnTo>
                <a:lnTo>
                  <a:pt x="9346" y="1432"/>
                </a:lnTo>
                <a:lnTo>
                  <a:pt x="9358" y="1408"/>
                </a:lnTo>
                <a:lnTo>
                  <a:pt x="9372" y="1386"/>
                </a:lnTo>
                <a:lnTo>
                  <a:pt x="9388" y="1364"/>
                </a:lnTo>
                <a:lnTo>
                  <a:pt x="9408" y="1346"/>
                </a:lnTo>
                <a:lnTo>
                  <a:pt x="9430" y="1328"/>
                </a:lnTo>
                <a:lnTo>
                  <a:pt x="9454" y="1312"/>
                </a:lnTo>
                <a:lnTo>
                  <a:pt x="9482" y="1296"/>
                </a:lnTo>
                <a:lnTo>
                  <a:pt x="9512" y="1284"/>
                </a:lnTo>
                <a:lnTo>
                  <a:pt x="9544" y="1274"/>
                </a:lnTo>
                <a:lnTo>
                  <a:pt x="9580" y="1266"/>
                </a:lnTo>
                <a:lnTo>
                  <a:pt x="9616" y="1260"/>
                </a:lnTo>
                <a:lnTo>
                  <a:pt x="9656" y="1256"/>
                </a:lnTo>
                <a:lnTo>
                  <a:pt x="9696" y="1254"/>
                </a:lnTo>
                <a:lnTo>
                  <a:pt x="9696" y="1254"/>
                </a:lnTo>
                <a:lnTo>
                  <a:pt x="9730" y="1256"/>
                </a:lnTo>
                <a:lnTo>
                  <a:pt x="9762" y="1260"/>
                </a:lnTo>
                <a:lnTo>
                  <a:pt x="9828" y="1272"/>
                </a:lnTo>
                <a:lnTo>
                  <a:pt x="9828" y="1312"/>
                </a:lnTo>
                <a:close/>
                <a:moveTo>
                  <a:pt x="10446" y="1894"/>
                </a:moveTo>
                <a:lnTo>
                  <a:pt x="10800" y="1894"/>
                </a:lnTo>
                <a:lnTo>
                  <a:pt x="10800" y="1894"/>
                </a:lnTo>
                <a:lnTo>
                  <a:pt x="10792" y="1670"/>
                </a:lnTo>
                <a:lnTo>
                  <a:pt x="10790" y="1562"/>
                </a:lnTo>
                <a:lnTo>
                  <a:pt x="10788" y="1474"/>
                </a:lnTo>
                <a:lnTo>
                  <a:pt x="10788" y="1318"/>
                </a:lnTo>
                <a:lnTo>
                  <a:pt x="10788" y="1318"/>
                </a:lnTo>
                <a:lnTo>
                  <a:pt x="10788" y="1226"/>
                </a:lnTo>
                <a:lnTo>
                  <a:pt x="10790" y="1182"/>
                </a:lnTo>
                <a:lnTo>
                  <a:pt x="10792" y="1142"/>
                </a:lnTo>
                <a:lnTo>
                  <a:pt x="10796" y="1102"/>
                </a:lnTo>
                <a:lnTo>
                  <a:pt x="10802" y="1066"/>
                </a:lnTo>
                <a:lnTo>
                  <a:pt x="10812" y="1032"/>
                </a:lnTo>
                <a:lnTo>
                  <a:pt x="10822" y="1002"/>
                </a:lnTo>
                <a:lnTo>
                  <a:pt x="10838" y="974"/>
                </a:lnTo>
                <a:lnTo>
                  <a:pt x="10846" y="962"/>
                </a:lnTo>
                <a:lnTo>
                  <a:pt x="10856" y="950"/>
                </a:lnTo>
                <a:lnTo>
                  <a:pt x="10866" y="938"/>
                </a:lnTo>
                <a:lnTo>
                  <a:pt x="10878" y="928"/>
                </a:lnTo>
                <a:lnTo>
                  <a:pt x="10890" y="918"/>
                </a:lnTo>
                <a:lnTo>
                  <a:pt x="10904" y="910"/>
                </a:lnTo>
                <a:lnTo>
                  <a:pt x="10920" y="902"/>
                </a:lnTo>
                <a:lnTo>
                  <a:pt x="10936" y="896"/>
                </a:lnTo>
                <a:lnTo>
                  <a:pt x="10954" y="890"/>
                </a:lnTo>
                <a:lnTo>
                  <a:pt x="10974" y="886"/>
                </a:lnTo>
                <a:lnTo>
                  <a:pt x="10994" y="882"/>
                </a:lnTo>
                <a:lnTo>
                  <a:pt x="11016" y="880"/>
                </a:lnTo>
                <a:lnTo>
                  <a:pt x="11064" y="878"/>
                </a:lnTo>
                <a:lnTo>
                  <a:pt x="11064" y="878"/>
                </a:lnTo>
                <a:lnTo>
                  <a:pt x="11090" y="878"/>
                </a:lnTo>
                <a:lnTo>
                  <a:pt x="11116" y="882"/>
                </a:lnTo>
                <a:lnTo>
                  <a:pt x="11168" y="890"/>
                </a:lnTo>
                <a:lnTo>
                  <a:pt x="11152" y="610"/>
                </a:lnTo>
                <a:lnTo>
                  <a:pt x="11152" y="610"/>
                </a:lnTo>
                <a:lnTo>
                  <a:pt x="11128" y="608"/>
                </a:lnTo>
                <a:lnTo>
                  <a:pt x="11102" y="608"/>
                </a:lnTo>
                <a:lnTo>
                  <a:pt x="11102" y="608"/>
                </a:lnTo>
                <a:lnTo>
                  <a:pt x="11074" y="608"/>
                </a:lnTo>
                <a:lnTo>
                  <a:pt x="11048" y="612"/>
                </a:lnTo>
                <a:lnTo>
                  <a:pt x="11022" y="618"/>
                </a:lnTo>
                <a:lnTo>
                  <a:pt x="10994" y="626"/>
                </a:lnTo>
                <a:lnTo>
                  <a:pt x="10968" y="634"/>
                </a:lnTo>
                <a:lnTo>
                  <a:pt x="10942" y="646"/>
                </a:lnTo>
                <a:lnTo>
                  <a:pt x="10918" y="658"/>
                </a:lnTo>
                <a:lnTo>
                  <a:pt x="10894" y="672"/>
                </a:lnTo>
                <a:lnTo>
                  <a:pt x="10870" y="688"/>
                </a:lnTo>
                <a:lnTo>
                  <a:pt x="10848" y="706"/>
                </a:lnTo>
                <a:lnTo>
                  <a:pt x="10828" y="724"/>
                </a:lnTo>
                <a:lnTo>
                  <a:pt x="10808" y="742"/>
                </a:lnTo>
                <a:lnTo>
                  <a:pt x="10792" y="762"/>
                </a:lnTo>
                <a:lnTo>
                  <a:pt x="10776" y="782"/>
                </a:lnTo>
                <a:lnTo>
                  <a:pt x="10762" y="804"/>
                </a:lnTo>
                <a:lnTo>
                  <a:pt x="10752" y="826"/>
                </a:lnTo>
                <a:lnTo>
                  <a:pt x="10746" y="826"/>
                </a:lnTo>
                <a:lnTo>
                  <a:pt x="10746" y="826"/>
                </a:lnTo>
                <a:lnTo>
                  <a:pt x="10732" y="726"/>
                </a:lnTo>
                <a:lnTo>
                  <a:pt x="10722" y="680"/>
                </a:lnTo>
                <a:lnTo>
                  <a:pt x="10712" y="638"/>
                </a:lnTo>
                <a:lnTo>
                  <a:pt x="10384" y="662"/>
                </a:lnTo>
                <a:lnTo>
                  <a:pt x="10384" y="662"/>
                </a:lnTo>
                <a:lnTo>
                  <a:pt x="10412" y="792"/>
                </a:lnTo>
                <a:lnTo>
                  <a:pt x="10424" y="856"/>
                </a:lnTo>
                <a:lnTo>
                  <a:pt x="10436" y="920"/>
                </a:lnTo>
                <a:lnTo>
                  <a:pt x="10444" y="982"/>
                </a:lnTo>
                <a:lnTo>
                  <a:pt x="10452" y="1046"/>
                </a:lnTo>
                <a:lnTo>
                  <a:pt x="10456" y="1112"/>
                </a:lnTo>
                <a:lnTo>
                  <a:pt x="10458" y="1178"/>
                </a:lnTo>
                <a:lnTo>
                  <a:pt x="10458" y="1474"/>
                </a:lnTo>
                <a:lnTo>
                  <a:pt x="10458" y="1474"/>
                </a:lnTo>
                <a:lnTo>
                  <a:pt x="10456" y="1580"/>
                </a:lnTo>
                <a:lnTo>
                  <a:pt x="10454" y="1684"/>
                </a:lnTo>
                <a:lnTo>
                  <a:pt x="10446" y="1894"/>
                </a:lnTo>
                <a:close/>
                <a:moveTo>
                  <a:pt x="11342" y="1894"/>
                </a:moveTo>
                <a:lnTo>
                  <a:pt x="11696" y="1894"/>
                </a:lnTo>
                <a:lnTo>
                  <a:pt x="11696" y="1894"/>
                </a:lnTo>
                <a:lnTo>
                  <a:pt x="11690" y="1764"/>
                </a:lnTo>
                <a:lnTo>
                  <a:pt x="11686" y="1636"/>
                </a:lnTo>
                <a:lnTo>
                  <a:pt x="11684" y="1508"/>
                </a:lnTo>
                <a:lnTo>
                  <a:pt x="11684" y="1380"/>
                </a:lnTo>
                <a:lnTo>
                  <a:pt x="11684" y="466"/>
                </a:lnTo>
                <a:lnTo>
                  <a:pt x="11684" y="466"/>
                </a:lnTo>
                <a:lnTo>
                  <a:pt x="11686" y="364"/>
                </a:lnTo>
                <a:lnTo>
                  <a:pt x="11690" y="256"/>
                </a:lnTo>
                <a:lnTo>
                  <a:pt x="11694" y="136"/>
                </a:lnTo>
                <a:lnTo>
                  <a:pt x="11696" y="0"/>
                </a:lnTo>
                <a:lnTo>
                  <a:pt x="11304" y="26"/>
                </a:lnTo>
                <a:lnTo>
                  <a:pt x="11304" y="26"/>
                </a:lnTo>
                <a:lnTo>
                  <a:pt x="11320" y="130"/>
                </a:lnTo>
                <a:lnTo>
                  <a:pt x="11332" y="232"/>
                </a:lnTo>
                <a:lnTo>
                  <a:pt x="11342" y="332"/>
                </a:lnTo>
                <a:lnTo>
                  <a:pt x="11348" y="426"/>
                </a:lnTo>
                <a:lnTo>
                  <a:pt x="11350" y="512"/>
                </a:lnTo>
                <a:lnTo>
                  <a:pt x="11352" y="588"/>
                </a:lnTo>
                <a:lnTo>
                  <a:pt x="11354" y="698"/>
                </a:lnTo>
                <a:lnTo>
                  <a:pt x="11354" y="1380"/>
                </a:lnTo>
                <a:lnTo>
                  <a:pt x="11354" y="1380"/>
                </a:lnTo>
                <a:lnTo>
                  <a:pt x="11352" y="1516"/>
                </a:lnTo>
                <a:lnTo>
                  <a:pt x="11348" y="1644"/>
                </a:lnTo>
                <a:lnTo>
                  <a:pt x="11344" y="1766"/>
                </a:lnTo>
                <a:lnTo>
                  <a:pt x="11342" y="1894"/>
                </a:lnTo>
                <a:close/>
                <a:moveTo>
                  <a:pt x="12158" y="1894"/>
                </a:moveTo>
                <a:lnTo>
                  <a:pt x="12576" y="1894"/>
                </a:lnTo>
                <a:lnTo>
                  <a:pt x="12576" y="1894"/>
                </a:lnTo>
                <a:lnTo>
                  <a:pt x="12496" y="1800"/>
                </a:lnTo>
                <a:lnTo>
                  <a:pt x="12408" y="1694"/>
                </a:lnTo>
                <a:lnTo>
                  <a:pt x="12316" y="1578"/>
                </a:lnTo>
                <a:lnTo>
                  <a:pt x="12220" y="1452"/>
                </a:lnTo>
                <a:lnTo>
                  <a:pt x="12038" y="1210"/>
                </a:lnTo>
                <a:lnTo>
                  <a:pt x="12162" y="1034"/>
                </a:lnTo>
                <a:lnTo>
                  <a:pt x="12162" y="1034"/>
                </a:lnTo>
                <a:lnTo>
                  <a:pt x="12196" y="984"/>
                </a:lnTo>
                <a:lnTo>
                  <a:pt x="12232" y="936"/>
                </a:lnTo>
                <a:lnTo>
                  <a:pt x="12308" y="838"/>
                </a:lnTo>
                <a:lnTo>
                  <a:pt x="12386" y="738"/>
                </a:lnTo>
                <a:lnTo>
                  <a:pt x="12464" y="638"/>
                </a:lnTo>
                <a:lnTo>
                  <a:pt x="12070" y="662"/>
                </a:lnTo>
                <a:lnTo>
                  <a:pt x="11694" y="1238"/>
                </a:lnTo>
                <a:lnTo>
                  <a:pt x="12158" y="1894"/>
                </a:lnTo>
                <a:close/>
                <a:moveTo>
                  <a:pt x="13626" y="1896"/>
                </a:moveTo>
                <a:lnTo>
                  <a:pt x="13626" y="1626"/>
                </a:lnTo>
                <a:lnTo>
                  <a:pt x="13626" y="1626"/>
                </a:lnTo>
                <a:lnTo>
                  <a:pt x="13558" y="1640"/>
                </a:lnTo>
                <a:lnTo>
                  <a:pt x="13488" y="1652"/>
                </a:lnTo>
                <a:lnTo>
                  <a:pt x="13454" y="1658"/>
                </a:lnTo>
                <a:lnTo>
                  <a:pt x="13418" y="1662"/>
                </a:lnTo>
                <a:lnTo>
                  <a:pt x="13384" y="1664"/>
                </a:lnTo>
                <a:lnTo>
                  <a:pt x="13348" y="1666"/>
                </a:lnTo>
                <a:lnTo>
                  <a:pt x="13348" y="1666"/>
                </a:lnTo>
                <a:lnTo>
                  <a:pt x="13314" y="1664"/>
                </a:lnTo>
                <a:lnTo>
                  <a:pt x="13282" y="1662"/>
                </a:lnTo>
                <a:lnTo>
                  <a:pt x="13250" y="1660"/>
                </a:lnTo>
                <a:lnTo>
                  <a:pt x="13220" y="1656"/>
                </a:lnTo>
                <a:lnTo>
                  <a:pt x="13192" y="1650"/>
                </a:lnTo>
                <a:lnTo>
                  <a:pt x="13166" y="1644"/>
                </a:lnTo>
                <a:lnTo>
                  <a:pt x="13140" y="1636"/>
                </a:lnTo>
                <a:lnTo>
                  <a:pt x="13118" y="1628"/>
                </a:lnTo>
                <a:lnTo>
                  <a:pt x="13094" y="1620"/>
                </a:lnTo>
                <a:lnTo>
                  <a:pt x="13074" y="1610"/>
                </a:lnTo>
                <a:lnTo>
                  <a:pt x="13054" y="1600"/>
                </a:lnTo>
                <a:lnTo>
                  <a:pt x="13036" y="1588"/>
                </a:lnTo>
                <a:lnTo>
                  <a:pt x="13002" y="1564"/>
                </a:lnTo>
                <a:lnTo>
                  <a:pt x="12974" y="1538"/>
                </a:lnTo>
                <a:lnTo>
                  <a:pt x="12950" y="1512"/>
                </a:lnTo>
                <a:lnTo>
                  <a:pt x="12930" y="1484"/>
                </a:lnTo>
                <a:lnTo>
                  <a:pt x="12914" y="1456"/>
                </a:lnTo>
                <a:lnTo>
                  <a:pt x="12900" y="1426"/>
                </a:lnTo>
                <a:lnTo>
                  <a:pt x="12890" y="1400"/>
                </a:lnTo>
                <a:lnTo>
                  <a:pt x="12884" y="1372"/>
                </a:lnTo>
                <a:lnTo>
                  <a:pt x="12878" y="1348"/>
                </a:lnTo>
                <a:lnTo>
                  <a:pt x="12876" y="1326"/>
                </a:lnTo>
                <a:lnTo>
                  <a:pt x="13740" y="1326"/>
                </a:lnTo>
                <a:lnTo>
                  <a:pt x="13740" y="1326"/>
                </a:lnTo>
                <a:lnTo>
                  <a:pt x="13742" y="1246"/>
                </a:lnTo>
                <a:lnTo>
                  <a:pt x="13742" y="1246"/>
                </a:lnTo>
                <a:lnTo>
                  <a:pt x="13742" y="1192"/>
                </a:lnTo>
                <a:lnTo>
                  <a:pt x="13736" y="1136"/>
                </a:lnTo>
                <a:lnTo>
                  <a:pt x="13728" y="1080"/>
                </a:lnTo>
                <a:lnTo>
                  <a:pt x="13716" y="1026"/>
                </a:lnTo>
                <a:lnTo>
                  <a:pt x="13698" y="970"/>
                </a:lnTo>
                <a:lnTo>
                  <a:pt x="13688" y="944"/>
                </a:lnTo>
                <a:lnTo>
                  <a:pt x="13678" y="918"/>
                </a:lnTo>
                <a:lnTo>
                  <a:pt x="13664" y="892"/>
                </a:lnTo>
                <a:lnTo>
                  <a:pt x="13650" y="866"/>
                </a:lnTo>
                <a:lnTo>
                  <a:pt x="13636" y="842"/>
                </a:lnTo>
                <a:lnTo>
                  <a:pt x="13620" y="818"/>
                </a:lnTo>
                <a:lnTo>
                  <a:pt x="13602" y="796"/>
                </a:lnTo>
                <a:lnTo>
                  <a:pt x="13584" y="774"/>
                </a:lnTo>
                <a:lnTo>
                  <a:pt x="13562" y="754"/>
                </a:lnTo>
                <a:lnTo>
                  <a:pt x="13540" y="734"/>
                </a:lnTo>
                <a:lnTo>
                  <a:pt x="13518" y="716"/>
                </a:lnTo>
                <a:lnTo>
                  <a:pt x="13492" y="698"/>
                </a:lnTo>
                <a:lnTo>
                  <a:pt x="13466" y="682"/>
                </a:lnTo>
                <a:lnTo>
                  <a:pt x="13438" y="668"/>
                </a:lnTo>
                <a:lnTo>
                  <a:pt x="13408" y="654"/>
                </a:lnTo>
                <a:lnTo>
                  <a:pt x="13378" y="642"/>
                </a:lnTo>
                <a:lnTo>
                  <a:pt x="13344" y="632"/>
                </a:lnTo>
                <a:lnTo>
                  <a:pt x="13310" y="624"/>
                </a:lnTo>
                <a:lnTo>
                  <a:pt x="13274" y="616"/>
                </a:lnTo>
                <a:lnTo>
                  <a:pt x="13236" y="612"/>
                </a:lnTo>
                <a:lnTo>
                  <a:pt x="13194" y="608"/>
                </a:lnTo>
                <a:lnTo>
                  <a:pt x="13154" y="608"/>
                </a:lnTo>
                <a:lnTo>
                  <a:pt x="13154" y="608"/>
                </a:lnTo>
                <a:lnTo>
                  <a:pt x="13120" y="608"/>
                </a:lnTo>
                <a:lnTo>
                  <a:pt x="13088" y="610"/>
                </a:lnTo>
                <a:lnTo>
                  <a:pt x="13056" y="614"/>
                </a:lnTo>
                <a:lnTo>
                  <a:pt x="13026" y="618"/>
                </a:lnTo>
                <a:lnTo>
                  <a:pt x="12996" y="624"/>
                </a:lnTo>
                <a:lnTo>
                  <a:pt x="12966" y="632"/>
                </a:lnTo>
                <a:lnTo>
                  <a:pt x="12938" y="640"/>
                </a:lnTo>
                <a:lnTo>
                  <a:pt x="12910" y="650"/>
                </a:lnTo>
                <a:lnTo>
                  <a:pt x="12882" y="662"/>
                </a:lnTo>
                <a:lnTo>
                  <a:pt x="12856" y="674"/>
                </a:lnTo>
                <a:lnTo>
                  <a:pt x="12830" y="688"/>
                </a:lnTo>
                <a:lnTo>
                  <a:pt x="12806" y="702"/>
                </a:lnTo>
                <a:lnTo>
                  <a:pt x="12782" y="718"/>
                </a:lnTo>
                <a:lnTo>
                  <a:pt x="12760" y="734"/>
                </a:lnTo>
                <a:lnTo>
                  <a:pt x="12738" y="752"/>
                </a:lnTo>
                <a:lnTo>
                  <a:pt x="12718" y="770"/>
                </a:lnTo>
                <a:lnTo>
                  <a:pt x="12698" y="790"/>
                </a:lnTo>
                <a:lnTo>
                  <a:pt x="12678" y="812"/>
                </a:lnTo>
                <a:lnTo>
                  <a:pt x="12662" y="834"/>
                </a:lnTo>
                <a:lnTo>
                  <a:pt x="12646" y="856"/>
                </a:lnTo>
                <a:lnTo>
                  <a:pt x="12630" y="880"/>
                </a:lnTo>
                <a:lnTo>
                  <a:pt x="12616" y="904"/>
                </a:lnTo>
                <a:lnTo>
                  <a:pt x="12602" y="930"/>
                </a:lnTo>
                <a:lnTo>
                  <a:pt x="12592" y="956"/>
                </a:lnTo>
                <a:lnTo>
                  <a:pt x="12580" y="982"/>
                </a:lnTo>
                <a:lnTo>
                  <a:pt x="12572" y="1010"/>
                </a:lnTo>
                <a:lnTo>
                  <a:pt x="12564" y="1040"/>
                </a:lnTo>
                <a:lnTo>
                  <a:pt x="12558" y="1068"/>
                </a:lnTo>
                <a:lnTo>
                  <a:pt x="12552" y="1098"/>
                </a:lnTo>
                <a:lnTo>
                  <a:pt x="12548" y="1130"/>
                </a:lnTo>
                <a:lnTo>
                  <a:pt x="12546" y="1160"/>
                </a:lnTo>
                <a:lnTo>
                  <a:pt x="12546" y="1192"/>
                </a:lnTo>
                <a:lnTo>
                  <a:pt x="12546" y="1192"/>
                </a:lnTo>
                <a:lnTo>
                  <a:pt x="12546" y="1232"/>
                </a:lnTo>
                <a:lnTo>
                  <a:pt x="12550" y="1272"/>
                </a:lnTo>
                <a:lnTo>
                  <a:pt x="12554" y="1310"/>
                </a:lnTo>
                <a:lnTo>
                  <a:pt x="12560" y="1346"/>
                </a:lnTo>
                <a:lnTo>
                  <a:pt x="12566" y="1382"/>
                </a:lnTo>
                <a:lnTo>
                  <a:pt x="12576" y="1418"/>
                </a:lnTo>
                <a:lnTo>
                  <a:pt x="12586" y="1454"/>
                </a:lnTo>
                <a:lnTo>
                  <a:pt x="12598" y="1488"/>
                </a:lnTo>
                <a:lnTo>
                  <a:pt x="12612" y="1520"/>
                </a:lnTo>
                <a:lnTo>
                  <a:pt x="12626" y="1552"/>
                </a:lnTo>
                <a:lnTo>
                  <a:pt x="12642" y="1584"/>
                </a:lnTo>
                <a:lnTo>
                  <a:pt x="12660" y="1614"/>
                </a:lnTo>
                <a:lnTo>
                  <a:pt x="12680" y="1642"/>
                </a:lnTo>
                <a:lnTo>
                  <a:pt x="12702" y="1670"/>
                </a:lnTo>
                <a:lnTo>
                  <a:pt x="12724" y="1698"/>
                </a:lnTo>
                <a:lnTo>
                  <a:pt x="12748" y="1722"/>
                </a:lnTo>
                <a:lnTo>
                  <a:pt x="12772" y="1746"/>
                </a:lnTo>
                <a:lnTo>
                  <a:pt x="12800" y="1770"/>
                </a:lnTo>
                <a:lnTo>
                  <a:pt x="12828" y="1792"/>
                </a:lnTo>
                <a:lnTo>
                  <a:pt x="12856" y="1812"/>
                </a:lnTo>
                <a:lnTo>
                  <a:pt x="12888" y="1830"/>
                </a:lnTo>
                <a:lnTo>
                  <a:pt x="12920" y="1848"/>
                </a:lnTo>
                <a:lnTo>
                  <a:pt x="12952" y="1864"/>
                </a:lnTo>
                <a:lnTo>
                  <a:pt x="12986" y="1878"/>
                </a:lnTo>
                <a:lnTo>
                  <a:pt x="13022" y="1892"/>
                </a:lnTo>
                <a:lnTo>
                  <a:pt x="13060" y="1902"/>
                </a:lnTo>
                <a:lnTo>
                  <a:pt x="13098" y="1912"/>
                </a:lnTo>
                <a:lnTo>
                  <a:pt x="13138" y="1920"/>
                </a:lnTo>
                <a:lnTo>
                  <a:pt x="13178" y="1926"/>
                </a:lnTo>
                <a:lnTo>
                  <a:pt x="13220" y="1930"/>
                </a:lnTo>
                <a:lnTo>
                  <a:pt x="13264" y="1934"/>
                </a:lnTo>
                <a:lnTo>
                  <a:pt x="13308" y="1934"/>
                </a:lnTo>
                <a:lnTo>
                  <a:pt x="13308" y="1934"/>
                </a:lnTo>
                <a:lnTo>
                  <a:pt x="13388" y="1932"/>
                </a:lnTo>
                <a:lnTo>
                  <a:pt x="13426" y="1930"/>
                </a:lnTo>
                <a:lnTo>
                  <a:pt x="13466" y="1926"/>
                </a:lnTo>
                <a:lnTo>
                  <a:pt x="13506" y="1920"/>
                </a:lnTo>
                <a:lnTo>
                  <a:pt x="13546" y="1912"/>
                </a:lnTo>
                <a:lnTo>
                  <a:pt x="13586" y="1904"/>
                </a:lnTo>
                <a:lnTo>
                  <a:pt x="13626" y="1896"/>
                </a:lnTo>
                <a:close/>
                <a:moveTo>
                  <a:pt x="12876" y="1118"/>
                </a:moveTo>
                <a:lnTo>
                  <a:pt x="12876" y="1118"/>
                </a:lnTo>
                <a:lnTo>
                  <a:pt x="12878" y="1100"/>
                </a:lnTo>
                <a:lnTo>
                  <a:pt x="12884" y="1080"/>
                </a:lnTo>
                <a:lnTo>
                  <a:pt x="12890" y="1062"/>
                </a:lnTo>
                <a:lnTo>
                  <a:pt x="12896" y="1042"/>
                </a:lnTo>
                <a:lnTo>
                  <a:pt x="12906" y="1022"/>
                </a:lnTo>
                <a:lnTo>
                  <a:pt x="12918" y="1002"/>
                </a:lnTo>
                <a:lnTo>
                  <a:pt x="12932" y="982"/>
                </a:lnTo>
                <a:lnTo>
                  <a:pt x="12948" y="964"/>
                </a:lnTo>
                <a:lnTo>
                  <a:pt x="12966" y="946"/>
                </a:lnTo>
                <a:lnTo>
                  <a:pt x="12986" y="930"/>
                </a:lnTo>
                <a:lnTo>
                  <a:pt x="13010" y="914"/>
                </a:lnTo>
                <a:lnTo>
                  <a:pt x="13034" y="902"/>
                </a:lnTo>
                <a:lnTo>
                  <a:pt x="13062" y="892"/>
                </a:lnTo>
                <a:lnTo>
                  <a:pt x="13094" y="884"/>
                </a:lnTo>
                <a:lnTo>
                  <a:pt x="13126" y="878"/>
                </a:lnTo>
                <a:lnTo>
                  <a:pt x="13162" y="878"/>
                </a:lnTo>
                <a:lnTo>
                  <a:pt x="13162" y="878"/>
                </a:lnTo>
                <a:lnTo>
                  <a:pt x="13192" y="878"/>
                </a:lnTo>
                <a:lnTo>
                  <a:pt x="13220" y="884"/>
                </a:lnTo>
                <a:lnTo>
                  <a:pt x="13246" y="890"/>
                </a:lnTo>
                <a:lnTo>
                  <a:pt x="13270" y="900"/>
                </a:lnTo>
                <a:lnTo>
                  <a:pt x="13294" y="912"/>
                </a:lnTo>
                <a:lnTo>
                  <a:pt x="13314" y="928"/>
                </a:lnTo>
                <a:lnTo>
                  <a:pt x="13332" y="944"/>
                </a:lnTo>
                <a:lnTo>
                  <a:pt x="13350" y="960"/>
                </a:lnTo>
                <a:lnTo>
                  <a:pt x="13364" y="978"/>
                </a:lnTo>
                <a:lnTo>
                  <a:pt x="13376" y="998"/>
                </a:lnTo>
                <a:lnTo>
                  <a:pt x="13388" y="1018"/>
                </a:lnTo>
                <a:lnTo>
                  <a:pt x="13396" y="1038"/>
                </a:lnTo>
                <a:lnTo>
                  <a:pt x="13404" y="1058"/>
                </a:lnTo>
                <a:lnTo>
                  <a:pt x="13408" y="1078"/>
                </a:lnTo>
                <a:lnTo>
                  <a:pt x="13412" y="1098"/>
                </a:lnTo>
                <a:lnTo>
                  <a:pt x="13412" y="1118"/>
                </a:lnTo>
                <a:lnTo>
                  <a:pt x="12876" y="1118"/>
                </a:lnTo>
                <a:close/>
                <a:moveTo>
                  <a:pt x="14602" y="1922"/>
                </a:moveTo>
                <a:lnTo>
                  <a:pt x="14622" y="1658"/>
                </a:lnTo>
                <a:lnTo>
                  <a:pt x="14622" y="1658"/>
                </a:lnTo>
                <a:lnTo>
                  <a:pt x="14582" y="1664"/>
                </a:lnTo>
                <a:lnTo>
                  <a:pt x="14540" y="1666"/>
                </a:lnTo>
                <a:lnTo>
                  <a:pt x="14540" y="1666"/>
                </a:lnTo>
                <a:lnTo>
                  <a:pt x="14510" y="1664"/>
                </a:lnTo>
                <a:lnTo>
                  <a:pt x="14482" y="1660"/>
                </a:lnTo>
                <a:lnTo>
                  <a:pt x="14458" y="1654"/>
                </a:lnTo>
                <a:lnTo>
                  <a:pt x="14436" y="1644"/>
                </a:lnTo>
                <a:lnTo>
                  <a:pt x="14418" y="1634"/>
                </a:lnTo>
                <a:lnTo>
                  <a:pt x="14404" y="1620"/>
                </a:lnTo>
                <a:lnTo>
                  <a:pt x="14392" y="1604"/>
                </a:lnTo>
                <a:lnTo>
                  <a:pt x="14382" y="1586"/>
                </a:lnTo>
                <a:lnTo>
                  <a:pt x="14376" y="1566"/>
                </a:lnTo>
                <a:lnTo>
                  <a:pt x="14370" y="1544"/>
                </a:lnTo>
                <a:lnTo>
                  <a:pt x="14366" y="1520"/>
                </a:lnTo>
                <a:lnTo>
                  <a:pt x="14362" y="1496"/>
                </a:lnTo>
                <a:lnTo>
                  <a:pt x="14360" y="1438"/>
                </a:lnTo>
                <a:lnTo>
                  <a:pt x="14360" y="1376"/>
                </a:lnTo>
                <a:lnTo>
                  <a:pt x="14360" y="882"/>
                </a:lnTo>
                <a:lnTo>
                  <a:pt x="14608" y="882"/>
                </a:lnTo>
                <a:lnTo>
                  <a:pt x="14624" y="638"/>
                </a:lnTo>
                <a:lnTo>
                  <a:pt x="14624" y="638"/>
                </a:lnTo>
                <a:lnTo>
                  <a:pt x="14546" y="644"/>
                </a:lnTo>
                <a:lnTo>
                  <a:pt x="14478" y="648"/>
                </a:lnTo>
                <a:lnTo>
                  <a:pt x="14416" y="650"/>
                </a:lnTo>
                <a:lnTo>
                  <a:pt x="14360" y="650"/>
                </a:lnTo>
                <a:lnTo>
                  <a:pt x="14360" y="608"/>
                </a:lnTo>
                <a:lnTo>
                  <a:pt x="14360" y="608"/>
                </a:lnTo>
                <a:lnTo>
                  <a:pt x="14362" y="550"/>
                </a:lnTo>
                <a:lnTo>
                  <a:pt x="14368" y="468"/>
                </a:lnTo>
                <a:lnTo>
                  <a:pt x="14382" y="282"/>
                </a:lnTo>
                <a:lnTo>
                  <a:pt x="14030" y="404"/>
                </a:lnTo>
                <a:lnTo>
                  <a:pt x="14030" y="650"/>
                </a:lnTo>
                <a:lnTo>
                  <a:pt x="13812" y="650"/>
                </a:lnTo>
                <a:lnTo>
                  <a:pt x="13794" y="894"/>
                </a:lnTo>
                <a:lnTo>
                  <a:pt x="13794" y="894"/>
                </a:lnTo>
                <a:lnTo>
                  <a:pt x="13926" y="886"/>
                </a:lnTo>
                <a:lnTo>
                  <a:pt x="13982" y="884"/>
                </a:lnTo>
                <a:lnTo>
                  <a:pt x="14030" y="882"/>
                </a:lnTo>
                <a:lnTo>
                  <a:pt x="14030" y="1496"/>
                </a:lnTo>
                <a:lnTo>
                  <a:pt x="14030" y="1496"/>
                </a:lnTo>
                <a:lnTo>
                  <a:pt x="14030" y="1530"/>
                </a:lnTo>
                <a:lnTo>
                  <a:pt x="14032" y="1564"/>
                </a:lnTo>
                <a:lnTo>
                  <a:pt x="14036" y="1594"/>
                </a:lnTo>
                <a:lnTo>
                  <a:pt x="14042" y="1624"/>
                </a:lnTo>
                <a:lnTo>
                  <a:pt x="14048" y="1652"/>
                </a:lnTo>
                <a:lnTo>
                  <a:pt x="14054" y="1676"/>
                </a:lnTo>
                <a:lnTo>
                  <a:pt x="14064" y="1702"/>
                </a:lnTo>
                <a:lnTo>
                  <a:pt x="14072" y="1724"/>
                </a:lnTo>
                <a:lnTo>
                  <a:pt x="14084" y="1746"/>
                </a:lnTo>
                <a:lnTo>
                  <a:pt x="14096" y="1766"/>
                </a:lnTo>
                <a:lnTo>
                  <a:pt x="14108" y="1784"/>
                </a:lnTo>
                <a:lnTo>
                  <a:pt x="14120" y="1800"/>
                </a:lnTo>
                <a:lnTo>
                  <a:pt x="14136" y="1816"/>
                </a:lnTo>
                <a:lnTo>
                  <a:pt x="14150" y="1832"/>
                </a:lnTo>
                <a:lnTo>
                  <a:pt x="14166" y="1844"/>
                </a:lnTo>
                <a:lnTo>
                  <a:pt x="14180" y="1858"/>
                </a:lnTo>
                <a:lnTo>
                  <a:pt x="14214" y="1878"/>
                </a:lnTo>
                <a:lnTo>
                  <a:pt x="14248" y="1896"/>
                </a:lnTo>
                <a:lnTo>
                  <a:pt x="14284" y="1910"/>
                </a:lnTo>
                <a:lnTo>
                  <a:pt x="14320" y="1920"/>
                </a:lnTo>
                <a:lnTo>
                  <a:pt x="14356" y="1926"/>
                </a:lnTo>
                <a:lnTo>
                  <a:pt x="14390" y="1932"/>
                </a:lnTo>
                <a:lnTo>
                  <a:pt x="14424" y="1934"/>
                </a:lnTo>
                <a:lnTo>
                  <a:pt x="14456" y="1934"/>
                </a:lnTo>
                <a:lnTo>
                  <a:pt x="14456" y="1934"/>
                </a:lnTo>
                <a:lnTo>
                  <a:pt x="14494" y="1934"/>
                </a:lnTo>
                <a:lnTo>
                  <a:pt x="14530" y="1930"/>
                </a:lnTo>
                <a:lnTo>
                  <a:pt x="14602" y="1922"/>
                </a:lnTo>
                <a:close/>
                <a:moveTo>
                  <a:pt x="14854" y="224"/>
                </a:moveTo>
                <a:lnTo>
                  <a:pt x="14854" y="390"/>
                </a:lnTo>
                <a:lnTo>
                  <a:pt x="15210" y="370"/>
                </a:lnTo>
                <a:lnTo>
                  <a:pt x="15210" y="224"/>
                </a:lnTo>
                <a:lnTo>
                  <a:pt x="15210" y="224"/>
                </a:lnTo>
                <a:lnTo>
                  <a:pt x="15210" y="170"/>
                </a:lnTo>
                <a:lnTo>
                  <a:pt x="15212" y="116"/>
                </a:lnTo>
                <a:lnTo>
                  <a:pt x="15214" y="60"/>
                </a:lnTo>
                <a:lnTo>
                  <a:pt x="15220" y="0"/>
                </a:lnTo>
                <a:lnTo>
                  <a:pt x="14842" y="28"/>
                </a:lnTo>
                <a:lnTo>
                  <a:pt x="14842" y="28"/>
                </a:lnTo>
                <a:lnTo>
                  <a:pt x="14850" y="130"/>
                </a:lnTo>
                <a:lnTo>
                  <a:pt x="14854" y="176"/>
                </a:lnTo>
                <a:lnTo>
                  <a:pt x="14854" y="224"/>
                </a:lnTo>
                <a:close/>
                <a:moveTo>
                  <a:pt x="15234" y="1894"/>
                </a:moveTo>
                <a:lnTo>
                  <a:pt x="15234" y="1894"/>
                </a:lnTo>
                <a:lnTo>
                  <a:pt x="15226" y="1684"/>
                </a:lnTo>
                <a:lnTo>
                  <a:pt x="15222" y="1580"/>
                </a:lnTo>
                <a:lnTo>
                  <a:pt x="15222" y="1474"/>
                </a:lnTo>
                <a:lnTo>
                  <a:pt x="15222" y="1026"/>
                </a:lnTo>
                <a:lnTo>
                  <a:pt x="15222" y="1026"/>
                </a:lnTo>
                <a:lnTo>
                  <a:pt x="15222" y="938"/>
                </a:lnTo>
                <a:lnTo>
                  <a:pt x="15224" y="854"/>
                </a:lnTo>
                <a:lnTo>
                  <a:pt x="15234" y="638"/>
                </a:lnTo>
                <a:lnTo>
                  <a:pt x="14854" y="662"/>
                </a:lnTo>
                <a:lnTo>
                  <a:pt x="14854" y="662"/>
                </a:lnTo>
                <a:lnTo>
                  <a:pt x="14870" y="792"/>
                </a:lnTo>
                <a:lnTo>
                  <a:pt x="14880" y="920"/>
                </a:lnTo>
                <a:lnTo>
                  <a:pt x="14888" y="1046"/>
                </a:lnTo>
                <a:lnTo>
                  <a:pt x="14890" y="1112"/>
                </a:lnTo>
                <a:lnTo>
                  <a:pt x="14890" y="1178"/>
                </a:lnTo>
                <a:lnTo>
                  <a:pt x="14890" y="1474"/>
                </a:lnTo>
                <a:lnTo>
                  <a:pt x="14890" y="1474"/>
                </a:lnTo>
                <a:lnTo>
                  <a:pt x="14890" y="1580"/>
                </a:lnTo>
                <a:lnTo>
                  <a:pt x="14886" y="1684"/>
                </a:lnTo>
                <a:lnTo>
                  <a:pt x="14878" y="1894"/>
                </a:lnTo>
                <a:lnTo>
                  <a:pt x="15234" y="1894"/>
                </a:lnTo>
                <a:close/>
                <a:moveTo>
                  <a:pt x="18254" y="632"/>
                </a:moveTo>
                <a:lnTo>
                  <a:pt x="17950" y="650"/>
                </a:lnTo>
                <a:lnTo>
                  <a:pt x="17950" y="650"/>
                </a:lnTo>
                <a:lnTo>
                  <a:pt x="17936" y="730"/>
                </a:lnTo>
                <a:lnTo>
                  <a:pt x="17930" y="770"/>
                </a:lnTo>
                <a:lnTo>
                  <a:pt x="17924" y="812"/>
                </a:lnTo>
                <a:lnTo>
                  <a:pt x="17924" y="812"/>
                </a:lnTo>
                <a:lnTo>
                  <a:pt x="17898" y="784"/>
                </a:lnTo>
                <a:lnTo>
                  <a:pt x="17866" y="752"/>
                </a:lnTo>
                <a:lnTo>
                  <a:pt x="17828" y="718"/>
                </a:lnTo>
                <a:lnTo>
                  <a:pt x="17806" y="700"/>
                </a:lnTo>
                <a:lnTo>
                  <a:pt x="17782" y="684"/>
                </a:lnTo>
                <a:lnTo>
                  <a:pt x="17756" y="670"/>
                </a:lnTo>
                <a:lnTo>
                  <a:pt x="17728" y="654"/>
                </a:lnTo>
                <a:lnTo>
                  <a:pt x="17696" y="642"/>
                </a:lnTo>
                <a:lnTo>
                  <a:pt x="17662" y="630"/>
                </a:lnTo>
                <a:lnTo>
                  <a:pt x="17626" y="620"/>
                </a:lnTo>
                <a:lnTo>
                  <a:pt x="17586" y="614"/>
                </a:lnTo>
                <a:lnTo>
                  <a:pt x="17544" y="610"/>
                </a:lnTo>
                <a:lnTo>
                  <a:pt x="17498" y="608"/>
                </a:lnTo>
                <a:lnTo>
                  <a:pt x="17498" y="608"/>
                </a:lnTo>
                <a:lnTo>
                  <a:pt x="17464" y="608"/>
                </a:lnTo>
                <a:lnTo>
                  <a:pt x="17430" y="610"/>
                </a:lnTo>
                <a:lnTo>
                  <a:pt x="17398" y="614"/>
                </a:lnTo>
                <a:lnTo>
                  <a:pt x="17366" y="620"/>
                </a:lnTo>
                <a:lnTo>
                  <a:pt x="17336" y="626"/>
                </a:lnTo>
                <a:lnTo>
                  <a:pt x="17306" y="634"/>
                </a:lnTo>
                <a:lnTo>
                  <a:pt x="17276" y="644"/>
                </a:lnTo>
                <a:lnTo>
                  <a:pt x="17248" y="654"/>
                </a:lnTo>
                <a:lnTo>
                  <a:pt x="17222" y="666"/>
                </a:lnTo>
                <a:lnTo>
                  <a:pt x="17196" y="680"/>
                </a:lnTo>
                <a:lnTo>
                  <a:pt x="17170" y="694"/>
                </a:lnTo>
                <a:lnTo>
                  <a:pt x="17146" y="710"/>
                </a:lnTo>
                <a:lnTo>
                  <a:pt x="17124" y="728"/>
                </a:lnTo>
                <a:lnTo>
                  <a:pt x="17102" y="746"/>
                </a:lnTo>
                <a:lnTo>
                  <a:pt x="17082" y="764"/>
                </a:lnTo>
                <a:lnTo>
                  <a:pt x="17062" y="786"/>
                </a:lnTo>
                <a:lnTo>
                  <a:pt x="17042" y="806"/>
                </a:lnTo>
                <a:lnTo>
                  <a:pt x="17026" y="830"/>
                </a:lnTo>
                <a:lnTo>
                  <a:pt x="17008" y="854"/>
                </a:lnTo>
                <a:lnTo>
                  <a:pt x="16994" y="878"/>
                </a:lnTo>
                <a:lnTo>
                  <a:pt x="16980" y="904"/>
                </a:lnTo>
                <a:lnTo>
                  <a:pt x="16966" y="930"/>
                </a:lnTo>
                <a:lnTo>
                  <a:pt x="16954" y="958"/>
                </a:lnTo>
                <a:lnTo>
                  <a:pt x="16944" y="986"/>
                </a:lnTo>
                <a:lnTo>
                  <a:pt x="16934" y="1016"/>
                </a:lnTo>
                <a:lnTo>
                  <a:pt x="16926" y="1046"/>
                </a:lnTo>
                <a:lnTo>
                  <a:pt x="16918" y="1076"/>
                </a:lnTo>
                <a:lnTo>
                  <a:pt x="16914" y="1108"/>
                </a:lnTo>
                <a:lnTo>
                  <a:pt x="16908" y="1140"/>
                </a:lnTo>
                <a:lnTo>
                  <a:pt x="16906" y="1174"/>
                </a:lnTo>
                <a:lnTo>
                  <a:pt x="16904" y="1208"/>
                </a:lnTo>
                <a:lnTo>
                  <a:pt x="16902" y="1242"/>
                </a:lnTo>
                <a:lnTo>
                  <a:pt x="16902" y="1242"/>
                </a:lnTo>
                <a:lnTo>
                  <a:pt x="16904" y="1280"/>
                </a:lnTo>
                <a:lnTo>
                  <a:pt x="16906" y="1318"/>
                </a:lnTo>
                <a:lnTo>
                  <a:pt x="16908" y="1354"/>
                </a:lnTo>
                <a:lnTo>
                  <a:pt x="16914" y="1390"/>
                </a:lnTo>
                <a:lnTo>
                  <a:pt x="16918" y="1424"/>
                </a:lnTo>
                <a:lnTo>
                  <a:pt x="16926" y="1458"/>
                </a:lnTo>
                <a:lnTo>
                  <a:pt x="16934" y="1490"/>
                </a:lnTo>
                <a:lnTo>
                  <a:pt x="16944" y="1522"/>
                </a:lnTo>
                <a:lnTo>
                  <a:pt x="16954" y="1554"/>
                </a:lnTo>
                <a:lnTo>
                  <a:pt x="16966" y="1584"/>
                </a:lnTo>
                <a:lnTo>
                  <a:pt x="16980" y="1612"/>
                </a:lnTo>
                <a:lnTo>
                  <a:pt x="16994" y="1640"/>
                </a:lnTo>
                <a:lnTo>
                  <a:pt x="17008" y="1668"/>
                </a:lnTo>
                <a:lnTo>
                  <a:pt x="17024" y="1694"/>
                </a:lnTo>
                <a:lnTo>
                  <a:pt x="17042" y="1718"/>
                </a:lnTo>
                <a:lnTo>
                  <a:pt x="17060" y="1742"/>
                </a:lnTo>
                <a:lnTo>
                  <a:pt x="17080" y="1764"/>
                </a:lnTo>
                <a:lnTo>
                  <a:pt x="17100" y="1784"/>
                </a:lnTo>
                <a:lnTo>
                  <a:pt x="17122" y="1804"/>
                </a:lnTo>
                <a:lnTo>
                  <a:pt x="17144" y="1824"/>
                </a:lnTo>
                <a:lnTo>
                  <a:pt x="17166" y="1840"/>
                </a:lnTo>
                <a:lnTo>
                  <a:pt x="17192" y="1856"/>
                </a:lnTo>
                <a:lnTo>
                  <a:pt x="17216" y="1870"/>
                </a:lnTo>
                <a:lnTo>
                  <a:pt x="17242" y="1884"/>
                </a:lnTo>
                <a:lnTo>
                  <a:pt x="17270" y="1896"/>
                </a:lnTo>
                <a:lnTo>
                  <a:pt x="17298" y="1906"/>
                </a:lnTo>
                <a:lnTo>
                  <a:pt x="17326" y="1914"/>
                </a:lnTo>
                <a:lnTo>
                  <a:pt x="17354" y="1922"/>
                </a:lnTo>
                <a:lnTo>
                  <a:pt x="17386" y="1928"/>
                </a:lnTo>
                <a:lnTo>
                  <a:pt x="17416" y="1932"/>
                </a:lnTo>
                <a:lnTo>
                  <a:pt x="17448" y="1934"/>
                </a:lnTo>
                <a:lnTo>
                  <a:pt x="17480" y="1934"/>
                </a:lnTo>
                <a:lnTo>
                  <a:pt x="17480" y="1934"/>
                </a:lnTo>
                <a:lnTo>
                  <a:pt x="17530" y="1934"/>
                </a:lnTo>
                <a:lnTo>
                  <a:pt x="17574" y="1928"/>
                </a:lnTo>
                <a:lnTo>
                  <a:pt x="17616" y="1922"/>
                </a:lnTo>
                <a:lnTo>
                  <a:pt x="17654" y="1912"/>
                </a:lnTo>
                <a:lnTo>
                  <a:pt x="17688" y="1900"/>
                </a:lnTo>
                <a:lnTo>
                  <a:pt x="17718" y="1886"/>
                </a:lnTo>
                <a:lnTo>
                  <a:pt x="17746" y="1870"/>
                </a:lnTo>
                <a:lnTo>
                  <a:pt x="17770" y="1854"/>
                </a:lnTo>
                <a:lnTo>
                  <a:pt x="17794" y="1836"/>
                </a:lnTo>
                <a:lnTo>
                  <a:pt x="17812" y="1818"/>
                </a:lnTo>
                <a:lnTo>
                  <a:pt x="17830" y="1798"/>
                </a:lnTo>
                <a:lnTo>
                  <a:pt x="17846" y="1778"/>
                </a:lnTo>
                <a:lnTo>
                  <a:pt x="17860" y="1760"/>
                </a:lnTo>
                <a:lnTo>
                  <a:pt x="17872" y="1740"/>
                </a:lnTo>
                <a:lnTo>
                  <a:pt x="17894" y="1702"/>
                </a:lnTo>
                <a:lnTo>
                  <a:pt x="17900" y="1702"/>
                </a:lnTo>
                <a:lnTo>
                  <a:pt x="17900" y="1796"/>
                </a:lnTo>
                <a:lnTo>
                  <a:pt x="17900" y="1796"/>
                </a:lnTo>
                <a:lnTo>
                  <a:pt x="17898" y="1842"/>
                </a:lnTo>
                <a:lnTo>
                  <a:pt x="17896" y="1886"/>
                </a:lnTo>
                <a:lnTo>
                  <a:pt x="17892" y="1928"/>
                </a:lnTo>
                <a:lnTo>
                  <a:pt x="17886" y="1968"/>
                </a:lnTo>
                <a:lnTo>
                  <a:pt x="17876" y="2004"/>
                </a:lnTo>
                <a:lnTo>
                  <a:pt x="17862" y="2038"/>
                </a:lnTo>
                <a:lnTo>
                  <a:pt x="17854" y="2054"/>
                </a:lnTo>
                <a:lnTo>
                  <a:pt x="17846" y="2070"/>
                </a:lnTo>
                <a:lnTo>
                  <a:pt x="17836" y="2084"/>
                </a:lnTo>
                <a:lnTo>
                  <a:pt x="17824" y="2098"/>
                </a:lnTo>
                <a:lnTo>
                  <a:pt x="17812" y="2110"/>
                </a:lnTo>
                <a:lnTo>
                  <a:pt x="17798" y="2122"/>
                </a:lnTo>
                <a:lnTo>
                  <a:pt x="17782" y="2134"/>
                </a:lnTo>
                <a:lnTo>
                  <a:pt x="17764" y="2146"/>
                </a:lnTo>
                <a:lnTo>
                  <a:pt x="17746" y="2156"/>
                </a:lnTo>
                <a:lnTo>
                  <a:pt x="17726" y="2164"/>
                </a:lnTo>
                <a:lnTo>
                  <a:pt x="17706" y="2172"/>
                </a:lnTo>
                <a:lnTo>
                  <a:pt x="17682" y="2180"/>
                </a:lnTo>
                <a:lnTo>
                  <a:pt x="17658" y="2186"/>
                </a:lnTo>
                <a:lnTo>
                  <a:pt x="17630" y="2192"/>
                </a:lnTo>
                <a:lnTo>
                  <a:pt x="17572" y="2202"/>
                </a:lnTo>
                <a:lnTo>
                  <a:pt x="17504" y="2208"/>
                </a:lnTo>
                <a:lnTo>
                  <a:pt x="17430" y="2208"/>
                </a:lnTo>
                <a:lnTo>
                  <a:pt x="17430" y="2208"/>
                </a:lnTo>
                <a:lnTo>
                  <a:pt x="17380" y="2208"/>
                </a:lnTo>
                <a:lnTo>
                  <a:pt x="17330" y="2206"/>
                </a:lnTo>
                <a:lnTo>
                  <a:pt x="17280" y="2200"/>
                </a:lnTo>
                <a:lnTo>
                  <a:pt x="17230" y="2196"/>
                </a:lnTo>
                <a:lnTo>
                  <a:pt x="17132" y="2182"/>
                </a:lnTo>
                <a:lnTo>
                  <a:pt x="17032" y="2168"/>
                </a:lnTo>
                <a:lnTo>
                  <a:pt x="17042" y="2442"/>
                </a:lnTo>
                <a:lnTo>
                  <a:pt x="17042" y="2442"/>
                </a:lnTo>
                <a:lnTo>
                  <a:pt x="17140" y="2456"/>
                </a:lnTo>
                <a:lnTo>
                  <a:pt x="17236" y="2468"/>
                </a:lnTo>
                <a:lnTo>
                  <a:pt x="17334" y="2476"/>
                </a:lnTo>
                <a:lnTo>
                  <a:pt x="17382" y="2478"/>
                </a:lnTo>
                <a:lnTo>
                  <a:pt x="17432" y="2478"/>
                </a:lnTo>
                <a:lnTo>
                  <a:pt x="17432" y="2478"/>
                </a:lnTo>
                <a:lnTo>
                  <a:pt x="17530" y="2476"/>
                </a:lnTo>
                <a:lnTo>
                  <a:pt x="17576" y="2474"/>
                </a:lnTo>
                <a:lnTo>
                  <a:pt x="17622" y="2470"/>
                </a:lnTo>
                <a:lnTo>
                  <a:pt x="17666" y="2464"/>
                </a:lnTo>
                <a:lnTo>
                  <a:pt x="17706" y="2458"/>
                </a:lnTo>
                <a:lnTo>
                  <a:pt x="17746" y="2450"/>
                </a:lnTo>
                <a:lnTo>
                  <a:pt x="17784" y="2440"/>
                </a:lnTo>
                <a:lnTo>
                  <a:pt x="17820" y="2430"/>
                </a:lnTo>
                <a:lnTo>
                  <a:pt x="17856" y="2418"/>
                </a:lnTo>
                <a:lnTo>
                  <a:pt x="17888" y="2406"/>
                </a:lnTo>
                <a:lnTo>
                  <a:pt x="17920" y="2392"/>
                </a:lnTo>
                <a:lnTo>
                  <a:pt x="17950" y="2376"/>
                </a:lnTo>
                <a:lnTo>
                  <a:pt x="17978" y="2358"/>
                </a:lnTo>
                <a:lnTo>
                  <a:pt x="18004" y="2340"/>
                </a:lnTo>
                <a:lnTo>
                  <a:pt x="18030" y="2320"/>
                </a:lnTo>
                <a:lnTo>
                  <a:pt x="18052" y="2300"/>
                </a:lnTo>
                <a:lnTo>
                  <a:pt x="18074" y="2276"/>
                </a:lnTo>
                <a:lnTo>
                  <a:pt x="18094" y="2252"/>
                </a:lnTo>
                <a:lnTo>
                  <a:pt x="18112" y="2226"/>
                </a:lnTo>
                <a:lnTo>
                  <a:pt x="18130" y="2200"/>
                </a:lnTo>
                <a:lnTo>
                  <a:pt x="18144" y="2170"/>
                </a:lnTo>
                <a:lnTo>
                  <a:pt x="18158" y="2140"/>
                </a:lnTo>
                <a:lnTo>
                  <a:pt x="18172" y="2108"/>
                </a:lnTo>
                <a:lnTo>
                  <a:pt x="18182" y="2076"/>
                </a:lnTo>
                <a:lnTo>
                  <a:pt x="18192" y="2040"/>
                </a:lnTo>
                <a:lnTo>
                  <a:pt x="18200" y="2004"/>
                </a:lnTo>
                <a:lnTo>
                  <a:pt x="18206" y="1966"/>
                </a:lnTo>
                <a:lnTo>
                  <a:pt x="18210" y="1926"/>
                </a:lnTo>
                <a:lnTo>
                  <a:pt x="18214" y="1884"/>
                </a:lnTo>
                <a:lnTo>
                  <a:pt x="18216" y="1840"/>
                </a:lnTo>
                <a:lnTo>
                  <a:pt x="18218" y="1796"/>
                </a:lnTo>
                <a:lnTo>
                  <a:pt x="18218" y="1796"/>
                </a:lnTo>
                <a:lnTo>
                  <a:pt x="18216" y="1646"/>
                </a:lnTo>
                <a:lnTo>
                  <a:pt x="18212" y="1488"/>
                </a:lnTo>
                <a:lnTo>
                  <a:pt x="18206" y="1346"/>
                </a:lnTo>
                <a:lnTo>
                  <a:pt x="18206" y="1242"/>
                </a:lnTo>
                <a:lnTo>
                  <a:pt x="18206" y="1242"/>
                </a:lnTo>
                <a:lnTo>
                  <a:pt x="18206" y="1186"/>
                </a:lnTo>
                <a:lnTo>
                  <a:pt x="18210" y="1116"/>
                </a:lnTo>
                <a:lnTo>
                  <a:pt x="18222" y="954"/>
                </a:lnTo>
                <a:lnTo>
                  <a:pt x="18238" y="784"/>
                </a:lnTo>
                <a:lnTo>
                  <a:pt x="18254" y="632"/>
                </a:lnTo>
                <a:close/>
                <a:moveTo>
                  <a:pt x="17234" y="1244"/>
                </a:moveTo>
                <a:lnTo>
                  <a:pt x="17234" y="1244"/>
                </a:lnTo>
                <a:lnTo>
                  <a:pt x="17234" y="1204"/>
                </a:lnTo>
                <a:lnTo>
                  <a:pt x="17238" y="1166"/>
                </a:lnTo>
                <a:lnTo>
                  <a:pt x="17246" y="1128"/>
                </a:lnTo>
                <a:lnTo>
                  <a:pt x="17254" y="1094"/>
                </a:lnTo>
                <a:lnTo>
                  <a:pt x="17266" y="1062"/>
                </a:lnTo>
                <a:lnTo>
                  <a:pt x="17282" y="1032"/>
                </a:lnTo>
                <a:lnTo>
                  <a:pt x="17298" y="1004"/>
                </a:lnTo>
                <a:lnTo>
                  <a:pt x="17318" y="978"/>
                </a:lnTo>
                <a:lnTo>
                  <a:pt x="17342" y="956"/>
                </a:lnTo>
                <a:lnTo>
                  <a:pt x="17366" y="936"/>
                </a:lnTo>
                <a:lnTo>
                  <a:pt x="17394" y="918"/>
                </a:lnTo>
                <a:lnTo>
                  <a:pt x="17424" y="904"/>
                </a:lnTo>
                <a:lnTo>
                  <a:pt x="17456" y="892"/>
                </a:lnTo>
                <a:lnTo>
                  <a:pt x="17490" y="884"/>
                </a:lnTo>
                <a:lnTo>
                  <a:pt x="17526" y="878"/>
                </a:lnTo>
                <a:lnTo>
                  <a:pt x="17566" y="878"/>
                </a:lnTo>
                <a:lnTo>
                  <a:pt x="17566" y="878"/>
                </a:lnTo>
                <a:lnTo>
                  <a:pt x="17604" y="878"/>
                </a:lnTo>
                <a:lnTo>
                  <a:pt x="17638" y="884"/>
                </a:lnTo>
                <a:lnTo>
                  <a:pt x="17672" y="890"/>
                </a:lnTo>
                <a:lnTo>
                  <a:pt x="17702" y="900"/>
                </a:lnTo>
                <a:lnTo>
                  <a:pt x="17730" y="914"/>
                </a:lnTo>
                <a:lnTo>
                  <a:pt x="17756" y="930"/>
                </a:lnTo>
                <a:lnTo>
                  <a:pt x="17780" y="948"/>
                </a:lnTo>
                <a:lnTo>
                  <a:pt x="17802" y="970"/>
                </a:lnTo>
                <a:lnTo>
                  <a:pt x="17822" y="994"/>
                </a:lnTo>
                <a:lnTo>
                  <a:pt x="17838" y="1022"/>
                </a:lnTo>
                <a:lnTo>
                  <a:pt x="17854" y="1052"/>
                </a:lnTo>
                <a:lnTo>
                  <a:pt x="17866" y="1084"/>
                </a:lnTo>
                <a:lnTo>
                  <a:pt x="17874" y="1120"/>
                </a:lnTo>
                <a:lnTo>
                  <a:pt x="17882" y="1158"/>
                </a:lnTo>
                <a:lnTo>
                  <a:pt x="17886" y="1198"/>
                </a:lnTo>
                <a:lnTo>
                  <a:pt x="17886" y="1242"/>
                </a:lnTo>
                <a:lnTo>
                  <a:pt x="17886" y="1242"/>
                </a:lnTo>
                <a:lnTo>
                  <a:pt x="17886" y="1288"/>
                </a:lnTo>
                <a:lnTo>
                  <a:pt x="17882" y="1334"/>
                </a:lnTo>
                <a:lnTo>
                  <a:pt x="17874" y="1376"/>
                </a:lnTo>
                <a:lnTo>
                  <a:pt x="17866" y="1416"/>
                </a:lnTo>
                <a:lnTo>
                  <a:pt x="17854" y="1452"/>
                </a:lnTo>
                <a:lnTo>
                  <a:pt x="17840" y="1488"/>
                </a:lnTo>
                <a:lnTo>
                  <a:pt x="17824" y="1520"/>
                </a:lnTo>
                <a:lnTo>
                  <a:pt x="17804" y="1550"/>
                </a:lnTo>
                <a:lnTo>
                  <a:pt x="17782" y="1576"/>
                </a:lnTo>
                <a:lnTo>
                  <a:pt x="17758" y="1598"/>
                </a:lnTo>
                <a:lnTo>
                  <a:pt x="17732" y="1618"/>
                </a:lnTo>
                <a:lnTo>
                  <a:pt x="17702" y="1636"/>
                </a:lnTo>
                <a:lnTo>
                  <a:pt x="17672" y="1648"/>
                </a:lnTo>
                <a:lnTo>
                  <a:pt x="17638" y="1658"/>
                </a:lnTo>
                <a:lnTo>
                  <a:pt x="17602" y="1664"/>
                </a:lnTo>
                <a:lnTo>
                  <a:pt x="17564" y="1666"/>
                </a:lnTo>
                <a:lnTo>
                  <a:pt x="17564" y="1666"/>
                </a:lnTo>
                <a:lnTo>
                  <a:pt x="17528" y="1664"/>
                </a:lnTo>
                <a:lnTo>
                  <a:pt x="17492" y="1658"/>
                </a:lnTo>
                <a:lnTo>
                  <a:pt x="17460" y="1648"/>
                </a:lnTo>
                <a:lnTo>
                  <a:pt x="17428" y="1634"/>
                </a:lnTo>
                <a:lnTo>
                  <a:pt x="17400" y="1616"/>
                </a:lnTo>
                <a:lnTo>
                  <a:pt x="17372" y="1596"/>
                </a:lnTo>
                <a:lnTo>
                  <a:pt x="17346" y="1572"/>
                </a:lnTo>
                <a:lnTo>
                  <a:pt x="17324" y="1544"/>
                </a:lnTo>
                <a:lnTo>
                  <a:pt x="17304" y="1516"/>
                </a:lnTo>
                <a:lnTo>
                  <a:pt x="17286" y="1484"/>
                </a:lnTo>
                <a:lnTo>
                  <a:pt x="17270" y="1448"/>
                </a:lnTo>
                <a:lnTo>
                  <a:pt x="17256" y="1412"/>
                </a:lnTo>
                <a:lnTo>
                  <a:pt x="17246" y="1372"/>
                </a:lnTo>
                <a:lnTo>
                  <a:pt x="17240" y="1332"/>
                </a:lnTo>
                <a:lnTo>
                  <a:pt x="17234" y="1288"/>
                </a:lnTo>
                <a:lnTo>
                  <a:pt x="17234" y="1244"/>
                </a:lnTo>
                <a:lnTo>
                  <a:pt x="17234" y="1244"/>
                </a:lnTo>
                <a:close/>
                <a:moveTo>
                  <a:pt x="15510" y="1894"/>
                </a:moveTo>
                <a:lnTo>
                  <a:pt x="15866" y="1894"/>
                </a:lnTo>
                <a:lnTo>
                  <a:pt x="15866" y="1894"/>
                </a:lnTo>
                <a:lnTo>
                  <a:pt x="15858" y="1670"/>
                </a:lnTo>
                <a:lnTo>
                  <a:pt x="15854" y="1562"/>
                </a:lnTo>
                <a:lnTo>
                  <a:pt x="15852" y="1474"/>
                </a:lnTo>
                <a:lnTo>
                  <a:pt x="15852" y="1318"/>
                </a:lnTo>
                <a:lnTo>
                  <a:pt x="15852" y="1318"/>
                </a:lnTo>
                <a:lnTo>
                  <a:pt x="15854" y="1264"/>
                </a:lnTo>
                <a:lnTo>
                  <a:pt x="15856" y="1214"/>
                </a:lnTo>
                <a:lnTo>
                  <a:pt x="15860" y="1168"/>
                </a:lnTo>
                <a:lnTo>
                  <a:pt x="15864" y="1124"/>
                </a:lnTo>
                <a:lnTo>
                  <a:pt x="15872" y="1084"/>
                </a:lnTo>
                <a:lnTo>
                  <a:pt x="15880" y="1048"/>
                </a:lnTo>
                <a:lnTo>
                  <a:pt x="15892" y="1016"/>
                </a:lnTo>
                <a:lnTo>
                  <a:pt x="15906" y="986"/>
                </a:lnTo>
                <a:lnTo>
                  <a:pt x="15922" y="960"/>
                </a:lnTo>
                <a:lnTo>
                  <a:pt x="15940" y="938"/>
                </a:lnTo>
                <a:lnTo>
                  <a:pt x="15962" y="920"/>
                </a:lnTo>
                <a:lnTo>
                  <a:pt x="15986" y="904"/>
                </a:lnTo>
                <a:lnTo>
                  <a:pt x="16014" y="892"/>
                </a:lnTo>
                <a:lnTo>
                  <a:pt x="16046" y="884"/>
                </a:lnTo>
                <a:lnTo>
                  <a:pt x="16080" y="878"/>
                </a:lnTo>
                <a:lnTo>
                  <a:pt x="16118" y="878"/>
                </a:lnTo>
                <a:lnTo>
                  <a:pt x="16118" y="878"/>
                </a:lnTo>
                <a:lnTo>
                  <a:pt x="16146" y="878"/>
                </a:lnTo>
                <a:lnTo>
                  <a:pt x="16172" y="884"/>
                </a:lnTo>
                <a:lnTo>
                  <a:pt x="16196" y="892"/>
                </a:lnTo>
                <a:lnTo>
                  <a:pt x="16218" y="902"/>
                </a:lnTo>
                <a:lnTo>
                  <a:pt x="16238" y="918"/>
                </a:lnTo>
                <a:lnTo>
                  <a:pt x="16254" y="934"/>
                </a:lnTo>
                <a:lnTo>
                  <a:pt x="16268" y="954"/>
                </a:lnTo>
                <a:lnTo>
                  <a:pt x="16282" y="976"/>
                </a:lnTo>
                <a:lnTo>
                  <a:pt x="16292" y="1000"/>
                </a:lnTo>
                <a:lnTo>
                  <a:pt x="16302" y="1028"/>
                </a:lnTo>
                <a:lnTo>
                  <a:pt x="16310" y="1058"/>
                </a:lnTo>
                <a:lnTo>
                  <a:pt x="16316" y="1088"/>
                </a:lnTo>
                <a:lnTo>
                  <a:pt x="16320" y="1122"/>
                </a:lnTo>
                <a:lnTo>
                  <a:pt x="16322" y="1158"/>
                </a:lnTo>
                <a:lnTo>
                  <a:pt x="16324" y="1196"/>
                </a:lnTo>
                <a:lnTo>
                  <a:pt x="16326" y="1234"/>
                </a:lnTo>
                <a:lnTo>
                  <a:pt x="16326" y="1474"/>
                </a:lnTo>
                <a:lnTo>
                  <a:pt x="16326" y="1474"/>
                </a:lnTo>
                <a:lnTo>
                  <a:pt x="16326" y="1580"/>
                </a:lnTo>
                <a:lnTo>
                  <a:pt x="16330" y="1684"/>
                </a:lnTo>
                <a:lnTo>
                  <a:pt x="16338" y="1894"/>
                </a:lnTo>
                <a:lnTo>
                  <a:pt x="16680" y="1894"/>
                </a:lnTo>
                <a:lnTo>
                  <a:pt x="16680" y="1894"/>
                </a:lnTo>
                <a:lnTo>
                  <a:pt x="16670" y="1784"/>
                </a:lnTo>
                <a:lnTo>
                  <a:pt x="16662" y="1670"/>
                </a:lnTo>
                <a:lnTo>
                  <a:pt x="16658" y="1562"/>
                </a:lnTo>
                <a:lnTo>
                  <a:pt x="16656" y="1474"/>
                </a:lnTo>
                <a:lnTo>
                  <a:pt x="16656" y="1186"/>
                </a:lnTo>
                <a:lnTo>
                  <a:pt x="16656" y="1186"/>
                </a:lnTo>
                <a:lnTo>
                  <a:pt x="16654" y="1122"/>
                </a:lnTo>
                <a:lnTo>
                  <a:pt x="16650" y="1060"/>
                </a:lnTo>
                <a:lnTo>
                  <a:pt x="16644" y="1002"/>
                </a:lnTo>
                <a:lnTo>
                  <a:pt x="16634" y="948"/>
                </a:lnTo>
                <a:lnTo>
                  <a:pt x="16622" y="896"/>
                </a:lnTo>
                <a:lnTo>
                  <a:pt x="16606" y="848"/>
                </a:lnTo>
                <a:lnTo>
                  <a:pt x="16586" y="806"/>
                </a:lnTo>
                <a:lnTo>
                  <a:pt x="16576" y="784"/>
                </a:lnTo>
                <a:lnTo>
                  <a:pt x="16564" y="766"/>
                </a:lnTo>
                <a:lnTo>
                  <a:pt x="16552" y="748"/>
                </a:lnTo>
                <a:lnTo>
                  <a:pt x="16538" y="730"/>
                </a:lnTo>
                <a:lnTo>
                  <a:pt x="16524" y="714"/>
                </a:lnTo>
                <a:lnTo>
                  <a:pt x="16508" y="698"/>
                </a:lnTo>
                <a:lnTo>
                  <a:pt x="16492" y="684"/>
                </a:lnTo>
                <a:lnTo>
                  <a:pt x="16474" y="672"/>
                </a:lnTo>
                <a:lnTo>
                  <a:pt x="16456" y="660"/>
                </a:lnTo>
                <a:lnTo>
                  <a:pt x="16436" y="648"/>
                </a:lnTo>
                <a:lnTo>
                  <a:pt x="16416" y="640"/>
                </a:lnTo>
                <a:lnTo>
                  <a:pt x="16396" y="632"/>
                </a:lnTo>
                <a:lnTo>
                  <a:pt x="16372" y="624"/>
                </a:lnTo>
                <a:lnTo>
                  <a:pt x="16350" y="618"/>
                </a:lnTo>
                <a:lnTo>
                  <a:pt x="16324" y="614"/>
                </a:lnTo>
                <a:lnTo>
                  <a:pt x="16300" y="610"/>
                </a:lnTo>
                <a:lnTo>
                  <a:pt x="16272" y="608"/>
                </a:lnTo>
                <a:lnTo>
                  <a:pt x="16244" y="608"/>
                </a:lnTo>
                <a:lnTo>
                  <a:pt x="16244" y="608"/>
                </a:lnTo>
                <a:lnTo>
                  <a:pt x="16200" y="610"/>
                </a:lnTo>
                <a:lnTo>
                  <a:pt x="16158" y="614"/>
                </a:lnTo>
                <a:lnTo>
                  <a:pt x="16120" y="620"/>
                </a:lnTo>
                <a:lnTo>
                  <a:pt x="16084" y="628"/>
                </a:lnTo>
                <a:lnTo>
                  <a:pt x="16050" y="638"/>
                </a:lnTo>
                <a:lnTo>
                  <a:pt x="16020" y="650"/>
                </a:lnTo>
                <a:lnTo>
                  <a:pt x="15992" y="664"/>
                </a:lnTo>
                <a:lnTo>
                  <a:pt x="15966" y="680"/>
                </a:lnTo>
                <a:lnTo>
                  <a:pt x="15940" y="696"/>
                </a:lnTo>
                <a:lnTo>
                  <a:pt x="15918" y="712"/>
                </a:lnTo>
                <a:lnTo>
                  <a:pt x="15896" y="730"/>
                </a:lnTo>
                <a:lnTo>
                  <a:pt x="15876" y="748"/>
                </a:lnTo>
                <a:lnTo>
                  <a:pt x="15838" y="784"/>
                </a:lnTo>
                <a:lnTo>
                  <a:pt x="15804" y="818"/>
                </a:lnTo>
                <a:lnTo>
                  <a:pt x="15804" y="818"/>
                </a:lnTo>
                <a:lnTo>
                  <a:pt x="15792" y="770"/>
                </a:lnTo>
                <a:lnTo>
                  <a:pt x="15782" y="724"/>
                </a:lnTo>
                <a:lnTo>
                  <a:pt x="15772" y="680"/>
                </a:lnTo>
                <a:lnTo>
                  <a:pt x="15760" y="638"/>
                </a:lnTo>
                <a:lnTo>
                  <a:pt x="15448" y="662"/>
                </a:lnTo>
                <a:lnTo>
                  <a:pt x="15448" y="662"/>
                </a:lnTo>
                <a:lnTo>
                  <a:pt x="15476" y="792"/>
                </a:lnTo>
                <a:lnTo>
                  <a:pt x="15490" y="856"/>
                </a:lnTo>
                <a:lnTo>
                  <a:pt x="15500" y="920"/>
                </a:lnTo>
                <a:lnTo>
                  <a:pt x="15510" y="982"/>
                </a:lnTo>
                <a:lnTo>
                  <a:pt x="15516" y="1046"/>
                </a:lnTo>
                <a:lnTo>
                  <a:pt x="15520" y="1112"/>
                </a:lnTo>
                <a:lnTo>
                  <a:pt x="15522" y="1178"/>
                </a:lnTo>
                <a:lnTo>
                  <a:pt x="15522" y="1474"/>
                </a:lnTo>
                <a:lnTo>
                  <a:pt x="15522" y="1474"/>
                </a:lnTo>
                <a:lnTo>
                  <a:pt x="15522" y="1580"/>
                </a:lnTo>
                <a:lnTo>
                  <a:pt x="15518" y="1684"/>
                </a:lnTo>
                <a:lnTo>
                  <a:pt x="15510" y="189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82920" tIns="41460" rIns="82920" bIns="41460" numCol="1" anchor="t" anchorCtr="0" compatLnSpc="1">
            <a:prstTxWarp prst="textNoShape">
              <a:avLst/>
            </a:prstTxWarp>
          </a:bodyPr>
          <a:lstStyle/>
          <a:p>
            <a:endParaRPr lang="en-GB" sz="1632" dirty="0">
              <a:solidFill>
                <a:srgbClr val="222223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6E70D1-FA3D-43B6-88EE-B8AF5D0F4A94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4232861576"/>
      </p:ext>
    </p:extLst>
  </p:cSld>
  <p:clrMapOvr>
    <a:masterClrMapping/>
  </p:clrMapOvr>
  <p:transition>
    <p:fade/>
  </p:transition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resentation - Cover -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162735" y="162706"/>
            <a:ext cx="11884699" cy="6531153"/>
          </a:xfrm>
          <a:prstGeom prst="rect">
            <a:avLst/>
          </a:prstGeom>
          <a:solidFill>
            <a:schemeClr val="accent2"/>
          </a:solidFill>
        </p:spPr>
        <p:txBody>
          <a:bodyPr>
            <a:normAutofit/>
          </a:bodyPr>
          <a:lstStyle>
            <a:lvl1pPr marL="0" indent="0">
              <a:buNone/>
              <a:defRPr sz="1723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place image (or select frame and copy/paste image into it)</a:t>
            </a:r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9867" y="4082107"/>
            <a:ext cx="5582136" cy="1249243"/>
          </a:xfrm>
          <a:prstGeom prst="rect">
            <a:avLst/>
          </a:prstGeom>
        </p:spPr>
        <p:txBody>
          <a:bodyPr wrap="square" lIns="82819" tIns="41410" rIns="82819" bIns="41410">
            <a:noAutofit/>
          </a:bodyPr>
          <a:lstStyle>
            <a:lvl1pPr marL="0" indent="0">
              <a:spcBef>
                <a:spcPts val="1252"/>
              </a:spcBef>
              <a:buNone/>
              <a:defRPr sz="1723">
                <a:solidFill>
                  <a:schemeClr val="tx1"/>
                </a:solidFill>
              </a:defRPr>
            </a:lvl1pPr>
            <a:lvl2pPr marL="476844" indent="0">
              <a:buNone/>
              <a:defRPr>
                <a:solidFill>
                  <a:schemeClr val="bg1"/>
                </a:solidFill>
              </a:defRPr>
            </a:lvl2pPr>
            <a:lvl3pPr marL="953687" indent="0">
              <a:buNone/>
              <a:defRPr>
                <a:solidFill>
                  <a:schemeClr val="bg1"/>
                </a:solidFill>
              </a:defRPr>
            </a:lvl3pPr>
            <a:lvl4pPr marL="1430531" indent="0">
              <a:buNone/>
              <a:defRPr>
                <a:solidFill>
                  <a:schemeClr val="bg1"/>
                </a:solidFill>
              </a:defRPr>
            </a:lvl4pPr>
            <a:lvl5pPr marL="1907375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9867" y="3494311"/>
            <a:ext cx="3245342" cy="474505"/>
          </a:xfrm>
          <a:prstGeom prst="rect">
            <a:avLst/>
          </a:prstGeom>
          <a:solidFill>
            <a:schemeClr val="tx1"/>
          </a:solidFill>
        </p:spPr>
        <p:txBody>
          <a:bodyPr wrap="none" lIns="82819" tIns="41410" rIns="82819" bIns="41410" rtlCol="0" anchor="t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lang="en-GB" sz="254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subtit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89867" y="2141077"/>
            <a:ext cx="2942491" cy="613929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89" b="0" cap="all" baseline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Title line 2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489867" y="1482810"/>
            <a:ext cx="2942491" cy="613929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89" b="0" cap="all" baseline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Title line 1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89865" y="5452712"/>
            <a:ext cx="5591011" cy="357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r>
              <a:rPr lang="en-GB" sz="1088" dirty="0">
                <a:solidFill>
                  <a:schemeClr val="tx1"/>
                </a:solidFill>
                <a:latin typeface="Calibri" pitchFamily="34" charset="0"/>
              </a:rPr>
              <a:t>© 2016 Ipsos.  All rights reserved. Contains Ipsos' Confidential and Proprietary information and may not be disclosed or reproduced without the prior written consent of Ipsos.</a:t>
            </a:r>
            <a:endParaRPr lang="en-GB" sz="1088" dirty="0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663052" y="6711426"/>
            <a:ext cx="386521" cy="1271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5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5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5" y="6032000"/>
            <a:ext cx="445939" cy="359168"/>
          </a:xfrm>
          <a:prstGeom prst="rect">
            <a:avLst/>
          </a:prstGeom>
        </p:spPr>
      </p:pic>
      <p:pic>
        <p:nvPicPr>
          <p:cNvPr id="17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7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3E8EC89-6F2D-4D73-B2B1-E594E99E2F9C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1638175646"/>
      </p:ext>
    </p:extLst>
  </p:cSld>
  <p:clrMapOvr>
    <a:masterClrMapping/>
  </p:clrMapOvr>
  <p:transition>
    <p:fade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ly - v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gray">
          <a:xfrm>
            <a:off x="162735" y="162703"/>
            <a:ext cx="11884699" cy="32662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04" tIns="75103" rIns="150204" bIns="7510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1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489866" y="4965178"/>
            <a:ext cx="11213925" cy="903565"/>
          </a:xfrm>
          <a:prstGeom prst="rect">
            <a:avLst/>
          </a:prstGeom>
        </p:spPr>
        <p:txBody>
          <a:bodyPr wrap="square" lIns="82819" tIns="41410" rIns="82819" bIns="41410">
            <a:normAutofit/>
          </a:bodyPr>
          <a:lstStyle>
            <a:lvl1pPr marL="0" indent="0">
              <a:spcBef>
                <a:spcPts val="1252"/>
              </a:spcBef>
              <a:buNone/>
              <a:defRPr sz="1723">
                <a:solidFill>
                  <a:schemeClr val="tx1"/>
                </a:solidFill>
              </a:defRPr>
            </a:lvl1pPr>
            <a:lvl2pPr marL="476844" indent="0">
              <a:buNone/>
              <a:defRPr>
                <a:solidFill>
                  <a:schemeClr val="bg1"/>
                </a:solidFill>
              </a:defRPr>
            </a:lvl2pPr>
            <a:lvl3pPr marL="953687" indent="0">
              <a:buNone/>
              <a:defRPr>
                <a:solidFill>
                  <a:schemeClr val="bg1"/>
                </a:solidFill>
              </a:defRPr>
            </a:lvl3pPr>
            <a:lvl4pPr marL="1430531" indent="0">
              <a:buNone/>
              <a:defRPr>
                <a:solidFill>
                  <a:schemeClr val="bg1"/>
                </a:solidFill>
              </a:defRPr>
            </a:lvl4pPr>
            <a:lvl5pPr marL="1907375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162738" y="162705"/>
            <a:ext cx="11865093" cy="318466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51" baseline="0"/>
            </a:lvl1pPr>
          </a:lstStyle>
          <a:p>
            <a:r>
              <a:rPr lang="en-GB" dirty="0"/>
              <a:t>Picture placeholder – insert image here</a:t>
            </a:r>
          </a:p>
        </p:txBody>
      </p:sp>
      <p:sp>
        <p:nvSpPr>
          <p:cNvPr id="11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1" rIns="130583" bIns="65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89865" y="3733914"/>
            <a:ext cx="3899496" cy="502445"/>
          </a:xfrm>
          <a:prstGeom prst="rect">
            <a:avLst/>
          </a:prstGeom>
          <a:solidFill>
            <a:schemeClr val="accent3"/>
          </a:solidFill>
        </p:spPr>
        <p:txBody>
          <a:bodyPr wrap="none" lIns="82819" tIns="0" rIns="82819" bIns="0" rtlCol="0" anchor="ctr">
            <a:spAutoFit/>
          </a:bodyPr>
          <a:lstStyle>
            <a:lvl1pPr>
              <a:buFontTx/>
              <a:buNone/>
              <a:defRPr lang="en-GB" b="0" dirty="0"/>
            </a:lvl1pPr>
          </a:lstStyle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9867" y="4357071"/>
            <a:ext cx="3150790" cy="390876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0" bIns="0" rtlCol="0">
            <a:spAutoFit/>
          </a:bodyPr>
          <a:lstStyle>
            <a:lvl1pPr>
              <a:defRPr lang="en-US" sz="254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None/>
            </a:pPr>
            <a:r>
              <a:rPr lang="en-US" dirty="0"/>
              <a:t>Click to edit subtitle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1" y="3347371"/>
            <a:ext cx="12105683" cy="163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583" tIns="65291" rIns="130583" bIns="65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663052" y="6711426"/>
            <a:ext cx="386521" cy="1271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5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5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5" y="6032000"/>
            <a:ext cx="445939" cy="359168"/>
          </a:xfrm>
          <a:prstGeom prst="rect">
            <a:avLst/>
          </a:prstGeom>
        </p:spPr>
      </p:pic>
      <p:pic>
        <p:nvPicPr>
          <p:cNvPr id="15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7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C94EBC2-84CF-4165-84AA-A499153D9F5C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</p:spTree>
    <p:extLst>
      <p:ext uri="{BB962C8B-B14F-4D97-AF65-F5344CB8AC3E}">
        <p14:creationId xmlns:p14="http://schemas.microsoft.com/office/powerpoint/2010/main" val="44097692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7572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Cadre 17">
            <a:extLst>
              <a:ext uri="{FF2B5EF4-FFF2-40B4-BE49-F238E27FC236}">
                <a16:creationId xmlns:a16="http://schemas.microsoft.com/office/drawing/2014/main" id="{285449E9-76FD-41C4-AB0F-35C777B4B5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59EC62-365E-4C00-96A9-63E12DBFEC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36624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Full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9866" y="2027855"/>
            <a:ext cx="11163933" cy="38337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102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89747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5386489"/>
      </p:ext>
    </p:extLst>
  </p:cSld>
  <p:clrMapOvr>
    <a:masterClrMapping/>
  </p:clrMapOvr>
  <p:transition>
    <p:fade/>
  </p:transition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, Full, Base, Source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489866" y="1998597"/>
            <a:ext cx="11163933" cy="338972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230252" y="5780183"/>
            <a:ext cx="348363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r">
              <a:buFontTx/>
              <a:buNone/>
              <a:defRPr sz="725"/>
            </a:lvl1pPr>
            <a:lvl2pPr marL="476844" indent="0">
              <a:buFontTx/>
              <a:buNone/>
              <a:defRPr/>
            </a:lvl2pPr>
            <a:lvl3pPr marL="953688" indent="0">
              <a:buFontTx/>
              <a:buNone/>
              <a:defRPr/>
            </a:lvl3pPr>
            <a:lvl4pPr marL="1430532" indent="0">
              <a:buFontTx/>
              <a:buNone/>
              <a:defRPr/>
            </a:lvl4pPr>
            <a:lvl5pPr marL="190737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14038" y="5780183"/>
            <a:ext cx="7307223" cy="163259"/>
          </a:xfrm>
          <a:prstGeom prst="rect">
            <a:avLst/>
          </a:prstGeom>
          <a:noFill/>
        </p:spPr>
        <p:txBody>
          <a:bodyPr lIns="0" tIns="0" rIns="0" bIns="0" anchor="ctr">
            <a:noAutofit/>
          </a:bodyPr>
          <a:lstStyle>
            <a:lvl1pPr marL="0" indent="0" algn="l">
              <a:buFontTx/>
              <a:buNone/>
              <a:defRPr sz="725"/>
            </a:lvl1pPr>
            <a:lvl2pPr marL="476844" indent="0">
              <a:buFontTx/>
              <a:buNone/>
              <a:defRPr/>
            </a:lvl2pPr>
            <a:lvl3pPr marL="953688" indent="0">
              <a:buFontTx/>
              <a:buNone/>
              <a:defRPr/>
            </a:lvl3pPr>
            <a:lvl4pPr marL="1430532" indent="0">
              <a:buFontTx/>
              <a:buNone/>
              <a:defRPr/>
            </a:lvl4pPr>
            <a:lvl5pPr marL="1907375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add bas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9865" y="1092051"/>
            <a:ext cx="2308884" cy="339388"/>
          </a:xfrm>
          <a:prstGeom prst="rect">
            <a:avLst/>
          </a:prstGeom>
          <a:solidFill>
            <a:schemeClr val="tx1"/>
          </a:solidFill>
        </p:spPr>
        <p:txBody>
          <a:bodyPr vert="horz" wrap="none" lIns="72000" tIns="0" rIns="72000" bIns="0" rtlCol="0" anchor="ctr">
            <a:spAutoFit/>
          </a:bodyPr>
          <a:lstStyle>
            <a:lvl1pPr>
              <a:buFontTx/>
              <a:buNone/>
              <a:defRPr lang="en-US" sz="2176" b="1" dirty="0" smtClean="0">
                <a:solidFill>
                  <a:schemeClr val="bg1"/>
                </a:solidFill>
              </a:defRPr>
            </a:lvl1pPr>
          </a:lstStyle>
          <a:p>
            <a:pPr marL="0" lvl="0" indent="0" defTabSz="829102">
              <a:spcBef>
                <a:spcPts val="272"/>
              </a:spcBef>
              <a:spcAft>
                <a:spcPts val="272"/>
              </a:spcAft>
              <a:buFontTx/>
              <a:buNone/>
            </a:pPr>
            <a:r>
              <a:rPr lang="en-US" dirty="0"/>
              <a:t>Click to edit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7" y="489747"/>
            <a:ext cx="2875871" cy="50253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4985000"/>
      </p:ext>
    </p:extLst>
  </p:cSld>
  <p:clrMapOvr>
    <a:masterClrMapping/>
  </p:clrMapOvr>
  <p:transition>
    <p:fade/>
  </p:transition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9866" y="489775"/>
            <a:ext cx="7645741" cy="50247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09837" y="331099"/>
            <a:ext cx="8967721" cy="59021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53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0202" y="1851257"/>
            <a:ext cx="10493855" cy="35240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2900015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1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nb-NO" altLang="nb-NO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1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nb-NO" altLang="nb-NO" dirty="0"/>
          </a:p>
        </p:txBody>
      </p:sp>
    </p:spTree>
    <p:extLst>
      <p:ext uri="{BB962C8B-B14F-4D97-AF65-F5344CB8AC3E}">
        <p14:creationId xmlns:p14="http://schemas.microsoft.com/office/powerpoint/2010/main" val="4190151143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16:9 Cover Colou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gray">
          <a:xfrm>
            <a:off x="162734" y="162705"/>
            <a:ext cx="11878055" cy="65311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390640" y="6720064"/>
            <a:ext cx="656795" cy="990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635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635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5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2149" y="6265180"/>
            <a:ext cx="2145323" cy="294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0052118"/>
      </p:ext>
    </p:extLst>
  </p:cSld>
  <p:clrMapOvr>
    <a:masterClrMapping/>
  </p:clrMapOvr>
  <p:transition>
    <p:fade/>
  </p:transition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ain Title -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-1" y="-11955"/>
            <a:ext cx="4987364" cy="6869955"/>
          </a:xfrm>
          <a:custGeom>
            <a:avLst/>
            <a:gdLst>
              <a:gd name="connsiteX0" fmla="*/ 0 w 4000500"/>
              <a:gd name="connsiteY0" fmla="*/ 0 h 5143500"/>
              <a:gd name="connsiteX1" fmla="*/ 4000500 w 4000500"/>
              <a:gd name="connsiteY1" fmla="*/ 0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4000500"/>
              <a:gd name="connsiteY0" fmla="*/ 0 h 5143500"/>
              <a:gd name="connsiteX1" fmla="*/ 432547 w 4000500"/>
              <a:gd name="connsiteY1" fmla="*/ 8964 h 5143500"/>
              <a:gd name="connsiteX2" fmla="*/ 4000500 w 4000500"/>
              <a:gd name="connsiteY2" fmla="*/ 5143500 h 5143500"/>
              <a:gd name="connsiteX3" fmla="*/ 0 w 4000500"/>
              <a:gd name="connsiteY3" fmla="*/ 5143500 h 5143500"/>
              <a:gd name="connsiteX4" fmla="*/ 0 w 4000500"/>
              <a:gd name="connsiteY4" fmla="*/ 0 h 5143500"/>
              <a:gd name="connsiteX0" fmla="*/ 0 w 3740523"/>
              <a:gd name="connsiteY0" fmla="*/ 0 h 5143500"/>
              <a:gd name="connsiteX1" fmla="*/ 432547 w 3740523"/>
              <a:gd name="connsiteY1" fmla="*/ 8964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0 h 5143500"/>
              <a:gd name="connsiteX1" fmla="*/ 441511 w 3740523"/>
              <a:gd name="connsiteY1" fmla="*/ 17929 h 5143500"/>
              <a:gd name="connsiteX2" fmla="*/ 3740523 w 3740523"/>
              <a:gd name="connsiteY2" fmla="*/ 5143500 h 5143500"/>
              <a:gd name="connsiteX3" fmla="*/ 0 w 3740523"/>
              <a:gd name="connsiteY3" fmla="*/ 5143500 h 5143500"/>
              <a:gd name="connsiteX4" fmla="*/ 0 w 3740523"/>
              <a:gd name="connsiteY4" fmla="*/ 0 h 5143500"/>
              <a:gd name="connsiteX0" fmla="*/ 0 w 3740523"/>
              <a:gd name="connsiteY0" fmla="*/ 8966 h 5152466"/>
              <a:gd name="connsiteX1" fmla="*/ 441511 w 3740523"/>
              <a:gd name="connsiteY1" fmla="*/ 0 h 5152466"/>
              <a:gd name="connsiteX2" fmla="*/ 3740523 w 3740523"/>
              <a:gd name="connsiteY2" fmla="*/ 5152466 h 5152466"/>
              <a:gd name="connsiteX3" fmla="*/ 0 w 3740523"/>
              <a:gd name="connsiteY3" fmla="*/ 5152466 h 5152466"/>
              <a:gd name="connsiteX4" fmla="*/ 0 w 3740523"/>
              <a:gd name="connsiteY4" fmla="*/ 8966 h 5152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523" h="5152466">
                <a:moveTo>
                  <a:pt x="0" y="8966"/>
                </a:moveTo>
                <a:lnTo>
                  <a:pt x="441511" y="0"/>
                </a:lnTo>
                <a:lnTo>
                  <a:pt x="3740523" y="5152466"/>
                </a:lnTo>
                <a:lnTo>
                  <a:pt x="0" y="5152466"/>
                </a:lnTo>
                <a:lnTo>
                  <a:pt x="0" y="8966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568001" y="2829183"/>
            <a:ext cx="5114700" cy="759119"/>
          </a:xfrm>
        </p:spPr>
        <p:txBody>
          <a:bodyPr anchor="ctr"/>
          <a:lstStyle>
            <a:lvl1pPr>
              <a:defRPr sz="4933" baseline="0"/>
            </a:lvl1pPr>
          </a:lstStyle>
          <a:p>
            <a:r>
              <a:rPr lang="en-US" dirty="0"/>
              <a:t>Impact word(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68001" y="3819109"/>
            <a:ext cx="6265412" cy="17764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2">
                    <a:lumMod val="75000"/>
                  </a:schemeClr>
                </a:solidFill>
              </a:defRPr>
            </a:lvl1pPr>
            <a:lvl2pPr marL="4320" indent="0" algn="l">
              <a:spcBef>
                <a:spcPts val="0"/>
              </a:spcBef>
              <a:buNone/>
              <a:tabLst/>
              <a:defRPr baseline="0">
                <a:solidFill>
                  <a:schemeClr val="bg2">
                    <a:lumMod val="75000"/>
                  </a:schemeClr>
                </a:solidFill>
              </a:defRPr>
            </a:lvl2pPr>
            <a:lvl3pPr marL="12323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64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80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97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313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929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</a:t>
            </a:r>
          </a:p>
          <a:p>
            <a:pPr lvl="1"/>
            <a:r>
              <a:rPr lang="en-US" dirty="0"/>
              <a:t>Job title, date, or other relevant presenter info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3" hasCustomPrompt="1"/>
          </p:nvPr>
        </p:nvSpPr>
        <p:spPr>
          <a:xfrm>
            <a:off x="5568001" y="1852084"/>
            <a:ext cx="6265412" cy="849939"/>
          </a:xfrm>
        </p:spPr>
        <p:txBody>
          <a:bodyPr anchor="b">
            <a:normAutofit/>
          </a:bodyPr>
          <a:lstStyle>
            <a:lvl1pPr>
              <a:defRPr sz="2933"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Full presentation tit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10252048" y="897171"/>
            <a:ext cx="1553701" cy="844549"/>
          </a:xfrm>
          <a:solidFill>
            <a:schemeClr val="bg1"/>
          </a:solidFill>
        </p:spPr>
        <p:txBody>
          <a:bodyPr/>
          <a:lstStyle>
            <a:lvl1pPr algn="ctr">
              <a:defRPr sz="1867"/>
            </a:lvl1pPr>
          </a:lstStyle>
          <a:p>
            <a:r>
              <a:rPr lang="en-GB" dirty="0"/>
              <a:t>Client Logo</a:t>
            </a:r>
            <a:br>
              <a:rPr lang="en-GB" dirty="0"/>
            </a:br>
            <a:r>
              <a:rPr lang="en-GB" dirty="0"/>
              <a:t>(delete if unused)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9749" y="6169896"/>
            <a:ext cx="747175" cy="34692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67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7F034911-0302-4AAB-AEF0-815419E292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5568001" y="5375267"/>
            <a:ext cx="6265412" cy="794629"/>
          </a:xfrm>
          <a:prstGeom prst="rect">
            <a:avLst/>
          </a:prstGeom>
        </p:spPr>
        <p:txBody>
          <a:bodyPr lIns="0" tIns="0" rIns="0" bIns="0"/>
          <a:lstStyle>
            <a:lvl1pPr>
              <a:defRPr sz="1333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© 2015 Ipsos.  All rights reserved. Contains Ipsos' Confidential and Proprietary information and may not be disclosed or reproduced without the prior written consent of Ipsos.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319512" y="6249103"/>
            <a:ext cx="409584" cy="317340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>
              <a:lnSpc>
                <a:spcPct val="85000"/>
              </a:lnSpc>
              <a:spcBef>
                <a:spcPts val="272"/>
              </a:spcBef>
            </a:pPr>
            <a:fld id="{01990C03-C3A3-48FE-AF6D-3AE397C89625}" type="slidenum">
              <a:rPr lang="en-GB" sz="1333">
                <a:solidFill>
                  <a:schemeClr val="bg1"/>
                </a:solidFill>
              </a:rPr>
              <a:pPr>
                <a:lnSpc>
                  <a:spcPct val="85000"/>
                </a:lnSpc>
                <a:spcBef>
                  <a:spcPts val="272"/>
                </a:spcBef>
              </a:pPr>
              <a:t>‹#›</a:t>
            </a:fld>
            <a:endParaRPr lang="en-GB" sz="1333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6985878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73966-71B5-054B-A84F-6C4BEB9F782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09871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45140-1FB6-43D7-94F2-2F02B0072B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866" y="489745"/>
            <a:ext cx="6818745" cy="5025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84BB0D-C66D-4C28-BA66-20CA4E1D16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402C3-113D-4E84-B67B-D09D8D3CBA5D}" type="datetimeFigureOut">
              <a:rPr lang="nb-NO" smtClean="0"/>
              <a:t>01.09.2020</a:t>
            </a:fld>
            <a:endParaRPr lang="nb-NO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6F57EF-842F-427C-A670-5B7380F711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6A85A9-E91B-4CBD-95C6-9E7BF03BFA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67E312-94C6-4B49-A56B-E34D851F8FF9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1564973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98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2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2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43625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5309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050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4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6E27FE87-0DBB-471D-9191-E7EF8F5E715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88161" y="6219234"/>
            <a:ext cx="501320" cy="459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2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0458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F5012EE-F70F-4DC9-B099-EE7C58FBE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21214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04546" y="113568"/>
            <a:ext cx="5773885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pic>
        <p:nvPicPr>
          <p:cNvPr id="8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F704CD30-CBDF-4AFD-B1EB-BE66F7331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50" b="68775"/>
          <a:stretch/>
        </p:blipFill>
        <p:spPr>
          <a:xfrm>
            <a:off x="2766787" y="254190"/>
            <a:ext cx="1201395" cy="1092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700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9557" y="6409099"/>
            <a:ext cx="360037" cy="365125"/>
          </a:xfrm>
        </p:spPr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6475335D-06EE-4F59-AE09-C32AAF1C98E2}"/>
              </a:ext>
            </a:extLst>
          </p:cNvPr>
          <p:cNvSpPr txBox="1"/>
          <p:nvPr userDrawn="1"/>
        </p:nvSpPr>
        <p:spPr>
          <a:xfrm>
            <a:off x="9783798" y="283767"/>
            <a:ext cx="21200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nb-NO" sz="1400" dirty="0">
                <a:solidFill>
                  <a:schemeClr val="accent6">
                    <a:lumMod val="10000"/>
                  </a:schemeClr>
                </a:solidFill>
              </a:rPr>
              <a:t>NORSKE SPISEFAKTA</a:t>
            </a:r>
          </a:p>
          <a:p>
            <a:pPr algn="r"/>
            <a:r>
              <a:rPr lang="nb-NO" sz="1400" dirty="0">
                <a:solidFill>
                  <a:schemeClr val="accent6">
                    <a:lumMod val="10000"/>
                  </a:schemeClr>
                </a:solidFill>
              </a:rPr>
              <a:t>2020</a:t>
            </a:r>
            <a:endParaRPr lang="nb-NO" sz="1400" b="0" dirty="0">
              <a:solidFill>
                <a:schemeClr val="accent6">
                  <a:lumMod val="1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69627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Disposition personnalisé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que 8">
            <a:extLst>
              <a:ext uri="{FF2B5EF4-FFF2-40B4-BE49-F238E27FC236}">
                <a16:creationId xmlns:a16="http://schemas.microsoft.com/office/drawing/2014/main" id="{C59C75B0-BB73-46E2-95C3-B31B17F3F7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88161" y="6219234"/>
            <a:ext cx="501320" cy="459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016162"/>
      </p:ext>
    </p:extLst>
  </p:cSld>
  <p:clrMapOvr>
    <a:masterClrMapping/>
  </p:clrMapOvr>
  <p:transition advClick="0"/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4204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/>
              <a:t>tittel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Undertittel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867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43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4786" y="1357678"/>
            <a:ext cx="2090814" cy="353943"/>
          </a:xfrm>
          <a:prstGeom prst="rect">
            <a:avLst/>
          </a:prstGeom>
          <a:noFill/>
        </p:spPr>
        <p:txBody>
          <a:bodyPr wrap="squar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654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D3309618-CC75-4177-8883-1C656B8EF5F0}"/>
              </a:ext>
            </a:extLst>
          </p:cNvPr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1000">
                <a:srgbClr val="131313">
                  <a:alpha val="55000"/>
                </a:srgbClr>
              </a:gs>
              <a:gs pos="38000">
                <a:schemeClr val="tx1">
                  <a:lumMod val="85000"/>
                  <a:lumOff val="15000"/>
                  <a:alpha val="16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7535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186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 dirty="0"/>
              <a:t>Undertittel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 dirty="0"/>
              <a:t>Tittel 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436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472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10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genda/</a:t>
            </a:r>
            <a:r>
              <a:rPr lang="en-GB" dirty="0" err="1"/>
              <a:t>innhold</a:t>
            </a:r>
            <a:endParaRPr lang="en-GB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859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912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575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720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833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921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282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92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2601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58098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0" y="2101"/>
            <a:ext cx="11998725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6000"/>
                </a:schemeClr>
              </a:gs>
              <a:gs pos="67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text</a:t>
            </a:r>
            <a:r>
              <a:rPr lang="fr-FR" dirty="0"/>
              <a:t> of the slide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AA4E60BF-8266-4954-89D7-E523061AB5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080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570943" cy="1446550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1808820"/>
            <a:ext cx="7551996" cy="2123658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nb-NO" noProof="0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3" y="6031463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/>
              <a:t>Subtitle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6" y="6875869"/>
            <a:ext cx="360037" cy="4572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146342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7257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847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415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3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00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5750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C0ED4626-A3F3-4EB6-B615-E33DF81FC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283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409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214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4350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64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902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4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/>
              <a:t>Your </a:t>
            </a:r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here</a:t>
            </a:r>
            <a:endParaRPr lang="nb-NO" noProof="0" dirty="0"/>
          </a:p>
          <a:p>
            <a:pPr lvl="1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1</a:t>
            </a:r>
          </a:p>
          <a:p>
            <a:pPr lvl="2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12078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3924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4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 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85870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401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4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change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</a:t>
            </a:r>
            <a:r>
              <a:rPr lang="nb-NO" noProof="0" dirty="0" err="1"/>
              <a:t>text</a:t>
            </a:r>
            <a:r>
              <a:rPr lang="nb-NO" noProof="0" dirty="0"/>
              <a:t> styles </a:t>
            </a:r>
            <a:r>
              <a:rPr lang="nb-NO" noProof="0" dirty="0" err="1"/>
              <a:t>on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slide master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64820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875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6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4E714486-5B7B-4F48-BEFC-281DDDE322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BCED95E-D46F-45DA-A8CA-82C0D5EC5C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23AE9234-7A03-47E3-B9FB-3011472759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653886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7506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25105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015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48102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512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98704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2193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5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29448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8886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28309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662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87275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370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74081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5324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44290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94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30387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6534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95165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6079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7C69250-80AB-4E19-908E-FE1A9C259E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21F5727-3448-4D99-A3D4-D79C85230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54115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73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89670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2250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86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7C4457B5-A8C3-46A7-868D-52171EF747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95900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0031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5ABA2AAA-2D64-4286-AA8D-E8C4B33EF1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18929B-5A27-4738-A956-5210DE317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89897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9880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A05C525A-2558-46E8-80B5-941389990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39E13C7-429D-4FD8-8D51-1CD98F0746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20798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3494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2B4A1FD1-2F6F-4AF1-B710-F76E885B22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66FD42-E6CB-4E63-977B-EE506F961D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10842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6206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2D1E5417-BAA4-429E-95E5-698476B661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ED434F4-3F5A-4CC8-AF47-2D44BC94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84354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7960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Cadre 17">
            <a:extLst>
              <a:ext uri="{FF2B5EF4-FFF2-40B4-BE49-F238E27FC236}">
                <a16:creationId xmlns:a16="http://schemas.microsoft.com/office/drawing/2014/main" id="{285449E9-76FD-41C4-AB0F-35C777B4B5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59EC62-365E-4C00-96A9-63E12DBFEC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33818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749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F5012EE-F70F-4DC9-B099-EE7C58FBE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88134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0085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83435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2657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9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4E714486-5B7B-4F48-BEFC-281DDDE322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BCED95E-D46F-45DA-A8CA-82C0D5EC5C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23AE9234-7A03-47E3-B9FB-3011472759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3078152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1976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1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60009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7855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7C69250-80AB-4E19-908E-FE1A9C259E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21F5727-3448-4D99-A3D4-D79C85230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87328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795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81690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5243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29436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1392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94042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4442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0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93AA855-02DB-4B05-8E81-A158AE9F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6135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5795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1B1BC3B-7D47-4411-98E0-572B5105AF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96437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6812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42421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4845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1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1F5493F3-3396-494C-B7AA-936DEA3472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A54449-0787-49BE-8221-6DC2BB765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3BCC29E8-FA01-420B-86AB-93C9CF30F36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088792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8312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1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BBDD52F3-BBB0-4B91-8EEB-208C077F83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5925EE1-CD2E-4A0E-9B4A-F4222DBCD6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94359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6017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69985D8-FF27-401D-AE13-C8809DEE9C6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1E443905-DD6D-4529-8F0A-C4C0DAAF9F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60311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0250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5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genda/</a:t>
            </a:r>
            <a:r>
              <a:rPr lang="en-GB" dirty="0" err="1"/>
              <a:t>innhold</a:t>
            </a:r>
            <a:endParaRPr lang="en-GB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549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644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71274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5371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752D4BAC-73DB-4CB5-B77A-A9F7350DB6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6EDF6B-3086-43E5-A0E3-18E19E75A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01379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827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B232E484-4563-4A71-9DDC-EE6C0E44D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40076C0-E4EA-4B32-8A67-B88BF86ECC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60442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243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2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78CCC-EDB7-4322-A715-598B7CD25A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24242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7608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090C5BD-4BCD-4A76-B315-2E94DF2794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13223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6973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8237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067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DEB3BC3E-E116-4E0A-97F3-66A29CB1DC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8438A79-7265-451F-8F84-EB08D57EE5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28908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133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3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</a:pPr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6382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2839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06818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5385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4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1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7970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516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89446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3090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36073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046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4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76659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544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5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66982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4487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5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35391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926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35280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4673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00063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09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82491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8331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31788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3194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93520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2336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6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BF7A0D0E-8184-4BA8-BEDC-8D6B253B3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500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7535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6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95FA30DA-C1C6-46AC-9495-9AC59758C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558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3423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93AA855-02DB-4B05-8E81-A158AE9F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25007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5962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7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CE5B38A0-F8CE-4105-8A52-31B103BD64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768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621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8669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584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A049C2FF-866E-4770-BF24-2A2A45738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495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9382E897-FE3C-46CE-9ACE-BEA0D33725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8514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CEA53D01-537F-435D-939E-B46D503CAC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8061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4230628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1F327ED3-8F17-47CC-A13B-08AE8ED17B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255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EF680AAE-5E06-4510-A29A-EA1B5C3FC6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938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AFA2E4AD-7204-43D7-8512-89DC1D3D22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56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3301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1B1BC3B-7D47-4411-98E0-572B5105AF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4159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254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slidE</a:t>
            </a:r>
            <a:endParaRPr lang="fr-FR" dirty="0"/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094284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9393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7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904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1637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7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FF22C7FD-AB94-474F-A263-6F71CCCBC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089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92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9126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99570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988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18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330486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0066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42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278664" y="2845969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2000"/>
              </a:prstClr>
            </a:outerShdw>
          </a:effectLst>
        </p:spPr>
      </p:pic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-9525"/>
            <a:ext cx="12192000" cy="6894909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345645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8240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66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3322414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3141104" cy="1354217"/>
            <a:chOff x="794460" y="1664804"/>
            <a:chExt cx="3141104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T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A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  <p:sp>
          <p:nvSpPr>
            <p:cNvPr id="16" name="TextBox 12">
              <a:extLst>
                <a:ext uri="{FF2B5EF4-FFF2-40B4-BE49-F238E27FC236}">
                  <a16:creationId xmlns:a16="http://schemas.microsoft.com/office/drawing/2014/main" id="{2DF71DA4-98CD-454B-B3E1-EFAF31A3C87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21239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</p:grp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11688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0846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3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33005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18D0A-39B3-4570-968F-E99FA57C9B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9166" y="934041"/>
            <a:ext cx="573409" cy="178639"/>
          </a:xfrm>
          <a:solidFill>
            <a:schemeClr val="tx1"/>
          </a:solidFill>
        </p:spPr>
        <p:txBody>
          <a:bodyPr wrap="none" lIns="72000" tIns="0" rIns="72000" bIns="0" numCol="1">
            <a:spAutoFit/>
          </a:bodyPr>
          <a:lstStyle>
            <a:lvl1pPr>
              <a:defRPr lang="en-US" sz="1161" b="1" kern="1200" cap="all" baseline="0" dirty="0">
                <a:solidFill>
                  <a:schemeClr val="bg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 algn="l" defTabSz="1696196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241"/>
              </a:spcAft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en-US" dirty="0"/>
              <a:t>BLANK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94AB055C-0BA7-4A19-937C-FEBD6EC944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9166" y="1199661"/>
            <a:ext cx="674397" cy="178639"/>
          </a:xfrm>
          <a:solidFill>
            <a:schemeClr val="tx1"/>
          </a:solidFill>
        </p:spPr>
        <p:txBody>
          <a:bodyPr wrap="none" lIns="72000" tIns="0" rIns="72000" bIns="0" numCol="1">
            <a:spAutoFit/>
          </a:bodyPr>
          <a:lstStyle>
            <a:lvl1pPr>
              <a:defRPr lang="en-US" sz="1161" b="1" kern="1200" cap="all" baseline="0" dirty="0">
                <a:solidFill>
                  <a:schemeClr val="bg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 algn="l" defTabSz="1696196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241"/>
              </a:spcAft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en-US" dirty="0"/>
              <a:t>LAYOUT</a:t>
            </a:r>
          </a:p>
        </p:txBody>
      </p:sp>
    </p:spTree>
    <p:extLst>
      <p:ext uri="{BB962C8B-B14F-4D97-AF65-F5344CB8AC3E}">
        <p14:creationId xmlns:p14="http://schemas.microsoft.com/office/powerpoint/2010/main" val="1954094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 Section Head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0444" y="3306925"/>
            <a:ext cx="4952573" cy="960263"/>
          </a:xfrm>
        </p:spPr>
        <p:txBody>
          <a:bodyPr lIns="0" anchor="t"/>
          <a:lstStyle>
            <a:lvl1pPr>
              <a:lnSpc>
                <a:spcPct val="80000"/>
              </a:lnSpc>
              <a:spcBef>
                <a:spcPts val="816"/>
              </a:spcBef>
              <a:defRPr sz="78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LOR SIT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5753" y="2477745"/>
            <a:ext cx="8044963" cy="829179"/>
          </a:xfrm>
        </p:spPr>
        <p:txBody>
          <a:bodyPr anchor="b">
            <a:normAutofit/>
          </a:bodyPr>
          <a:lstStyle>
            <a:lvl1pPr>
              <a:spcBef>
                <a:spcPts val="1224"/>
              </a:spcBef>
              <a:defRPr sz="27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29" name="TextBox 28"/>
          <p:cNvSpPr txBox="1"/>
          <p:nvPr userDrawn="1"/>
        </p:nvSpPr>
        <p:spPr>
          <a:xfrm>
            <a:off x="319512" y="6249103"/>
            <a:ext cx="409584" cy="317340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lvl="0" indent="0" algn="l" defTabSz="924237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990C03-C3A3-48FE-AF6D-3AE397C8962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24237" rtl="0" eaLnBrk="1" fontAlgn="auto" latinLnBrk="0" hangingPunct="1">
                <a:lnSpc>
                  <a:spcPct val="85000"/>
                </a:lnSpc>
                <a:spcBef>
                  <a:spcPts val="20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 userDrawn="1"/>
        </p:nvSpPr>
        <p:spPr>
          <a:xfrm>
            <a:off x="839649" y="6341238"/>
            <a:ext cx="921563" cy="225209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lvl="0" indent="0" algn="l" defTabSz="924237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18 Ipsos.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29308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2000" y="815054"/>
            <a:ext cx="5641072" cy="369397"/>
          </a:xfrm>
        </p:spPr>
        <p:txBody>
          <a:bodyPr anchor="t"/>
          <a:lstStyle>
            <a:lvl1pPr>
              <a:defRPr sz="2667" b="1" cap="none"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001" y="331098"/>
            <a:ext cx="8957556" cy="590215"/>
          </a:xfrm>
        </p:spPr>
        <p:txBody>
          <a:bodyPr anchor="b">
            <a:noAutofit/>
          </a:bodyPr>
          <a:lstStyle>
            <a:lvl1pPr marL="116414" indent="0">
              <a:buNone/>
              <a:defRPr sz="2533" b="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6828127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6045C8-54C0-4418-B8C0-3C6DC70FA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5B749-F855-4E96-8B52-6739412A101B}" type="datetimeFigureOut">
              <a:rPr kumimoji="0" lang="nb-NO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.09.2020</a:t>
            </a:fld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0C7FD-F13B-4BDD-A845-443847899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91CAE7-8178-48E1-A5BC-400E60970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64CC03-275E-4516-905C-65BB718DBE74}" type="slidenum">
              <a:rPr kumimoji="0" lang="nb-NO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900" b="1" i="0" u="none" strike="noStrike" kern="1200" cap="none" spc="0" normalizeH="0" baseline="0" noProof="0" dirty="0">
              <a:ln>
                <a:noFill/>
              </a:ln>
              <a:solidFill>
                <a:srgbClr val="2F469C">
                  <a:lumMod val="75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4748452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9836" y="857958"/>
            <a:ext cx="11536437" cy="443199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09836" y="331098"/>
            <a:ext cx="8967721" cy="590215"/>
          </a:xfrm>
        </p:spPr>
        <p:txBody>
          <a:bodyPr anchor="b">
            <a:normAutofit/>
          </a:bodyPr>
          <a:lstStyle>
            <a:lvl1pPr marL="0" indent="0">
              <a:buNone/>
              <a:defRPr sz="253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0201" y="1851257"/>
            <a:ext cx="10493855" cy="35240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2404568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7124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/>
              <a:t>tittel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Undertittel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785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752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4786" y="1357678"/>
            <a:ext cx="2090814" cy="353943"/>
          </a:xfrm>
          <a:prstGeom prst="rect">
            <a:avLst/>
          </a:prstGeom>
          <a:noFill/>
        </p:spPr>
        <p:txBody>
          <a:bodyPr wrap="squar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38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D3309618-CC75-4177-8883-1C656B8EF5F0}"/>
              </a:ext>
            </a:extLst>
          </p:cNvPr>
          <p:cNvSpPr/>
          <p:nvPr userDrawn="1"/>
        </p:nvSpPr>
        <p:spPr>
          <a:xfrm>
            <a:off x="117566" y="233265"/>
            <a:ext cx="11952514" cy="6507170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1000">
                <a:srgbClr val="131313">
                  <a:alpha val="55000"/>
                </a:srgbClr>
              </a:gs>
              <a:gs pos="38000">
                <a:schemeClr val="tx1">
                  <a:lumMod val="85000"/>
                  <a:lumOff val="15000"/>
                  <a:alpha val="16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398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762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 dirty="0"/>
              <a:t>Undertittel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 dirty="0"/>
              <a:t>Tittel 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688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2107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86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genda/</a:t>
            </a:r>
            <a:r>
              <a:rPr lang="en-GB" dirty="0" err="1"/>
              <a:t>innhold</a:t>
            </a:r>
            <a:endParaRPr lang="en-GB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878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7874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8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638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6814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5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1F5493F3-3396-494C-B7AA-936DEA3472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A54449-0787-49BE-8221-6DC2BB765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3BCC29E8-FA01-420B-86AB-93C9CF30F36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482136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4768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0020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5043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58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433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0" y="2101"/>
            <a:ext cx="11998725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6000"/>
                </a:schemeClr>
              </a:gs>
              <a:gs pos="67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text</a:t>
            </a:r>
            <a:r>
              <a:rPr lang="fr-FR" dirty="0"/>
              <a:t> of the slide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AA4E60BF-8266-4954-89D7-E523061AB5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360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8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570943" cy="1446550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1808820"/>
            <a:ext cx="7551996" cy="2123658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nb-NO" noProof="0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3" y="6031463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/>
              <a:t>Subtitle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6" y="6875869"/>
            <a:ext cx="360037" cy="4572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1906183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794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241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1697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351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19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C0ED4626-A3F3-4EB6-B615-E33DF81FC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928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486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388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4792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72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937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/>
              <a:t>Your </a:t>
            </a:r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here</a:t>
            </a:r>
            <a:endParaRPr lang="nb-NO" noProof="0" dirty="0"/>
          </a:p>
          <a:p>
            <a:pPr lvl="1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1</a:t>
            </a:r>
          </a:p>
          <a:p>
            <a:pPr lvl="2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810443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1128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7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BBDD52F3-BBB0-4B91-8EEB-208C077F83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5925EE1-CD2E-4A0E-9B4A-F4222DBCD6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27981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4075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 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41147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0548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change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</a:t>
            </a:r>
            <a:r>
              <a:rPr lang="nb-NO" noProof="0" dirty="0" err="1"/>
              <a:t>text</a:t>
            </a:r>
            <a:r>
              <a:rPr lang="nb-NO" noProof="0" dirty="0"/>
              <a:t> styles </a:t>
            </a:r>
            <a:r>
              <a:rPr lang="nb-NO" noProof="0" dirty="0" err="1"/>
              <a:t>on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slide master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58135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903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0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25224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3444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89246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1394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7234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1095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1424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859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1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30573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2605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57997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6633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51414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4146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912941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397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0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69985D8-FF27-401D-AE13-C8809DEE9C6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1E443905-DD6D-4529-8F0A-C4C0DAAF9F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53492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63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2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25451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6954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9675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1501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3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07846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30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62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7C4457B5-A8C3-46A7-868D-52171EF747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13123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3692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5ABA2AAA-2D64-4286-AA8D-E8C4B33EF1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18929B-5A27-4738-A956-5210DE317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13255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51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A05C525A-2558-46E8-80B5-941389990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39E13C7-429D-4FD8-8D51-1CD98F0746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31488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512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2B4A1FD1-2F6F-4AF1-B710-F76E885B22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66FD42-E6CB-4E63-977B-EE506F961D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632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782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2D1E5417-BAA4-429E-95E5-698476B661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ED434F4-3F5A-4CC8-AF47-2D44BC94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53714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0951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Cadre 17">
            <a:extLst>
              <a:ext uri="{FF2B5EF4-FFF2-40B4-BE49-F238E27FC236}">
                <a16:creationId xmlns:a16="http://schemas.microsoft.com/office/drawing/2014/main" id="{285449E9-76FD-41C4-AB0F-35C777B4B5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59EC62-365E-4C00-96A9-63E12DBFEC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39062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505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F5012EE-F70F-4DC9-B099-EE7C58FBE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97341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1293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2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752D4BAC-73DB-4CB5-B77A-A9F7350DB6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6EDF6B-3086-43E5-A0E3-18E19E75A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29915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3520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57916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2552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4E714486-5B7B-4F48-BEFC-281DDDE322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BCED95E-D46F-45DA-A8CA-82C0D5EC5C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23AE9234-7A03-47E3-B9FB-3011472759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476089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97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7C69250-80AB-4E19-908E-FE1A9C259E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21F5727-3448-4D99-A3D4-D79C85230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81024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597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37641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744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836591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919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2752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7272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93AA855-02DB-4B05-8E81-A158AE9F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85656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999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6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1B1BC3B-7D47-4411-98E0-572B5105AF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21131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4222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31929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8646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1F5493F3-3396-494C-B7AA-936DEA3472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A54449-0787-49BE-8221-6DC2BB765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3BCC29E8-FA01-420B-86AB-93C9CF30F36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901852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3201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5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B232E484-4563-4A71-9DDC-EE6C0E44D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40076C0-E4EA-4B32-8A67-B88BF86ECC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18531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9615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7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BBDD52F3-BBB0-4B91-8EEB-208C077F83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5925EE1-CD2E-4A0E-9B4A-F4222DBCD6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85356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5909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7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69985D8-FF27-401D-AE13-C8809DEE9C6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1E443905-DD6D-4529-8F0A-C4C0DAAF9F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5335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9925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8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752D4BAC-73DB-4CB5-B77A-A9F7350DB6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6EDF6B-3086-43E5-A0E3-18E19E75A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15978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7158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8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B232E484-4563-4A71-9DDC-EE6C0E44D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40076C0-E4EA-4B32-8A67-B88BF86ECC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85681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228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8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78CCC-EDB7-4322-A715-598B7CD25A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38959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5676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8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090C5BD-4BCD-4A76-B315-2E94DF2794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75311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550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08603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945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DEB3BC3E-E116-4E0A-97F3-66A29CB1DC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8438A79-7265-451F-8F84-EB08D57EE5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869856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4086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</a:pPr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43280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2702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9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70294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6224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406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3335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78CCC-EDB7-4322-A715-598B7CD25A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57972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151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1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74758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0205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38428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290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0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72912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6717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0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04519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115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1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72842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16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29608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6266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82793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2460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66277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0772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597034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0417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53447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7181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9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090C5BD-4BCD-4A76-B315-2E94DF2794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60522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987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BF7A0D0E-8184-4BA8-BEDC-8D6B253B3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334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7596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95FA30DA-C1C6-46AC-9495-9AC59758C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76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7312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2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CE5B38A0-F8CE-4105-8A52-31B103BD64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144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5065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3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8162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230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A049C2FF-866E-4770-BF24-2A2A45738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5646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9382E897-FE3C-46CE-9ACE-BEA0D33725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251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CEA53D01-537F-435D-939E-B46D503CAC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941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029910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1F327ED3-8F17-47CC-A13B-08AE8ED17B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000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9781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2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30219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EF680AAE-5E06-4510-A29A-EA1B5C3FC6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531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AFA2E4AD-7204-43D7-8512-89DC1D3D22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2242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002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slidE</a:t>
            </a:r>
            <a:endParaRPr lang="fr-FR" dirty="0"/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21232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853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3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170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222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23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FF22C7FD-AB94-474F-A263-6F71CCCBC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659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409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9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602841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1026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394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9990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4216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4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DEB3BC3E-E116-4E0A-97F3-66A29CB1DC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8438A79-7265-451F-8F84-EB08D57EE5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91919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5024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18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278664" y="2845969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2000"/>
              </a:prstClr>
            </a:outerShdw>
          </a:effectLst>
        </p:spPr>
      </p:pic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-9525"/>
            <a:ext cx="12192000" cy="6894909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879979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0973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42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3322414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3141104" cy="1354217"/>
            <a:chOff x="794460" y="1664804"/>
            <a:chExt cx="3141104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T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A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  <p:sp>
          <p:nvSpPr>
            <p:cNvPr id="16" name="TextBox 12">
              <a:extLst>
                <a:ext uri="{FF2B5EF4-FFF2-40B4-BE49-F238E27FC236}">
                  <a16:creationId xmlns:a16="http://schemas.microsoft.com/office/drawing/2014/main" id="{2DF71DA4-98CD-454B-B3E1-EFAF31A3C87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21239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</p:grp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025217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8255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/>
              <a:t>tittel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Undertittel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841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2487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4786" y="1357678"/>
            <a:ext cx="2090814" cy="353943"/>
          </a:xfrm>
          <a:prstGeom prst="rect">
            <a:avLst/>
          </a:prstGeom>
          <a:noFill/>
        </p:spPr>
        <p:txBody>
          <a:bodyPr wrap="squar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093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D3309618-CC75-4177-8883-1C656B8EF5F0}"/>
              </a:ext>
            </a:extLst>
          </p:cNvPr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0">
                <a:srgbClr val="131313">
                  <a:alpha val="64000"/>
                </a:srgbClr>
              </a:gs>
              <a:gs pos="38000">
                <a:schemeClr val="tx1">
                  <a:lumMod val="85000"/>
                  <a:lumOff val="15000"/>
                  <a:alpha val="2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3763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38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 dirty="0"/>
              <a:t>Undertittel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 dirty="0"/>
              <a:t>Tittel 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Ditt navn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6365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560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62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genda/</a:t>
            </a:r>
            <a:r>
              <a:rPr lang="en-GB" dirty="0" err="1"/>
              <a:t>innhold</a:t>
            </a:r>
            <a:endParaRPr lang="en-GB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072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8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5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357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9896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214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0570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34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06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0" y="2101"/>
            <a:ext cx="11998725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6000"/>
                </a:schemeClr>
              </a:gs>
              <a:gs pos="67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text</a:t>
            </a:r>
            <a:r>
              <a:rPr lang="fr-FR" dirty="0"/>
              <a:t> of the slide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AA4E60BF-8266-4954-89D7-E523061AB5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873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5538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7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</a:pPr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12832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570943" cy="1446550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1808820"/>
            <a:ext cx="7551996" cy="2123658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nb-NO" noProof="0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3" y="6031463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/>
              <a:t>Subtitle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6" y="6875869"/>
            <a:ext cx="360037" cy="4572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788910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550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527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5996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7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386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1272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C0ED4626-A3F3-4EB6-B615-E33DF81FC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628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5404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609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832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638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847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8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/>
              <a:t>Your </a:t>
            </a:r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here</a:t>
            </a:r>
            <a:endParaRPr lang="nb-NO" noProof="0" dirty="0"/>
          </a:p>
          <a:p>
            <a:pPr lvl="1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1</a:t>
            </a:r>
          </a:p>
          <a:p>
            <a:pPr lvl="2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03000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75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 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95068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868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change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</a:t>
            </a:r>
            <a:r>
              <a:rPr lang="nb-NO" noProof="0" dirty="0" err="1"/>
              <a:t>text</a:t>
            </a:r>
            <a:r>
              <a:rPr lang="nb-NO" noProof="0" dirty="0"/>
              <a:t> styles </a:t>
            </a:r>
            <a:r>
              <a:rPr lang="nb-NO" noProof="0" dirty="0" err="1"/>
              <a:t>on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slide master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4113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17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8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04389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48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9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38426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9515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8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00371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3160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99556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3814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76085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3524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74487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0442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64836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2362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46551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6107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19242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4375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94307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8823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0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1295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0913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1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57097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68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1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1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68549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381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38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7C4457B5-A8C3-46A7-868D-52171EF747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11208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9471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1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5ABA2AAA-2D64-4286-AA8D-E8C4B33EF1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18929B-5A27-4738-A956-5210DE317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62310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9311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1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A05C525A-2558-46E8-80B5-941389990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39E13C7-429D-4FD8-8D51-1CD98F0746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78426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7924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2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2B4A1FD1-2F6F-4AF1-B710-F76E885B22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66FD42-E6CB-4E63-977B-EE506F961D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11952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6912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2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2D1E5417-BAA4-429E-95E5-698476B661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ED434F4-3F5A-4CC8-AF47-2D44BC94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807385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6233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2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Cadre 17">
            <a:extLst>
              <a:ext uri="{FF2B5EF4-FFF2-40B4-BE49-F238E27FC236}">
                <a16:creationId xmlns:a16="http://schemas.microsoft.com/office/drawing/2014/main" id="{285449E9-76FD-41C4-AB0F-35C777B4B5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59EC62-365E-4C00-96A9-63E12DBFEC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36111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9791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2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F5012EE-F70F-4DC9-B099-EE7C58FBE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924007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593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3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7952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129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3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4E714486-5B7B-4F48-BEFC-281DDDE322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BCED95E-D46F-45DA-A8CA-82C0D5EC5C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23AE9234-7A03-47E3-B9FB-3011472759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2380012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6453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3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7C69250-80AB-4E19-908E-FE1A9C259E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21F5727-3448-4D99-A3D4-D79C85230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70488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3316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4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91580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1460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21416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7253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4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27380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4653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4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65719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6061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4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93AA855-02DB-4B05-8E81-A158AE9F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78543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7239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4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1B1BC3B-7D47-4411-98E0-572B5105AF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39355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5389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4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00765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5907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5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1F5493F3-3396-494C-B7AA-936DEA3472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A54449-0787-49BE-8221-6DC2BB765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3BCC29E8-FA01-420B-86AB-93C9CF30F36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39248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874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5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BBDD52F3-BBB0-4B91-8EEB-208C077F83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5925EE1-CD2E-4A0E-9B4A-F4222DBCD6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53656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428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5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69985D8-FF27-401D-AE13-C8809DEE9C6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1E443905-DD6D-4529-8F0A-C4C0DAAF9F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63851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583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5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752D4BAC-73DB-4CB5-B77A-A9F7350DB6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6EDF6B-3086-43E5-A0E3-18E19E75A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59667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1891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6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91159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802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B232E484-4563-4A71-9DDC-EE6C0E44D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40076C0-E4EA-4B32-8A67-B88BF86ECC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37394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338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78CCC-EDB7-4322-A715-598B7CD25A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47017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2584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6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090C5BD-4BCD-4A76-B315-2E94DF2794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0747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3986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6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91045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8693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7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DEB3BC3E-E116-4E0A-97F3-66A29CB1DC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8438A79-7265-451F-8F84-EB08D57EE5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49316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6452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7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</a:pPr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59364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900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7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4066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7596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7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1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75117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831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8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82944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354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8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92084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298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9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02861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111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54888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473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40032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141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9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66139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3619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9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71738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1264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9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10634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1837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9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66848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512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0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61748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6518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0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BF7A0D0E-8184-4BA8-BEDC-8D6B253B3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836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5592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0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95FA30DA-C1C6-46AC-9495-9AC59758C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4696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4932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50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CE5B38A0-F8CE-4105-8A52-31B103BD64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644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8886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727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7421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59686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644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0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83789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15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A049C2FF-866E-4770-BF24-2A2A45738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544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9382E897-FE3C-46CE-9ACE-BEA0D33725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413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CEA53D01-537F-435D-939E-B46D503CAC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016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73315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1F327ED3-8F17-47CC-A13B-08AE8ED17B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983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EF680AAE-5E06-4510-A29A-EA1B5C3FC6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918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AFA2E4AD-7204-43D7-8512-89DC1D3D22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887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2289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400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3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76505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slidE</a:t>
            </a:r>
            <a:endParaRPr lang="fr-FR" dirty="0"/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589573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4903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270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807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1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FF22C7FD-AB94-474F-A263-6F71CCCBC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577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309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952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430946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4618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170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334616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4754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194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278664" y="2845969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2000"/>
              </a:prstClr>
            </a:outerShdw>
          </a:effectLst>
        </p:spPr>
      </p:pic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-9525"/>
            <a:ext cx="12192000" cy="6894909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609082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00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1218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3322414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3141104" cy="1354217"/>
            <a:chOff x="794460" y="1664804"/>
            <a:chExt cx="3141104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T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A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  <p:sp>
          <p:nvSpPr>
            <p:cNvPr id="16" name="TextBox 12">
              <a:extLst>
                <a:ext uri="{FF2B5EF4-FFF2-40B4-BE49-F238E27FC236}">
                  <a16:creationId xmlns:a16="http://schemas.microsoft.com/office/drawing/2014/main" id="{2DF71DA4-98CD-454B-B3E1-EFAF31A3C87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21239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</p:grp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057223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6045C8-54C0-4418-B8C0-3C6DC70FA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5B749-F855-4E96-8B52-6739412A101B}" type="datetimeFigureOut">
              <a:rPr lang="nb-NO" smtClean="0"/>
              <a:t>01.09.2020</a:t>
            </a:fld>
            <a:endParaRPr lang="nb-NO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0C7FD-F13B-4BDD-A845-443847899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91CAE7-8178-48E1-A5BC-400E60970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4CC03-275E-4516-905C-65BB718DBE74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9343579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2384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6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52885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18D0A-39B3-4570-968F-E99FA57C9B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9166" y="934041"/>
            <a:ext cx="573409" cy="178639"/>
          </a:xfrm>
          <a:solidFill>
            <a:schemeClr val="tx1"/>
          </a:solidFill>
        </p:spPr>
        <p:txBody>
          <a:bodyPr wrap="none" lIns="72000" tIns="0" rIns="72000" bIns="0" numCol="1">
            <a:spAutoFit/>
          </a:bodyPr>
          <a:lstStyle>
            <a:lvl1pPr>
              <a:defRPr lang="en-US" sz="1161" b="1" kern="1200" cap="all" baseline="0" dirty="0">
                <a:solidFill>
                  <a:schemeClr val="bg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 algn="l" defTabSz="1696196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241"/>
              </a:spcAft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en-US" dirty="0"/>
              <a:t>BLANK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94AB055C-0BA7-4A19-937C-FEBD6EC944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9166" y="1199661"/>
            <a:ext cx="674397" cy="178639"/>
          </a:xfrm>
          <a:solidFill>
            <a:schemeClr val="tx1"/>
          </a:solidFill>
        </p:spPr>
        <p:txBody>
          <a:bodyPr wrap="none" lIns="72000" tIns="0" rIns="72000" bIns="0" numCol="1">
            <a:spAutoFit/>
          </a:bodyPr>
          <a:lstStyle>
            <a:lvl1pPr>
              <a:defRPr lang="en-US" sz="1161" b="1" kern="1200" cap="all" baseline="0" dirty="0">
                <a:solidFill>
                  <a:schemeClr val="bg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 algn="l" defTabSz="1696196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241"/>
              </a:spcAft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en-US" dirty="0"/>
              <a:t>LAYOUT</a:t>
            </a:r>
          </a:p>
        </p:txBody>
      </p:sp>
    </p:spTree>
    <p:extLst>
      <p:ext uri="{BB962C8B-B14F-4D97-AF65-F5344CB8AC3E}">
        <p14:creationId xmlns:p14="http://schemas.microsoft.com/office/powerpoint/2010/main" val="4248881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9483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32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/>
              <a:t>tittel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Undertittel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884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3897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42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4786" y="1357678"/>
            <a:ext cx="2090814" cy="353943"/>
          </a:xfrm>
          <a:prstGeom prst="rect">
            <a:avLst/>
          </a:prstGeom>
          <a:noFill/>
        </p:spPr>
        <p:txBody>
          <a:bodyPr wrap="squar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782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D3309618-CC75-4177-8883-1C656B8EF5F0}"/>
              </a:ext>
            </a:extLst>
          </p:cNvPr>
          <p:cNvSpPr/>
          <p:nvPr userDrawn="1"/>
        </p:nvSpPr>
        <p:spPr>
          <a:xfrm>
            <a:off x="117566" y="104503"/>
            <a:ext cx="11952514" cy="6635932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1000">
                <a:srgbClr val="131313">
                  <a:alpha val="55000"/>
                </a:srgbClr>
              </a:gs>
              <a:gs pos="38000">
                <a:schemeClr val="tx1">
                  <a:lumMod val="85000"/>
                  <a:lumOff val="15000"/>
                  <a:alpha val="16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3000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314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 dirty="0"/>
              <a:t>Undertittel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 dirty="0"/>
              <a:t>Tittel 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5651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5920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38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genda/</a:t>
            </a:r>
            <a:r>
              <a:rPr lang="en-GB" dirty="0" err="1"/>
              <a:t>innhold</a:t>
            </a:r>
            <a:endParaRPr lang="en-GB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22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610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3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428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234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3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562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533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410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646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0" y="2101"/>
            <a:ext cx="11998725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6000"/>
                </a:schemeClr>
              </a:gs>
              <a:gs pos="67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text</a:t>
            </a:r>
            <a:r>
              <a:rPr lang="fr-FR" dirty="0"/>
              <a:t> of the slide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AA4E60BF-8266-4954-89D7-E523061AB5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320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04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570943" cy="1446550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1808820"/>
            <a:ext cx="7551996" cy="2123658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nb-NO" noProof="0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3" y="6031463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/>
              <a:t>Subtitle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6" y="6875869"/>
            <a:ext cx="360037" cy="4572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1887184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5442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8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20837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1969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14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729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5744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24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803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6202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35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C0ED4626-A3F3-4EB6-B615-E33DF81FC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153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8804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45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026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145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55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737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8192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/>
              <a:t>Your </a:t>
            </a:r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here</a:t>
            </a:r>
            <a:endParaRPr lang="nb-NO" noProof="0" dirty="0"/>
          </a:p>
          <a:p>
            <a:pPr lvl="1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1</a:t>
            </a:r>
          </a:p>
          <a:p>
            <a:pPr lvl="2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27468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5605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6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 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93948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2306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6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change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</a:t>
            </a:r>
            <a:r>
              <a:rPr lang="nb-NO" noProof="0" dirty="0" err="1"/>
              <a:t>text</a:t>
            </a:r>
            <a:r>
              <a:rPr lang="nb-NO" noProof="0" dirty="0"/>
              <a:t> styles </a:t>
            </a:r>
            <a:r>
              <a:rPr lang="nb-NO" noProof="0" dirty="0" err="1"/>
              <a:t>on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slide master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73892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649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6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85414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629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6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41382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7660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54802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775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6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13511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7483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7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22916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9393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37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69427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1758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47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87316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0541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57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72939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9716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6391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6185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559683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4757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29318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7555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8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06560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863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14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7C4457B5-A8C3-46A7-868D-52171EF747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39556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140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93536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0447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5ABA2AAA-2D64-4286-AA8D-E8C4B33EF1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18929B-5A27-4738-A956-5210DE317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93467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5236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A05C525A-2558-46E8-80B5-941389990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39E13C7-429D-4FD8-8D51-1CD98F0746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24752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7321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9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2B4A1FD1-2F6F-4AF1-B710-F76E885B22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66FD42-E6CB-4E63-977B-EE506F961D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35738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8433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2D1E5417-BAA4-429E-95E5-698476B661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ED434F4-3F5A-4CC8-AF47-2D44BC94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21195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9911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0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Cadre 17">
            <a:extLst>
              <a:ext uri="{FF2B5EF4-FFF2-40B4-BE49-F238E27FC236}">
                <a16:creationId xmlns:a16="http://schemas.microsoft.com/office/drawing/2014/main" id="{285449E9-76FD-41C4-AB0F-35C777B4B5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59EC62-365E-4C00-96A9-63E12DBFEC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95382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41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F5012EE-F70F-4DC9-B099-EE7C58FBE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62792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549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0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76555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761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1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4E714486-5B7B-4F48-BEFC-281DDDE322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BCED95E-D46F-45DA-A8CA-82C0D5EC5C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23AE9234-7A03-47E3-B9FB-3011472759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3462527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9466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1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7C69250-80AB-4E19-908E-FE1A9C259E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21F5727-3448-4D99-A3D4-D79C85230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68688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7328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1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12337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0611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5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BF7A0D0E-8184-4BA8-BEDC-8D6B253B3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687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8582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1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521322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6445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2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56088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6497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2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93AA855-02DB-4B05-8E81-A158AE9F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32783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202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2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1B1BC3B-7D47-4411-98E0-572B5105AF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06787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400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2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03108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1999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2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1F5493F3-3396-494C-B7AA-936DEA3472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A54449-0787-49BE-8221-6DC2BB765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3BCC29E8-FA01-420B-86AB-93C9CF30F36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869129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3632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BBDD52F3-BBB0-4B91-8EEB-208C077F83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5925EE1-CD2E-4A0E-9B4A-F4222DBCD6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00064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9181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3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69985D8-FF27-401D-AE13-C8809DEE9C6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1E443905-DD6D-4529-8F0A-C4C0DAAF9F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23745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00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3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752D4BAC-73DB-4CB5-B77A-A9F7350DB6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6EDF6B-3086-43E5-A0E3-18E19E75A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68157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806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3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B232E484-4563-4A71-9DDC-EE6C0E44D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40076C0-E4EA-4B32-8A67-B88BF86ECC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3221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7460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95FA30DA-C1C6-46AC-9495-9AC59758C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011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77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4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78CCC-EDB7-4322-A715-598B7CD25A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82567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67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4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090C5BD-4BCD-4A76-B315-2E94DF2794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50384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4756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4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64579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059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54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DEB3BC3E-E116-4E0A-97F3-66A29CB1DC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8438A79-7265-451F-8F84-EB08D57EE5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86655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4524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5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</a:pPr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55858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8773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057513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0973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5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1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930572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7647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5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2344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132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6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15639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3495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6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33419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329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0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CE5B38A0-F8CE-4105-8A52-31B103BD64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740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4909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6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36946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141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6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65080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6149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7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53146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505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57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3307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647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7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50485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7024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73159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5946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BF7A0D0E-8184-4BA8-BEDC-8D6B253B3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1296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7634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8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95FA30DA-C1C6-46AC-9495-9AC59758C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049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132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8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CE5B38A0-F8CE-4105-8A52-31B103BD64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580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303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8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938055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2184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3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82575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660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A049C2FF-866E-4770-BF24-2A2A45738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494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9382E897-FE3C-46CE-9ACE-BEA0D33725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235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CEA53D01-537F-435D-939E-B46D503CAC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699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095184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1F327ED3-8F17-47CC-A13B-08AE8ED17B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103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EF680AAE-5E06-4510-A29A-EA1B5C3FC6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263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AFA2E4AD-7204-43D7-8512-89DC1D3D22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020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182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slidE</a:t>
            </a:r>
            <a:endParaRPr lang="fr-FR" dirty="0"/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507275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496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7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717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929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3053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8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054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2679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9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FF22C7FD-AB94-474F-A263-6F71CCCBC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05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95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206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990469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7927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946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498443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866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970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278664" y="2845969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2000"/>
              </a:prstClr>
            </a:outerShdw>
          </a:effectLst>
        </p:spPr>
      </p:pic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-9525"/>
            <a:ext cx="12192000" cy="6894909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999184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017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6994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3322414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3141104" cy="1354217"/>
            <a:chOff x="794460" y="1664804"/>
            <a:chExt cx="3141104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T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A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  <p:sp>
          <p:nvSpPr>
            <p:cNvPr id="16" name="TextBox 12">
              <a:extLst>
                <a:ext uri="{FF2B5EF4-FFF2-40B4-BE49-F238E27FC236}">
                  <a16:creationId xmlns:a16="http://schemas.microsoft.com/office/drawing/2014/main" id="{2DF71DA4-98CD-454B-B3E1-EFAF31A3C87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21239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</p:grp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4231503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6045C8-54C0-4418-B8C0-3C6DC70FA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5B749-F855-4E96-8B52-6739412A101B}" type="datetimeFigureOut">
              <a:rPr lang="nb-NO" smtClean="0"/>
              <a:t>01.09.2020</a:t>
            </a:fld>
            <a:endParaRPr lang="nb-NO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0C7FD-F13B-4BDD-A845-443847899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91CAE7-8178-48E1-A5BC-400E60970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0920" y="6355712"/>
            <a:ext cx="360037" cy="365125"/>
          </a:xfrm>
          <a:prstGeom prst="rect">
            <a:avLst/>
          </a:prstGeom>
        </p:spPr>
        <p:txBody>
          <a:bodyPr/>
          <a:lstStyle/>
          <a:p>
            <a:fld id="{0A64CC03-275E-4516-905C-65BB718DBE74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38362679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6851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/>
              <a:t>tittel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Undertittel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236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A049C2FF-866E-4770-BF24-2A2A45738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216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3232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0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4786" y="1357678"/>
            <a:ext cx="2090814" cy="353943"/>
          </a:xfrm>
          <a:prstGeom prst="rect">
            <a:avLst/>
          </a:prstGeom>
          <a:noFill/>
        </p:spPr>
        <p:txBody>
          <a:bodyPr wrap="squar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774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D3309618-CC75-4177-8883-1C656B8EF5F0}"/>
              </a:ext>
            </a:extLst>
          </p:cNvPr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0">
                <a:srgbClr val="131313">
                  <a:alpha val="64000"/>
                </a:srgbClr>
              </a:gs>
              <a:gs pos="38000">
                <a:schemeClr val="tx1">
                  <a:lumMod val="85000"/>
                  <a:lumOff val="15000"/>
                  <a:alpha val="2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9798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1090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 dirty="0"/>
              <a:t>Undertittel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 dirty="0"/>
              <a:t>Tittel 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Ditt navn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2547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3399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114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genda/</a:t>
            </a:r>
            <a:r>
              <a:rPr lang="en-GB" dirty="0" err="1"/>
              <a:t>innhold</a:t>
            </a:r>
            <a:endParaRPr lang="en-GB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156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6300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1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441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8919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1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143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6737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186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822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0" y="2101"/>
            <a:ext cx="11998725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6000"/>
                </a:schemeClr>
              </a:gs>
              <a:gs pos="67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text</a:t>
            </a:r>
            <a:r>
              <a:rPr lang="fr-FR" dirty="0"/>
              <a:t> of the slide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AA4E60BF-8266-4954-89D7-E523061AB5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225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2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570943" cy="1446550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1808820"/>
            <a:ext cx="7551996" cy="2123658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nb-NO" noProof="0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3" y="6031463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/>
              <a:t>Subtitle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6" y="6875869"/>
            <a:ext cx="360037" cy="4572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2933431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785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2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3073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5363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3480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9382E897-FE3C-46CE-9ACE-BEA0D33725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194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5688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C0ED4626-A3F3-4EB6-B615-E33DF81FC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197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770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3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115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024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3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240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2081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3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/>
              <a:t>Your </a:t>
            </a:r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here</a:t>
            </a:r>
            <a:endParaRPr lang="nb-NO" noProof="0" dirty="0"/>
          </a:p>
          <a:p>
            <a:pPr lvl="1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1</a:t>
            </a:r>
          </a:p>
          <a:p>
            <a:pPr lvl="2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87764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0412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3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 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74094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1050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44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change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</a:t>
            </a:r>
            <a:r>
              <a:rPr lang="nb-NO" noProof="0" dirty="0" err="1"/>
              <a:t>text</a:t>
            </a:r>
            <a:r>
              <a:rPr lang="nb-NO" noProof="0" dirty="0"/>
              <a:t> styles </a:t>
            </a:r>
            <a:r>
              <a:rPr lang="nb-NO" noProof="0" dirty="0" err="1"/>
              <a:t>on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slide master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89475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368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4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09600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447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64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11065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5771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4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55113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099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4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36540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CEA53D01-537F-435D-939E-B46D503CAC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26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359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5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01730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496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5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09851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4398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5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35806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791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25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98388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89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6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28996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6129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46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16170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49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6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00281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6594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6690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7C4457B5-A8C3-46A7-868D-52171EF747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2987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906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77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5ABA2AAA-2D64-4286-AA8D-E8C4B33EF1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18929B-5A27-4738-A956-5210DE317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35927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8202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A05C525A-2558-46E8-80B5-941389990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39E13C7-429D-4FD8-8D51-1CD98F0746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57334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223913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750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7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2B4A1FD1-2F6F-4AF1-B710-F76E885B22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66FD42-E6CB-4E63-977B-EE506F961D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08116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8214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7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2D1E5417-BAA4-429E-95E5-698476B661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ED434F4-3F5A-4CC8-AF47-2D44BC94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95638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7255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8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Cadre 17">
            <a:extLst>
              <a:ext uri="{FF2B5EF4-FFF2-40B4-BE49-F238E27FC236}">
                <a16:creationId xmlns:a16="http://schemas.microsoft.com/office/drawing/2014/main" id="{285449E9-76FD-41C4-AB0F-35C777B4B5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59EC62-365E-4C00-96A9-63E12DBFEC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69044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9783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28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F5012EE-F70F-4DC9-B099-EE7C58FBE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980118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9422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38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59400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1020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8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4E714486-5B7B-4F48-BEFC-281DDDE322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BCED95E-D46F-45DA-A8CA-82C0D5EC5C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23AE9234-7A03-47E3-B9FB-3011472759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2113258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7442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9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7C69250-80AB-4E19-908E-FE1A9C259E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21F5727-3448-4D99-A3D4-D79C85230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61590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243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9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92184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5911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79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42462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9022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42741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1F327ED3-8F17-47CC-A13B-08AE8ED17B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041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794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0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93AA855-02DB-4B05-8E81-A158AE9F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17535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7120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0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1B1BC3B-7D47-4411-98E0-572B5105AF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52270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341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20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99943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9190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30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1F5493F3-3396-494C-B7AA-936DEA3472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A54449-0787-49BE-8221-6DC2BB765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3BCC29E8-FA01-420B-86AB-93C9CF30F36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920036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0930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0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BBDD52F3-BBB0-4B91-8EEB-208C077F83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5925EE1-CD2E-4A0E-9B4A-F4222DBCD6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30135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7877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51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69985D8-FF27-401D-AE13-C8809DEE9C6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1E443905-DD6D-4529-8F0A-C4C0DAAF9F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08600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5889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1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752D4BAC-73DB-4CB5-B77A-A9F7350DB6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6EDF6B-3086-43E5-A0E3-18E19E75A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39768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2194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71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B232E484-4563-4A71-9DDC-EE6C0E44D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40076C0-E4EA-4B32-8A67-B88BF86ECC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94632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6679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81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78CCC-EDB7-4322-A715-598B7CD25A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95588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2060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090C5BD-4BCD-4A76-B315-2E94DF2794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58188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EF680AAE-5E06-4510-A29A-EA1B5C3FC6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451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706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50553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793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DEB3BC3E-E116-4E0A-97F3-66A29CB1DC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8438A79-7265-451F-8F84-EB08D57EE5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76310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4167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</a:pPr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96066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505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83998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71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1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85037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06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3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702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6722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3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45900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669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60649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67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4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29905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194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90404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AFA2E4AD-7204-43D7-8512-89DC1D3D22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174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7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4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39192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5958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5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61298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259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5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83729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62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5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582401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23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5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BF7A0D0E-8184-4BA8-BEDC-8D6B253B3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5157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3596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6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95FA30DA-C1C6-46AC-9495-9AC59758C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909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466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6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CE5B38A0-F8CE-4105-8A52-31B103BD64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310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7608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6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02607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623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A049C2FF-866E-4770-BF24-2A2A45738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398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683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9382E897-FE3C-46CE-9ACE-BEA0D33725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796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CEA53D01-537F-435D-939E-B46D503CAC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205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439047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1F327ED3-8F17-47CC-A13B-08AE8ED17B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0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EF680AAE-5E06-4510-A29A-EA1B5C3FC6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472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AFA2E4AD-7204-43D7-8512-89DC1D3D22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179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68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slidE</a:t>
            </a:r>
            <a:endParaRPr lang="fr-FR" dirty="0"/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440931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720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6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115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5306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6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FF22C7FD-AB94-474F-A263-6F71CCCBC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177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slidE</a:t>
            </a:r>
            <a:endParaRPr lang="fr-FR" dirty="0"/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257928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874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955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526894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8089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722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455029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9579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746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278664" y="2845969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2000"/>
              </a:prstClr>
            </a:outerShdw>
          </a:effectLst>
        </p:spPr>
      </p:pic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-9525"/>
            <a:ext cx="12192000" cy="6894909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692696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1896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770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3322414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3141104" cy="1354217"/>
            <a:chOff x="794460" y="1664804"/>
            <a:chExt cx="3141104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T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A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  <p:sp>
          <p:nvSpPr>
            <p:cNvPr id="16" name="TextBox 12">
              <a:extLst>
                <a:ext uri="{FF2B5EF4-FFF2-40B4-BE49-F238E27FC236}">
                  <a16:creationId xmlns:a16="http://schemas.microsoft.com/office/drawing/2014/main" id="{2DF71DA4-98CD-454B-B3E1-EFAF31A3C87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21239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</p:grp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923783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6045C8-54C0-4418-B8C0-3C6DC70FA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5B749-F855-4E96-8B52-6739412A101B}" type="datetimeFigureOut">
              <a:rPr lang="nb-NO" smtClean="0"/>
              <a:t>01.09.2020</a:t>
            </a:fld>
            <a:endParaRPr lang="nb-NO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0C7FD-F13B-4BDD-A845-443847899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91CAE7-8178-48E1-A5BC-400E60970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4CC03-275E-4516-905C-65BB718DBE74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10414939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18D0A-39B3-4570-968F-E99FA57C9B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9166" y="934041"/>
            <a:ext cx="573409" cy="178639"/>
          </a:xfrm>
          <a:solidFill>
            <a:schemeClr val="tx1"/>
          </a:solidFill>
        </p:spPr>
        <p:txBody>
          <a:bodyPr wrap="none" lIns="72000" tIns="0" rIns="72000" bIns="0" numCol="1">
            <a:spAutoFit/>
          </a:bodyPr>
          <a:lstStyle>
            <a:lvl1pPr>
              <a:defRPr lang="en-US" sz="1161" b="1" kern="1200" cap="all" baseline="0" dirty="0">
                <a:solidFill>
                  <a:schemeClr val="bg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 algn="l" defTabSz="1696196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241"/>
              </a:spcAft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en-US" dirty="0"/>
              <a:t>BLANK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94AB055C-0BA7-4A19-937C-FEBD6EC944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9166" y="1199661"/>
            <a:ext cx="674397" cy="178639"/>
          </a:xfrm>
          <a:solidFill>
            <a:schemeClr val="tx1"/>
          </a:solidFill>
        </p:spPr>
        <p:txBody>
          <a:bodyPr wrap="none" lIns="72000" tIns="0" rIns="72000" bIns="0" numCol="1">
            <a:spAutoFit/>
          </a:bodyPr>
          <a:lstStyle>
            <a:lvl1pPr>
              <a:defRPr lang="en-US" sz="1161" b="1" kern="1200" cap="all" baseline="0" dirty="0">
                <a:solidFill>
                  <a:schemeClr val="bg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 algn="l" defTabSz="1696196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241"/>
              </a:spcAft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en-US" dirty="0"/>
              <a:t>LAYOUT</a:t>
            </a:r>
          </a:p>
        </p:txBody>
      </p:sp>
    </p:spTree>
    <p:extLst>
      <p:ext uri="{BB962C8B-B14F-4D97-AF65-F5344CB8AC3E}">
        <p14:creationId xmlns:p14="http://schemas.microsoft.com/office/powerpoint/2010/main" val="987028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45140-1FB6-43D7-94F2-2F02B0072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84BB0D-C66D-4C28-BA66-20CA4E1D16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402C3-113D-4E84-B67B-D09D8D3CBA5D}" type="datetimeFigureOut">
              <a:rPr lang="nb-NO" smtClean="0"/>
              <a:t>01.09.2020</a:t>
            </a:fld>
            <a:endParaRPr lang="nb-NO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6F57EF-842F-427C-A670-5B7380F711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6A85A9-E91B-4CBD-95C6-9E7BF03BFA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67E312-94C6-4B49-A56B-E34D851F8FF9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3296394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0218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/>
              <a:t>tittel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Undertittel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019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0" y="2101"/>
            <a:ext cx="11998725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6000"/>
                </a:schemeClr>
              </a:gs>
              <a:gs pos="67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text</a:t>
            </a:r>
            <a:r>
              <a:rPr lang="fr-FR" dirty="0"/>
              <a:t> of the slide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AA4E60BF-8266-4954-89D7-E523061AB5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360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9565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904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6261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6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4786" y="1357678"/>
            <a:ext cx="2090814" cy="353943"/>
          </a:xfrm>
          <a:prstGeom prst="rect">
            <a:avLst/>
          </a:prstGeom>
          <a:noFill/>
        </p:spPr>
        <p:txBody>
          <a:bodyPr wrap="squar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9612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D3309618-CC75-4177-8883-1C656B8EF5F0}"/>
              </a:ext>
            </a:extLst>
          </p:cNvPr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1000">
                <a:srgbClr val="131313">
                  <a:alpha val="55000"/>
                </a:srgbClr>
              </a:gs>
              <a:gs pos="38000">
                <a:schemeClr val="tx1">
                  <a:lumMod val="85000"/>
                  <a:lumOff val="15000"/>
                  <a:alpha val="16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0089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14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 dirty="0"/>
              <a:t>Undertittel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 dirty="0"/>
              <a:t>Tittel 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008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367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738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genda/</a:t>
            </a:r>
            <a:r>
              <a:rPr lang="en-GB" dirty="0" err="1"/>
              <a:t>innhold</a:t>
            </a:r>
            <a:endParaRPr lang="en-GB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460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3660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7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85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9506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7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178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1179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10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082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0" y="2101"/>
            <a:ext cx="11998725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6000"/>
                </a:schemeClr>
              </a:gs>
              <a:gs pos="67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text</a:t>
            </a:r>
            <a:r>
              <a:rPr lang="fr-FR" dirty="0"/>
              <a:t> of the slide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AA4E60BF-8266-4954-89D7-E523061AB5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2649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8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570943" cy="1446550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1808820"/>
            <a:ext cx="7551996" cy="2123658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nb-NO" noProof="0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3" y="6031463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/>
              <a:t>Subtitle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6" y="6875869"/>
            <a:ext cx="360037" cy="4572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20793090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0057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019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2679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8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7905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1875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7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FF22C7FD-AB94-474F-A263-6F71CCCBC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166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59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9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C0ED4626-A3F3-4EB6-B615-E33DF81FC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582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790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9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835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1951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9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8375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0299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9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/>
              <a:t>Your </a:t>
            </a:r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here</a:t>
            </a:r>
            <a:endParaRPr lang="nb-NO" noProof="0" dirty="0"/>
          </a:p>
          <a:p>
            <a:pPr lvl="1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1</a:t>
            </a:r>
          </a:p>
          <a:p>
            <a:pPr lvl="2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61523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7300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0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 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11444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4900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0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change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</a:t>
            </a:r>
            <a:r>
              <a:rPr lang="nb-NO" noProof="0" dirty="0" err="1"/>
              <a:t>text</a:t>
            </a:r>
            <a:r>
              <a:rPr lang="nb-NO" noProof="0" dirty="0"/>
              <a:t> styles </a:t>
            </a:r>
            <a:r>
              <a:rPr lang="nb-NO" noProof="0" dirty="0" err="1"/>
              <a:t>on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slide master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38002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15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0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07319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9102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0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523564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6434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0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57613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671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1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80030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08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0487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1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23918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4203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1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7788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0852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1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928180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6504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2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35099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6268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82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79009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0294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92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96622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15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2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3431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3657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314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7C4457B5-A8C3-46A7-868D-52171EF747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29453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0413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5ABA2AAA-2D64-4286-AA8D-E8C4B33EF1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18929B-5A27-4738-A956-5210DE317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824250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078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3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A05C525A-2558-46E8-80B5-941389990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39E13C7-429D-4FD8-8D51-1CD98F0746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76956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710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3774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3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2B4A1FD1-2F6F-4AF1-B710-F76E885B22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66FD42-E6CB-4E63-977B-EE506F961D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09874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8687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4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2D1E5417-BAA4-429E-95E5-698476B661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ED434F4-3F5A-4CC8-AF47-2D44BC94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25668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1923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64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Cadre 17">
            <a:extLst>
              <a:ext uri="{FF2B5EF4-FFF2-40B4-BE49-F238E27FC236}">
                <a16:creationId xmlns:a16="http://schemas.microsoft.com/office/drawing/2014/main" id="{285449E9-76FD-41C4-AB0F-35C777B4B5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59EC62-365E-4C00-96A9-63E12DBFEC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63712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262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74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F5012EE-F70F-4DC9-B099-EE7C58FBE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02680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7659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84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16215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418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95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4E714486-5B7B-4F48-BEFC-281DDDE322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BCED95E-D46F-45DA-A8CA-82C0D5EC5C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23AE9234-7A03-47E3-B9FB-3011472759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2156757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5770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05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7C69250-80AB-4E19-908E-FE1A9C259E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21F5727-3448-4D99-A3D4-D79C85230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84381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708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15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37430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2746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56258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2553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6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9604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649964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0193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6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93AA855-02DB-4B05-8E81-A158AE9F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96024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3912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56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1B1BC3B-7D47-4411-98E0-572B5105AF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64820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2671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6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62857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770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76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1F5493F3-3396-494C-B7AA-936DEA3472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A54449-0787-49BE-8221-6DC2BB765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3BCC29E8-FA01-420B-86AB-93C9CF30F36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3262460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2347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87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BBDD52F3-BBB0-4B91-8EEB-208C077F83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5925EE1-CD2E-4A0E-9B4A-F4222DBCD6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49592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0802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97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69985D8-FF27-401D-AE13-C8809DEE9C6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1E443905-DD6D-4529-8F0A-C4C0DAAF9F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28968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9214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07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752D4BAC-73DB-4CB5-B77A-A9F7350DB6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6EDF6B-3086-43E5-A0E3-18E19E75A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60646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252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17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B232E484-4563-4A71-9DDC-EE6C0E44D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40076C0-E4EA-4B32-8A67-B88BF86ECC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53244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2540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78CCC-EDB7-4322-A715-598B7CD25A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01284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2467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8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090C5BD-4BCD-4A76-B315-2E94DF2794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56627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1287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03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277366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140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8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92492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5530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8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DEB3BC3E-E116-4E0A-97F3-66A29CB1DC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8438A79-7265-451F-8F84-EB08D57EE5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17388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9685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9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</a:pPr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55572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953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79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5531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945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89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1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49684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3472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99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72943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569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10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21470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3560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20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89139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405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38305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329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0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909549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7459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27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278664" y="2845969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2000"/>
              </a:prstClr>
            </a:outerShdw>
          </a:effectLst>
        </p:spPr>
      </p:pic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-9525"/>
            <a:ext cx="12192000" cy="6894909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673873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6100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51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43551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2617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61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48425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2197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71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38872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9325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81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05499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891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92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BF7A0D0E-8184-4BA8-BEDC-8D6B253B3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600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570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02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95FA30DA-C1C6-46AC-9495-9AC59758C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332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8972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12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CE5B38A0-F8CE-4105-8A52-31B103BD64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252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1948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2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69541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222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A049C2FF-866E-4770-BF24-2A2A45738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620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844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51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3322414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3141104" cy="1354217"/>
            <a:chOff x="794460" y="1664804"/>
            <a:chExt cx="3141104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T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A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  <p:sp>
          <p:nvSpPr>
            <p:cNvPr id="16" name="TextBox 12">
              <a:extLst>
                <a:ext uri="{FF2B5EF4-FFF2-40B4-BE49-F238E27FC236}">
                  <a16:creationId xmlns:a16="http://schemas.microsoft.com/office/drawing/2014/main" id="{2DF71DA4-98CD-454B-B3E1-EFAF31A3C87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21239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</p:grp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269646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9382E897-FE3C-46CE-9ACE-BEA0D33725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13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CEA53D01-537F-435D-939E-B46D503CAC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891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378052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1F327ED3-8F17-47CC-A13B-08AE8ED17B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361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EF680AAE-5E06-4510-A29A-EA1B5C3FC6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1763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AFA2E4AD-7204-43D7-8512-89DC1D3D22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505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381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slidE</a:t>
            </a:r>
            <a:endParaRPr lang="fr-FR" dirty="0"/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703773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5874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2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431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7589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3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FF22C7FD-AB94-474F-A263-6F71CCCBC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786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6045C8-54C0-4418-B8C0-3C6DC70FA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5B749-F855-4E96-8B52-6739412A101B}" type="datetimeFigureOut">
              <a:rPr lang="nb-NO" smtClean="0"/>
              <a:t>01.09.2020</a:t>
            </a:fld>
            <a:endParaRPr lang="nb-NO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0C7FD-F13B-4BDD-A845-443847899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91CAE7-8178-48E1-A5BC-400E60970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4CC03-275E-4516-905C-65BB718DBE74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89599953"/>
      </p:ext>
    </p:extLst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597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170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955840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368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346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927247"/>
      </p:ext>
    </p:extLst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051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6370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278664" y="2845969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2000"/>
              </a:prstClr>
            </a:outerShdw>
          </a:effectLst>
        </p:spPr>
      </p:pic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-9525"/>
            <a:ext cx="12192000" cy="6894909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966426"/>
      </p:ext>
    </p:extLst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2510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7394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3322414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3141104" cy="1354217"/>
            <a:chOff x="794460" y="1664804"/>
            <a:chExt cx="3141104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T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A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  <p:sp>
          <p:nvSpPr>
            <p:cNvPr id="16" name="TextBox 12">
              <a:extLst>
                <a:ext uri="{FF2B5EF4-FFF2-40B4-BE49-F238E27FC236}">
                  <a16:creationId xmlns:a16="http://schemas.microsoft.com/office/drawing/2014/main" id="{2DF71DA4-98CD-454B-B3E1-EFAF31A3C87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21239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</p:grp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148141"/>
      </p:ext>
    </p:extLst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18D0A-39B3-4570-968F-E99FA57C9B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9166" y="934041"/>
            <a:ext cx="573409" cy="178639"/>
          </a:xfrm>
          <a:solidFill>
            <a:schemeClr val="tx1"/>
          </a:solidFill>
        </p:spPr>
        <p:txBody>
          <a:bodyPr wrap="none" lIns="72000" tIns="0" rIns="72000" bIns="0" numCol="1">
            <a:spAutoFit/>
          </a:bodyPr>
          <a:lstStyle>
            <a:lvl1pPr>
              <a:defRPr lang="en-US" sz="1161" b="1" kern="1200" cap="all" baseline="0" dirty="0">
                <a:solidFill>
                  <a:schemeClr val="bg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 algn="l" defTabSz="1696196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241"/>
              </a:spcAft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en-US" dirty="0"/>
              <a:t>BLANK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94AB055C-0BA7-4A19-937C-FEBD6EC944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9166" y="1199661"/>
            <a:ext cx="674397" cy="178639"/>
          </a:xfrm>
          <a:solidFill>
            <a:schemeClr val="tx1"/>
          </a:solidFill>
        </p:spPr>
        <p:txBody>
          <a:bodyPr wrap="none" lIns="72000" tIns="0" rIns="72000" bIns="0" numCol="1">
            <a:spAutoFit/>
          </a:bodyPr>
          <a:lstStyle>
            <a:lvl1pPr>
              <a:defRPr lang="en-US" sz="1161" b="1" kern="1200" cap="all" baseline="0" dirty="0">
                <a:solidFill>
                  <a:schemeClr val="bg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marL="0" lvl="0" indent="0" algn="l" defTabSz="1696196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241"/>
              </a:spcAft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en-US" dirty="0"/>
              <a:t>LAYOUT</a:t>
            </a:r>
          </a:p>
        </p:txBody>
      </p:sp>
    </p:spTree>
    <p:extLst>
      <p:ext uri="{BB962C8B-B14F-4D97-AF65-F5344CB8AC3E}">
        <p14:creationId xmlns:p14="http://schemas.microsoft.com/office/powerpoint/2010/main" val="3438326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 Section Head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0444" y="3306925"/>
            <a:ext cx="4952573" cy="960263"/>
          </a:xfrm>
        </p:spPr>
        <p:txBody>
          <a:bodyPr lIns="0" anchor="t"/>
          <a:lstStyle>
            <a:lvl1pPr>
              <a:lnSpc>
                <a:spcPct val="80000"/>
              </a:lnSpc>
              <a:spcBef>
                <a:spcPts val="816"/>
              </a:spcBef>
              <a:defRPr sz="78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LOR SIT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5753" y="2477745"/>
            <a:ext cx="8044963" cy="829179"/>
          </a:xfrm>
        </p:spPr>
        <p:txBody>
          <a:bodyPr anchor="b">
            <a:normAutofit/>
          </a:bodyPr>
          <a:lstStyle>
            <a:lvl1pPr>
              <a:spcBef>
                <a:spcPts val="1224"/>
              </a:spcBef>
              <a:defRPr sz="27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29" name="TextBox 28"/>
          <p:cNvSpPr txBox="1"/>
          <p:nvPr userDrawn="1"/>
        </p:nvSpPr>
        <p:spPr>
          <a:xfrm>
            <a:off x="319512" y="6249103"/>
            <a:ext cx="409584" cy="317340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lvl="0" indent="0" algn="l" defTabSz="924237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990C03-C3A3-48FE-AF6D-3AE397C8962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24237" rtl="0" eaLnBrk="1" fontAlgn="auto" latinLnBrk="0" hangingPunct="1">
                <a:lnSpc>
                  <a:spcPct val="85000"/>
                </a:lnSpc>
                <a:spcBef>
                  <a:spcPts val="204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 userDrawn="1"/>
        </p:nvSpPr>
        <p:spPr>
          <a:xfrm>
            <a:off x="839649" y="6341238"/>
            <a:ext cx="921563" cy="225209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lvl="0" indent="0" algn="l" defTabSz="924237" rtl="0" eaLnBrk="1" fontAlgn="auto" latinLnBrk="0" hangingPunct="1">
              <a:lnSpc>
                <a:spcPct val="85000"/>
              </a:lnSpc>
              <a:spcBef>
                <a:spcPts val="20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2018 Ipsos.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9541604"/>
      </p:ext>
    </p:extLst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2000" y="815054"/>
            <a:ext cx="5641072" cy="369397"/>
          </a:xfrm>
        </p:spPr>
        <p:txBody>
          <a:bodyPr anchor="t"/>
          <a:lstStyle>
            <a:lvl1pPr>
              <a:defRPr sz="2667" b="1" cap="none"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001" y="331098"/>
            <a:ext cx="8957556" cy="590215"/>
          </a:xfrm>
        </p:spPr>
        <p:txBody>
          <a:bodyPr anchor="b">
            <a:noAutofit/>
          </a:bodyPr>
          <a:lstStyle>
            <a:lvl1pPr marL="116414" indent="0">
              <a:buNone/>
              <a:defRPr sz="2533" b="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4330864"/>
      </p:ext>
    </p:extLst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6045C8-54C0-4418-B8C0-3C6DC70FA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85B749-F855-4E96-8B52-6739412A101B}" type="datetimeFigureOut">
              <a:rPr kumimoji="0" lang="nb-NO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.09.2020</a:t>
            </a:fld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0C7FD-F13B-4BDD-A845-443847899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91CAE7-8178-48E1-A5BC-400E60970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64CC03-275E-4516-905C-65BB718DBE74}" type="slidenum">
              <a:rPr kumimoji="0" lang="nb-NO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900" b="1" i="0" u="none" strike="noStrike" kern="1200" cap="none" spc="0" normalizeH="0" baseline="0" noProof="0" dirty="0">
              <a:ln>
                <a:noFill/>
              </a:ln>
              <a:solidFill>
                <a:srgbClr val="2F469C">
                  <a:lumMod val="75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958085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/>
              <a:t>tittel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Undertittel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707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9836" y="857958"/>
            <a:ext cx="11536437" cy="443199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09836" y="331098"/>
            <a:ext cx="8967721" cy="590215"/>
          </a:xfrm>
        </p:spPr>
        <p:txBody>
          <a:bodyPr anchor="b">
            <a:normAutofit/>
          </a:bodyPr>
          <a:lstStyle>
            <a:lvl1pPr marL="0" indent="0">
              <a:buNone/>
              <a:defRPr sz="2533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0201" y="1851257"/>
            <a:ext cx="10493855" cy="35240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844282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9148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77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/>
              <a:t>tittel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Undertittel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653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20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4786" y="1357678"/>
            <a:ext cx="2090814" cy="353943"/>
          </a:xfrm>
          <a:prstGeom prst="rect">
            <a:avLst/>
          </a:prstGeom>
          <a:noFill/>
        </p:spPr>
        <p:txBody>
          <a:bodyPr wrap="squar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173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D3309618-CC75-4177-8883-1C656B8EF5F0}"/>
              </a:ext>
            </a:extLst>
          </p:cNvPr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0">
                <a:srgbClr val="131313">
                  <a:alpha val="64000"/>
                </a:srgbClr>
              </a:gs>
              <a:gs pos="38000">
                <a:schemeClr val="tx1">
                  <a:lumMod val="85000"/>
                  <a:lumOff val="15000"/>
                  <a:alpha val="2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2371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42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 dirty="0"/>
              <a:t>Undertittel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 dirty="0"/>
              <a:t>Tittel 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Ditt navn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448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1476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866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genda/</a:t>
            </a:r>
            <a:r>
              <a:rPr lang="en-GB" dirty="0" err="1"/>
              <a:t>innhold</a:t>
            </a:r>
            <a:endParaRPr lang="en-GB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092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9116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8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879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746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9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227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3825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938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141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0" y="2101"/>
            <a:ext cx="11998725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6000"/>
                </a:schemeClr>
              </a:gs>
              <a:gs pos="67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text</a:t>
            </a:r>
            <a:r>
              <a:rPr lang="fr-FR" dirty="0"/>
              <a:t> of the slide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AA4E60BF-8266-4954-89D7-E523061AB5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304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9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570943" cy="1446550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1808820"/>
            <a:ext cx="7551996" cy="2123658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nb-NO" noProof="0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3" y="6031463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/>
              <a:t>Subtitle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6" y="6875869"/>
            <a:ext cx="360037" cy="4572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209923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570943" cy="1446550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1808820"/>
            <a:ext cx="7551996" cy="2123658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nb-NO" noProof="0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3" y="6031463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/>
              <a:t>Subtitle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6" y="6875869"/>
            <a:ext cx="360037" cy="4572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26396800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6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4786" y="1357678"/>
            <a:ext cx="2090814" cy="353943"/>
          </a:xfrm>
          <a:prstGeom prst="rect">
            <a:avLst/>
          </a:prstGeom>
          <a:noFill/>
        </p:spPr>
        <p:txBody>
          <a:bodyPr wrap="squar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993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9585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9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052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5684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0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227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646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0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C0ED4626-A3F3-4EB6-B615-E33DF81FC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133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4164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668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321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0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018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2599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1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/>
              <a:t>Your </a:t>
            </a:r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here</a:t>
            </a:r>
            <a:endParaRPr lang="nb-NO" noProof="0" dirty="0"/>
          </a:p>
          <a:p>
            <a:pPr lvl="1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1</a:t>
            </a:r>
          </a:p>
          <a:p>
            <a:pPr lvl="2"/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Your text here</a:t>
            </a:r>
          </a:p>
          <a:p>
            <a:pPr lvl="1"/>
            <a:r>
              <a:rPr lang="nb-NO" noProof="0"/>
              <a:t>Text level 1</a:t>
            </a:r>
          </a:p>
          <a:p>
            <a:pPr lvl="2"/>
            <a:r>
              <a:rPr lang="nb-NO" noProof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24202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555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1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 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93058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1857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1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change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</a:t>
            </a:r>
            <a:r>
              <a:rPr lang="nb-NO" noProof="0" dirty="0" err="1"/>
              <a:t>text</a:t>
            </a:r>
            <a:r>
              <a:rPr lang="nb-NO" noProof="0" dirty="0"/>
              <a:t> styles </a:t>
            </a:r>
            <a:r>
              <a:rPr lang="nb-NO" noProof="0" dirty="0" err="1"/>
              <a:t>on</a:t>
            </a:r>
            <a:r>
              <a:rPr lang="nb-NO" noProof="0" dirty="0"/>
              <a:t> </a:t>
            </a:r>
            <a:r>
              <a:rPr lang="nb-NO" noProof="0" dirty="0" err="1"/>
              <a:t>the</a:t>
            </a:r>
            <a:r>
              <a:rPr lang="nb-NO" noProof="0" dirty="0"/>
              <a:t> slide master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6447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8031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1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58231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994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2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28998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D3309618-CC75-4177-8883-1C656B8EF5F0}"/>
              </a:ext>
            </a:extLst>
          </p:cNvPr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0">
                <a:srgbClr val="131313">
                  <a:alpha val="90000"/>
                </a:srgbClr>
              </a:gs>
              <a:gs pos="38000">
                <a:schemeClr val="tx1">
                  <a:lumMod val="85000"/>
                  <a:lumOff val="15000"/>
                  <a:alpha val="52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93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 dirty="0"/>
              <a:t>Undertittel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 dirty="0"/>
              <a:t>Tittel 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Ditt navn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153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7664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2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75934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437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2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89839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866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2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74474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7349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2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81381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4574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3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3006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7704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3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24055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351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3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74737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6305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3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53906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6641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4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40206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1682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442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7C4457B5-A8C3-46A7-868D-52171EF747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98264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17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genda/</a:t>
            </a:r>
            <a:r>
              <a:rPr lang="en-GB" dirty="0" err="1"/>
              <a:t>innhold</a:t>
            </a:r>
            <a:endParaRPr lang="en-GB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46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1191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4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5ABA2AAA-2D64-4286-AA8D-E8C4B33EF1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18929B-5A27-4738-A956-5210DE317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54032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2745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74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A05C525A-2558-46E8-80B5-941389990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39E13C7-429D-4FD8-8D51-1CD98F0746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30657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3395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5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2B4A1FD1-2F6F-4AF1-B710-F76E885B22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66FD42-E6CB-4E63-977B-EE506F961D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18606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6459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2D1E5417-BAA4-429E-95E5-698476B661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ED434F4-3F5A-4CC8-AF47-2D44BC94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12334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680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5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Cadre 17">
            <a:extLst>
              <a:ext uri="{FF2B5EF4-FFF2-40B4-BE49-F238E27FC236}">
                <a16:creationId xmlns:a16="http://schemas.microsoft.com/office/drawing/2014/main" id="{285449E9-76FD-41C4-AB0F-35C777B4B5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59EC62-365E-4C00-96A9-63E12DBFEC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642472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271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5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F5012EE-F70F-4DC9-B099-EE7C58FBE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8572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2077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6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61867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585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6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4E714486-5B7B-4F48-BEFC-281DDDE322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BCED95E-D46F-45DA-A8CA-82C0D5EC5C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23AE9234-7A03-47E3-B9FB-3011472759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2009744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6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6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7C69250-80AB-4E19-908E-FE1A9C259E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21F5727-3448-4D99-A3D4-D79C85230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63382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8474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6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05476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4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5398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2252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7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022914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3228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7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26490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0619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87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93AA855-02DB-4B05-8E81-A158AE9F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00132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8292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7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1B1BC3B-7D47-4411-98E0-572B5105AF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71444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7783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8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97741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4909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8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1F5493F3-3396-494C-B7AA-936DEA3472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A54449-0787-49BE-8221-6DC2BB765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3BCC29E8-FA01-420B-86AB-93C9CF30F36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031343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9070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8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BBDD52F3-BBB0-4B91-8EEB-208C077F83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5925EE1-CD2E-4A0E-9B4A-F4222DBCD6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65752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673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8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69985D8-FF27-401D-AE13-C8809DEE9C6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1E443905-DD6D-4529-8F0A-C4C0DAAF9F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32404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744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8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752D4BAC-73DB-4CB5-B77A-A9F7350DB6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6EDF6B-3086-43E5-A0E3-18E19E75A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07174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8655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9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B232E484-4563-4A71-9DDC-EE6C0E44D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40076C0-E4EA-4B32-8A67-B88BF86ECC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91912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6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844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467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69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78CCC-EDB7-4322-A715-598B7CD25A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56332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2825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9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090C5BD-4BCD-4A76-B315-2E94DF2794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07464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7262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89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69536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401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DEB3BC3E-E116-4E0A-97F3-66A29CB1DC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8438A79-7265-451F-8F84-EB08D57EE5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12599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104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0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</a:pPr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91035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362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0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noProof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Second level</a:t>
            </a:r>
          </a:p>
          <a:p>
            <a:pPr lvl="2"/>
            <a:r>
              <a:rPr lang="nb-NO" noProof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08654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277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0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1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0843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270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41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43970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8551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51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89332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32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61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79160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89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221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9784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71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52116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6660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82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55942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7082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92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47737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8206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2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70042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8682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2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0518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3581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3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44440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1943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3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BF7A0D0E-8184-4BA8-BEDC-8D6B253B3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919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2590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3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95FA30DA-C1C6-46AC-9495-9AC59758C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166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1970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3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CE5B38A0-F8CE-4105-8A52-31B103BD64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955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076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64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95420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text</a:t>
            </a:r>
            <a:r>
              <a:rPr lang="fr-FR" dirty="0"/>
              <a:t> of the slide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AA4E60BF-8266-4954-89D7-E523061AB5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664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059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A049C2FF-866E-4770-BF24-2A2A45738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5108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9382E897-FE3C-46CE-9ACE-BEA0D33725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26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CEA53D01-537F-435D-939E-B46D503CAC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3395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5076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1F327ED3-8F17-47CC-A13B-08AE8ED17B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333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EF680AAE-5E06-4510-A29A-EA1B5C3FC6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722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AFA2E4AD-7204-43D7-8512-89DC1D3D22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4945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623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slidE</a:t>
            </a:r>
            <a:endParaRPr lang="fr-FR" dirty="0"/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841212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1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570943" cy="1446550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1808820"/>
            <a:ext cx="7551996" cy="2123658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nb-NO" noProof="0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3" y="6031463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/>
              <a:t>Subtitle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6" y="6875869"/>
            <a:ext cx="360037" cy="4572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2594343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089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4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2796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3314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84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FF22C7FD-AB94-474F-A263-6F71CCCBC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582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1156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562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45479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3598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9474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989364"/>
      </p:ext>
    </p:extLst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1341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498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278664" y="2845969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52000"/>
              </a:prstClr>
            </a:outerShdw>
          </a:effectLst>
        </p:spPr>
      </p:pic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-9525"/>
            <a:ext cx="12192000" cy="6894909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325631"/>
      </p:ext>
    </p:extLst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6348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522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3322414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3141104" cy="1354217"/>
            <a:chOff x="794460" y="1664804"/>
            <a:chExt cx="3141104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T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A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  <p:sp>
          <p:nvSpPr>
            <p:cNvPr id="16" name="TextBox 12">
              <a:extLst>
                <a:ext uri="{FF2B5EF4-FFF2-40B4-BE49-F238E27FC236}">
                  <a16:creationId xmlns:a16="http://schemas.microsoft.com/office/drawing/2014/main" id="{2DF71DA4-98CD-454B-B3E1-EFAF31A3C87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21239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K</a:t>
              </a:r>
            </a:p>
          </p:txBody>
        </p:sp>
      </p:grp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8391881"/>
      </p:ext>
    </p:extLst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6045C8-54C0-4418-B8C0-3C6DC70FA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5B749-F855-4E96-8B52-6739412A101B}" type="datetimeFigureOut">
              <a:rPr lang="nb-NO" smtClean="0"/>
              <a:t>01.09.2020</a:t>
            </a:fld>
            <a:endParaRPr lang="nb-NO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10C7FD-F13B-4BDD-A845-443847899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91CAE7-8178-48E1-A5BC-400E60970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64CC03-275E-4516-905C-65BB718DBE74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3023888"/>
      </p:ext>
    </p:extLst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Colour fill - Title, Full Page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9865" y="489745"/>
            <a:ext cx="3950952" cy="86793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algn="l">
              <a:defRPr b="0"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black">
          <a:xfrm>
            <a:off x="514035" y="1578090"/>
            <a:ext cx="11163933" cy="428354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lnSpc>
                <a:spcPct val="110000"/>
              </a:lnSpc>
              <a:spcBef>
                <a:spcPts val="544"/>
              </a:spcBef>
              <a:spcAft>
                <a:spcPts val="544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2176"/>
              </a:spcBef>
              <a:spcAft>
                <a:spcPts val="0"/>
              </a:spcAft>
              <a:buClr>
                <a:srgbClr val="2F469C"/>
              </a:buClr>
              <a:buSzTx/>
              <a:buFontTx/>
              <a:buNone/>
              <a:tabLst/>
              <a:defRPr/>
            </a:pPr>
            <a:endParaRPr kumimoji="0" lang="en-GB" sz="181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663052" y="6711425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2503"/>
              </a:spcBef>
              <a:spcAft>
                <a:spcPts val="0"/>
              </a:spcAft>
              <a:buClr>
                <a:srgbClr val="2F469C"/>
              </a:buClr>
              <a:buSzTx/>
              <a:buFontTx/>
              <a:buNone/>
              <a:tabLst/>
              <a:defRPr/>
            </a:pPr>
            <a:fld id="{08492756-E806-4604-9C5F-A6997CE6540C}" type="slidenum">
              <a:rPr kumimoji="0" lang="en-GB" sz="816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2503"/>
                </a:spcBef>
                <a:spcAft>
                  <a:spcPts val="0"/>
                </a:spcAft>
                <a:buClr>
                  <a:srgbClr val="2F469C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GB" sz="816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  <p:pic>
        <p:nvPicPr>
          <p:cNvPr id="13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241997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4168099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3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2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2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43625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123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tement with image backgrou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2176"/>
              </a:spcBef>
              <a:spcAft>
                <a:spcPts val="0"/>
              </a:spcAft>
              <a:buClr>
                <a:srgbClr val="2F469C"/>
              </a:buClr>
              <a:buSzTx/>
              <a:buFontTx/>
              <a:buNone/>
              <a:tabLst/>
              <a:defRPr/>
            </a:pPr>
            <a:endParaRPr kumimoji="0" lang="en-GB" sz="181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62734" y="162705"/>
            <a:ext cx="11878055" cy="65311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5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place image (or select frame and copy/paste image into it)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09665" y="2188092"/>
            <a:ext cx="4495956" cy="614142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2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10317" y="2855201"/>
            <a:ext cx="4495956" cy="614142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3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10971" y="3522578"/>
            <a:ext cx="4495956" cy="614142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baseline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4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09013" y="1526769"/>
            <a:ext cx="4495956" cy="614142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Sentence line 1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663052" y="6711425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2503"/>
              </a:spcBef>
              <a:spcAft>
                <a:spcPts val="0"/>
              </a:spcAft>
              <a:buClr>
                <a:srgbClr val="2F469C"/>
              </a:buClr>
              <a:buSzTx/>
              <a:buFontTx/>
              <a:buNone/>
              <a:tabLst/>
              <a:defRPr/>
            </a:pPr>
            <a:fld id="{08492756-E806-4604-9C5F-A6997CE6540C}" type="slidenum">
              <a:rPr kumimoji="0" lang="en-GB" sz="816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2503"/>
                </a:spcBef>
                <a:spcAft>
                  <a:spcPts val="0"/>
                </a:spcAft>
                <a:buClr>
                  <a:srgbClr val="2F469C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GB" sz="816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5823661"/>
            <a:ext cx="445939" cy="359168"/>
          </a:xfrm>
          <a:prstGeom prst="rect">
            <a:avLst/>
          </a:prstGeom>
        </p:spPr>
      </p:pic>
      <p:pic>
        <p:nvPicPr>
          <p:cNvPr id="16" name="Picture 2" descr="C:\Users\Graphics Dude Ltd\Graphics Dude Ltd\Work\PC - IM - 150415A (template pt2)\Graphics\Tags\MarketingElectronic-Col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387" y="6003245"/>
            <a:ext cx="1459611" cy="20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ABE4403-49FB-4592-87D4-5C34EF076590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72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+mn-cs"/>
              </a:rPr>
              <a:t>Spisefakta 2018 | © 2018 Ipsos</a:t>
            </a: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A36F028F-F74F-45CD-AAC2-E9C4AF2ACE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0971" y="332733"/>
            <a:ext cx="645012" cy="1107996"/>
          </a:xfrm>
          <a:prstGeom prst="rect">
            <a:avLst/>
          </a:prstGeom>
          <a:noFill/>
        </p:spPr>
        <p:txBody>
          <a:bodyPr vert="horz" wrap="none" lIns="72000" tIns="0" rIns="72000" bIns="0" rtlCol="0" anchor="ctr">
            <a:no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7253" b="1" baseline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lvl="0">
              <a:spcBef>
                <a:spcPct val="0"/>
              </a:spcBef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211814"/>
      </p:ext>
    </p:extLst>
  </p:cSld>
  <p:clrMapOvr>
    <a:masterClrMapping/>
  </p:clrMapOvr>
  <p:transition>
    <p:fade/>
  </p:transition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945140-1FB6-43D7-94F2-2F02B0072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84BB0D-C66D-4C28-BA66-20CA4E1D16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E402C3-113D-4E84-B67B-D09D8D3CBA5D}" type="datetimeFigureOut">
              <a:rPr lang="nb-NO" smtClean="0"/>
              <a:t>01.09.2020</a:t>
            </a:fld>
            <a:endParaRPr lang="nb-NO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6F57EF-842F-427C-A670-5B7380F711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6A85A9-E91B-4CBD-95C6-9E7BF03BFA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67E312-94C6-4B49-A56B-E34D851F8FF9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80536994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5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9557" y="6409099"/>
            <a:ext cx="360037" cy="365125"/>
          </a:xfrm>
        </p:spPr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/>
              <a:t>Title of the slide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noProof="0"/>
              <a:t>Subtitle of the slide</a:t>
            </a: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6475335D-06EE-4F59-AE09-C32AAF1C98E2}"/>
              </a:ext>
            </a:extLst>
          </p:cNvPr>
          <p:cNvSpPr txBox="1"/>
          <p:nvPr userDrawn="1"/>
        </p:nvSpPr>
        <p:spPr>
          <a:xfrm>
            <a:off x="10507265" y="156176"/>
            <a:ext cx="15773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nb-NO" sz="14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Norsk Monitor</a:t>
            </a:r>
          </a:p>
          <a:p>
            <a:pPr algn="r"/>
            <a:r>
              <a:rPr lang="nb-NO" sz="140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2468266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2000" y="815054"/>
            <a:ext cx="5641072" cy="831125"/>
          </a:xfrm>
        </p:spPr>
        <p:txBody>
          <a:bodyPr anchor="t"/>
          <a:lstStyle>
            <a:lvl1pPr>
              <a:defRPr sz="2667" b="1" cap="none"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001" y="331098"/>
            <a:ext cx="8957556" cy="590215"/>
          </a:xfrm>
        </p:spPr>
        <p:txBody>
          <a:bodyPr anchor="b">
            <a:noAutofit/>
          </a:bodyPr>
          <a:lstStyle>
            <a:lvl1pPr marL="116414" indent="0">
              <a:buNone/>
              <a:defRPr sz="2533" b="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1797358"/>
      </p:ext>
    </p:extLst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9866" y="489745"/>
            <a:ext cx="6818745" cy="86793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6650465"/>
      </p:ext>
    </p:extLst>
  </p:cSld>
  <p:clrMapOvr>
    <a:masterClrMapping/>
  </p:clrMapOvr>
  <p:transition>
    <p:fade/>
  </p:transition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resentation - Cover -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1E8FE0F8-A7AF-4A8D-A267-73126E65CAC2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62734" y="162705"/>
            <a:ext cx="11878055" cy="65311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5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place image (or select frame and copy/paste image into it)</a:t>
            </a:r>
          </a:p>
        </p:txBody>
      </p:sp>
      <p:sp>
        <p:nvSpPr>
          <p:cNvPr id="11" name="Rectangle 6"/>
          <p:cNvSpPr/>
          <p:nvPr userDrawn="1"/>
        </p:nvSpPr>
        <p:spPr bwMode="gray">
          <a:xfrm>
            <a:off x="0" y="5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3439775" h="7561263">
                <a:moveTo>
                  <a:pt x="180000" y="180001"/>
                </a:moveTo>
                <a:lnTo>
                  <a:pt x="180000" y="7381263"/>
                </a:lnTo>
                <a:lnTo>
                  <a:pt x="13259775" y="7381263"/>
                </a:lnTo>
                <a:lnTo>
                  <a:pt x="13259775" y="180001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1"/>
                </a:lnTo>
                <a:lnTo>
                  <a:pt x="13259775" y="1"/>
                </a:lnTo>
                <a:lnTo>
                  <a:pt x="13259775" y="0"/>
                </a:lnTo>
                <a:lnTo>
                  <a:pt x="13439775" y="0"/>
                </a:lnTo>
                <a:lnTo>
                  <a:pt x="13439775" y="7381263"/>
                </a:lnTo>
                <a:lnTo>
                  <a:pt x="13439775" y="7561263"/>
                </a:lnTo>
                <a:lnTo>
                  <a:pt x="13259775" y="7561263"/>
                </a:lnTo>
                <a:lnTo>
                  <a:pt x="180000" y="7561263"/>
                </a:lnTo>
                <a:lnTo>
                  <a:pt x="90001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0607" tIns="65304" rIns="130607" bIns="65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endParaRPr lang="en-GB" sz="1813" dirty="0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9867" y="2943718"/>
            <a:ext cx="3639651" cy="468349"/>
          </a:xfrm>
          <a:prstGeom prst="rect">
            <a:avLst/>
          </a:prstGeom>
          <a:solidFill>
            <a:srgbClr val="000000"/>
          </a:solidFill>
        </p:spPr>
        <p:txBody>
          <a:bodyPr wrap="none" lIns="0" tIns="41410" rIns="0" bIns="41410" rtlCol="0" anchor="t">
            <a:spAutoFit/>
          </a:bodyPr>
          <a:lstStyle>
            <a:lvl1pPr marL="0" indent="0">
              <a:lnSpc>
                <a:spcPts val="3047"/>
              </a:lnSpc>
              <a:spcAft>
                <a:spcPts val="0"/>
              </a:spcAft>
              <a:buNone/>
              <a:defRPr lang="en-GB" sz="2540" b="1" dirty="0" smtClean="0">
                <a:solidFill>
                  <a:schemeClr val="bg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Click to edit subtit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89865" y="2158632"/>
            <a:ext cx="3814680" cy="614142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cap="all" baseline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Title line 2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489865" y="1482702"/>
            <a:ext cx="3814680" cy="614142"/>
          </a:xfrm>
          <a:prstGeom prst="rect">
            <a:avLst/>
          </a:prstGeom>
          <a:solidFill>
            <a:schemeClr val="accent3"/>
          </a:solidFill>
        </p:spPr>
        <p:txBody>
          <a:bodyPr wrap="none" lIns="72000" tIns="0" rIns="72000" bIns="0" rtlCol="0" anchor="ctr">
            <a:spAutoFit/>
          </a:bodyPr>
          <a:lstStyle>
            <a:lvl1pPr marL="0" indent="0" algn="l">
              <a:lnSpc>
                <a:spcPct val="100000"/>
              </a:lnSpc>
              <a:buFontTx/>
              <a:buNone/>
              <a:defRPr lang="en-US" sz="3991" b="0" cap="all" baseline="0" dirty="0" smtClean="0">
                <a:solidFill>
                  <a:schemeClr val="bg1"/>
                </a:solidFill>
                <a:latin typeface="+mj-lt"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spcBef>
                <a:spcPct val="0"/>
              </a:spcBef>
              <a:buNone/>
            </a:pPr>
            <a:r>
              <a:rPr lang="en-US" dirty="0"/>
              <a:t>Title line 1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663052" y="6711425"/>
            <a:ext cx="386521" cy="1273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fld id="{08492756-E806-4604-9C5F-A6997CE6540C}" type="slidenum">
              <a:rPr lang="en-GB" sz="816" smtClean="0">
                <a:solidFill>
                  <a:schemeClr val="tx1"/>
                </a:solidFill>
                <a:latin typeface="Segoe UI Light" panose="020B0502040204020203" pitchFamily="34" charset="0"/>
              </a:rPr>
              <a:pPr algn="r">
                <a:lnSpc>
                  <a:spcPct val="110000"/>
                </a:lnSpc>
                <a:spcBef>
                  <a:spcPts val="2503"/>
                </a:spcBef>
                <a:buClr>
                  <a:schemeClr val="bg2"/>
                </a:buClr>
              </a:pPr>
              <a:t>‹#›</a:t>
            </a:fld>
            <a:endParaRPr lang="en-GB" sz="816" dirty="0">
              <a:solidFill>
                <a:schemeClr val="tx1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573" y="6032000"/>
            <a:ext cx="445939" cy="35916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57674F0-7228-463A-B456-020DAFFCD045}"/>
              </a:ext>
            </a:extLst>
          </p:cNvPr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  <p:pic>
        <p:nvPicPr>
          <p:cNvPr id="20" name="Picture 19" descr="IPSOS_GAMECHANGERS_blue.png">
            <a:extLst>
              <a:ext uri="{FF2B5EF4-FFF2-40B4-BE49-F238E27FC236}">
                <a16:creationId xmlns:a16="http://schemas.microsoft.com/office/drawing/2014/main" id="{A65C61B2-9B4F-4093-ADA2-55F9FB1747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10" r="22774"/>
          <a:stretch/>
        </p:blipFill>
        <p:spPr>
          <a:xfrm>
            <a:off x="1003084" y="6127877"/>
            <a:ext cx="1452017" cy="291592"/>
          </a:xfrm>
          <a:prstGeom prst="rect">
            <a:avLst/>
          </a:prstGeom>
        </p:spPr>
      </p:pic>
      <p:sp>
        <p:nvSpPr>
          <p:cNvPr id="21" name="Footer Placeholder 10">
            <a:extLst>
              <a:ext uri="{FF2B5EF4-FFF2-40B4-BE49-F238E27FC236}">
                <a16:creationId xmlns:a16="http://schemas.microsoft.com/office/drawing/2014/main" id="{C24BEF5F-45E8-49DC-AB15-06D38B4843D3}"/>
              </a:ext>
            </a:extLst>
          </p:cNvPr>
          <p:cNvSpPr txBox="1">
            <a:spLocks/>
          </p:cNvSpPr>
          <p:nvPr userDrawn="1"/>
        </p:nvSpPr>
        <p:spPr>
          <a:xfrm>
            <a:off x="10066225" y="6171885"/>
            <a:ext cx="1959319" cy="5259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51802" rtl="0" eaLnBrk="1" latinLnBrk="0" hangingPunct="1">
              <a:defRPr sz="1000" kern="1200">
                <a:solidFill>
                  <a:schemeClr val="accent4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259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704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606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507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408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310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211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3891"/>
            <a:r>
              <a:rPr lang="en-US" sz="635" dirty="0">
                <a:solidFill>
                  <a:prstClr val="white"/>
                </a:solidFill>
                <a:latin typeface="Segoe UI"/>
              </a:rPr>
              <a:t>© 2018 Ipsos.  All rights reserved. Contains Ipsos' Confidential and Proprietary information and may not be disclosed or reproduced without the prior written consent of Ipsos</a:t>
            </a:r>
            <a:r>
              <a:rPr lang="en-US" sz="816" dirty="0">
                <a:solidFill>
                  <a:prstClr val="white"/>
                </a:solidFill>
                <a:latin typeface="Segoe UI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31128108"/>
      </p:ext>
    </p:extLst>
  </p:cSld>
  <p:clrMapOvr>
    <a:masterClrMapping/>
  </p:clrMapOvr>
  <p:transition>
    <p:fade/>
  </p:transition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2000" y="815054"/>
            <a:ext cx="5641072" cy="369397"/>
          </a:xfrm>
        </p:spPr>
        <p:txBody>
          <a:bodyPr anchor="t"/>
          <a:lstStyle>
            <a:lvl1pPr>
              <a:defRPr sz="2667" b="1" cap="none"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001" y="331098"/>
            <a:ext cx="8957556" cy="590215"/>
          </a:xfrm>
        </p:spPr>
        <p:txBody>
          <a:bodyPr anchor="b">
            <a:noAutofit/>
          </a:bodyPr>
          <a:lstStyle>
            <a:lvl1pPr marL="116414" indent="0">
              <a:buNone/>
              <a:defRPr sz="2533" b="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8646868"/>
      </p:ext>
    </p:extLst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516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5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/>
              <a:t>tittel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Undertittel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39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09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6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4786" y="1357678"/>
            <a:ext cx="2090814" cy="353943"/>
          </a:xfrm>
          <a:prstGeom prst="rect">
            <a:avLst/>
          </a:prstGeom>
          <a:noFill/>
        </p:spPr>
        <p:txBody>
          <a:bodyPr wrap="squar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nb-NO" noProof="0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606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D3309618-CC75-4177-8883-1C656B8EF5F0}"/>
              </a:ext>
            </a:extLst>
          </p:cNvPr>
          <p:cNvSpPr/>
          <p:nvPr userDrawn="1"/>
        </p:nvSpPr>
        <p:spPr>
          <a:xfrm>
            <a:off x="119336" y="116632"/>
            <a:ext cx="11953328" cy="6624736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1000">
                <a:srgbClr val="131313">
                  <a:alpha val="55000"/>
                </a:srgbClr>
              </a:gs>
              <a:gs pos="38000">
                <a:schemeClr val="tx1">
                  <a:lumMod val="85000"/>
                  <a:lumOff val="15000"/>
                  <a:alpha val="16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3528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642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noProof="0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 dirty="0"/>
              <a:t>Undertittel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484794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nb-NO" noProof="0" smtClean="0"/>
              <a:t>2020.09.01</a:t>
            </a:fld>
            <a:endParaRPr lang="nb-NO" noProof="0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noProof="0" dirty="0"/>
              <a:t>Tittel 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1120550" cy="400110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Ditt navn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330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6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387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9961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7666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Agenda/</a:t>
            </a:r>
            <a:r>
              <a:rPr lang="en-GB" dirty="0" err="1"/>
              <a:t>innhold</a:t>
            </a:r>
            <a:endParaRPr lang="en-GB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91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5155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86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2879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3379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97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5585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947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38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127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0" y="2101"/>
            <a:ext cx="11998725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56000"/>
                </a:schemeClr>
              </a:gs>
              <a:gs pos="67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text</a:t>
            </a:r>
            <a:r>
              <a:rPr lang="fr-FR" dirty="0"/>
              <a:t> of the slide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AA4E60BF-8266-4954-89D7-E523061AB5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92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7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570943" cy="1446550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1808820"/>
            <a:ext cx="7551996" cy="2123658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nb-NO" noProof="0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3" y="6031463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/>
              <a:t>Subtitle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6" y="6875869"/>
            <a:ext cx="360037" cy="4572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838073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2695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7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03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9240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8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012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6540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8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C0ED4626-A3F3-4EB6-B615-E33DF81FC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86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846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58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982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slideLayout" Target="../slideLayouts/slideLayout76.xml"/><Relationship Id="rId84" Type="http://schemas.openxmlformats.org/officeDocument/2006/relationships/slideLayout" Target="../slideLayouts/slideLayout84.xml"/><Relationship Id="rId89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87" Type="http://schemas.openxmlformats.org/officeDocument/2006/relationships/slideLayout" Target="../slideLayouts/slideLayout87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90" Type="http://schemas.openxmlformats.org/officeDocument/2006/relationships/vmlDrawing" Target="../drawings/vmlDrawing1.vml"/><Relationship Id="rId95" Type="http://schemas.openxmlformats.org/officeDocument/2006/relationships/image" Target="../media/image2.png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9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tags" Target="../tags/tag1.xml"/><Relationship Id="rId96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34.xml"/><Relationship Id="rId21" Type="http://schemas.openxmlformats.org/officeDocument/2006/relationships/slideLayout" Target="../slideLayouts/slideLayout729.xml"/><Relationship Id="rId34" Type="http://schemas.openxmlformats.org/officeDocument/2006/relationships/slideLayout" Target="../slideLayouts/slideLayout742.xml"/><Relationship Id="rId42" Type="http://schemas.openxmlformats.org/officeDocument/2006/relationships/slideLayout" Target="../slideLayouts/slideLayout750.xml"/><Relationship Id="rId47" Type="http://schemas.openxmlformats.org/officeDocument/2006/relationships/slideLayout" Target="../slideLayouts/slideLayout755.xml"/><Relationship Id="rId50" Type="http://schemas.openxmlformats.org/officeDocument/2006/relationships/slideLayout" Target="../slideLayouts/slideLayout758.xml"/><Relationship Id="rId55" Type="http://schemas.openxmlformats.org/officeDocument/2006/relationships/slideLayout" Target="../slideLayouts/slideLayout763.xml"/><Relationship Id="rId63" Type="http://schemas.openxmlformats.org/officeDocument/2006/relationships/slideLayout" Target="../slideLayouts/slideLayout771.xml"/><Relationship Id="rId68" Type="http://schemas.openxmlformats.org/officeDocument/2006/relationships/slideLayout" Target="../slideLayouts/slideLayout776.xml"/><Relationship Id="rId76" Type="http://schemas.openxmlformats.org/officeDocument/2006/relationships/slideLayout" Target="../slideLayouts/slideLayout784.xml"/><Relationship Id="rId84" Type="http://schemas.openxmlformats.org/officeDocument/2006/relationships/slideLayout" Target="../slideLayouts/slideLayout792.xml"/><Relationship Id="rId89" Type="http://schemas.openxmlformats.org/officeDocument/2006/relationships/slideLayout" Target="../slideLayouts/slideLayout797.xml"/><Relationship Id="rId97" Type="http://schemas.openxmlformats.org/officeDocument/2006/relationships/image" Target="../media/image2.png"/><Relationship Id="rId7" Type="http://schemas.openxmlformats.org/officeDocument/2006/relationships/slideLayout" Target="../slideLayouts/slideLayout715.xml"/><Relationship Id="rId71" Type="http://schemas.openxmlformats.org/officeDocument/2006/relationships/slideLayout" Target="../slideLayouts/slideLayout779.xml"/><Relationship Id="rId92" Type="http://schemas.openxmlformats.org/officeDocument/2006/relationships/vmlDrawing" Target="../drawings/vmlDrawing450.vml"/><Relationship Id="rId2" Type="http://schemas.openxmlformats.org/officeDocument/2006/relationships/slideLayout" Target="../slideLayouts/slideLayout710.xml"/><Relationship Id="rId16" Type="http://schemas.openxmlformats.org/officeDocument/2006/relationships/slideLayout" Target="../slideLayouts/slideLayout724.xml"/><Relationship Id="rId29" Type="http://schemas.openxmlformats.org/officeDocument/2006/relationships/slideLayout" Target="../slideLayouts/slideLayout737.xml"/><Relationship Id="rId11" Type="http://schemas.openxmlformats.org/officeDocument/2006/relationships/slideLayout" Target="../slideLayouts/slideLayout719.xml"/><Relationship Id="rId24" Type="http://schemas.openxmlformats.org/officeDocument/2006/relationships/slideLayout" Target="../slideLayouts/slideLayout732.xml"/><Relationship Id="rId32" Type="http://schemas.openxmlformats.org/officeDocument/2006/relationships/slideLayout" Target="../slideLayouts/slideLayout740.xml"/><Relationship Id="rId37" Type="http://schemas.openxmlformats.org/officeDocument/2006/relationships/slideLayout" Target="../slideLayouts/slideLayout745.xml"/><Relationship Id="rId40" Type="http://schemas.openxmlformats.org/officeDocument/2006/relationships/slideLayout" Target="../slideLayouts/slideLayout748.xml"/><Relationship Id="rId45" Type="http://schemas.openxmlformats.org/officeDocument/2006/relationships/slideLayout" Target="../slideLayouts/slideLayout753.xml"/><Relationship Id="rId53" Type="http://schemas.openxmlformats.org/officeDocument/2006/relationships/slideLayout" Target="../slideLayouts/slideLayout761.xml"/><Relationship Id="rId58" Type="http://schemas.openxmlformats.org/officeDocument/2006/relationships/slideLayout" Target="../slideLayouts/slideLayout766.xml"/><Relationship Id="rId66" Type="http://schemas.openxmlformats.org/officeDocument/2006/relationships/slideLayout" Target="../slideLayouts/slideLayout774.xml"/><Relationship Id="rId74" Type="http://schemas.openxmlformats.org/officeDocument/2006/relationships/slideLayout" Target="../slideLayouts/slideLayout782.xml"/><Relationship Id="rId79" Type="http://schemas.openxmlformats.org/officeDocument/2006/relationships/slideLayout" Target="../slideLayouts/slideLayout787.xml"/><Relationship Id="rId87" Type="http://schemas.openxmlformats.org/officeDocument/2006/relationships/slideLayout" Target="../slideLayouts/slideLayout795.xml"/><Relationship Id="rId5" Type="http://schemas.openxmlformats.org/officeDocument/2006/relationships/slideLayout" Target="../slideLayouts/slideLayout713.xml"/><Relationship Id="rId61" Type="http://schemas.openxmlformats.org/officeDocument/2006/relationships/slideLayout" Target="../slideLayouts/slideLayout769.xml"/><Relationship Id="rId82" Type="http://schemas.openxmlformats.org/officeDocument/2006/relationships/slideLayout" Target="../slideLayouts/slideLayout790.xml"/><Relationship Id="rId90" Type="http://schemas.openxmlformats.org/officeDocument/2006/relationships/slideLayout" Target="../slideLayouts/slideLayout798.xml"/><Relationship Id="rId95" Type="http://schemas.openxmlformats.org/officeDocument/2006/relationships/oleObject" Target="../embeddings/oleObject127.bin"/><Relationship Id="rId19" Type="http://schemas.openxmlformats.org/officeDocument/2006/relationships/slideLayout" Target="../slideLayouts/slideLayout727.xml"/><Relationship Id="rId14" Type="http://schemas.openxmlformats.org/officeDocument/2006/relationships/slideLayout" Target="../slideLayouts/slideLayout722.xml"/><Relationship Id="rId22" Type="http://schemas.openxmlformats.org/officeDocument/2006/relationships/slideLayout" Target="../slideLayouts/slideLayout730.xml"/><Relationship Id="rId27" Type="http://schemas.openxmlformats.org/officeDocument/2006/relationships/slideLayout" Target="../slideLayouts/slideLayout735.xml"/><Relationship Id="rId30" Type="http://schemas.openxmlformats.org/officeDocument/2006/relationships/slideLayout" Target="../slideLayouts/slideLayout738.xml"/><Relationship Id="rId35" Type="http://schemas.openxmlformats.org/officeDocument/2006/relationships/slideLayout" Target="../slideLayouts/slideLayout743.xml"/><Relationship Id="rId43" Type="http://schemas.openxmlformats.org/officeDocument/2006/relationships/slideLayout" Target="../slideLayouts/slideLayout751.xml"/><Relationship Id="rId48" Type="http://schemas.openxmlformats.org/officeDocument/2006/relationships/slideLayout" Target="../slideLayouts/slideLayout756.xml"/><Relationship Id="rId56" Type="http://schemas.openxmlformats.org/officeDocument/2006/relationships/slideLayout" Target="../slideLayouts/slideLayout764.xml"/><Relationship Id="rId64" Type="http://schemas.openxmlformats.org/officeDocument/2006/relationships/slideLayout" Target="../slideLayouts/slideLayout772.xml"/><Relationship Id="rId69" Type="http://schemas.openxmlformats.org/officeDocument/2006/relationships/slideLayout" Target="../slideLayouts/slideLayout777.xml"/><Relationship Id="rId77" Type="http://schemas.openxmlformats.org/officeDocument/2006/relationships/slideLayout" Target="../slideLayouts/slideLayout785.xml"/><Relationship Id="rId8" Type="http://schemas.openxmlformats.org/officeDocument/2006/relationships/slideLayout" Target="../slideLayouts/slideLayout716.xml"/><Relationship Id="rId51" Type="http://schemas.openxmlformats.org/officeDocument/2006/relationships/slideLayout" Target="../slideLayouts/slideLayout759.xml"/><Relationship Id="rId72" Type="http://schemas.openxmlformats.org/officeDocument/2006/relationships/slideLayout" Target="../slideLayouts/slideLayout780.xml"/><Relationship Id="rId80" Type="http://schemas.openxmlformats.org/officeDocument/2006/relationships/slideLayout" Target="../slideLayouts/slideLayout788.xml"/><Relationship Id="rId85" Type="http://schemas.openxmlformats.org/officeDocument/2006/relationships/slideLayout" Target="../slideLayouts/slideLayout793.xml"/><Relationship Id="rId93" Type="http://schemas.openxmlformats.org/officeDocument/2006/relationships/tags" Target="../tags/tag875.xml"/><Relationship Id="rId98" Type="http://schemas.openxmlformats.org/officeDocument/2006/relationships/image" Target="../media/image3.emf"/><Relationship Id="rId3" Type="http://schemas.openxmlformats.org/officeDocument/2006/relationships/slideLayout" Target="../slideLayouts/slideLayout711.xml"/><Relationship Id="rId12" Type="http://schemas.openxmlformats.org/officeDocument/2006/relationships/slideLayout" Target="../slideLayouts/slideLayout720.xml"/><Relationship Id="rId17" Type="http://schemas.openxmlformats.org/officeDocument/2006/relationships/slideLayout" Target="../slideLayouts/slideLayout725.xml"/><Relationship Id="rId25" Type="http://schemas.openxmlformats.org/officeDocument/2006/relationships/slideLayout" Target="../slideLayouts/slideLayout733.xml"/><Relationship Id="rId33" Type="http://schemas.openxmlformats.org/officeDocument/2006/relationships/slideLayout" Target="../slideLayouts/slideLayout741.xml"/><Relationship Id="rId38" Type="http://schemas.openxmlformats.org/officeDocument/2006/relationships/slideLayout" Target="../slideLayouts/slideLayout746.xml"/><Relationship Id="rId46" Type="http://schemas.openxmlformats.org/officeDocument/2006/relationships/slideLayout" Target="../slideLayouts/slideLayout754.xml"/><Relationship Id="rId59" Type="http://schemas.openxmlformats.org/officeDocument/2006/relationships/slideLayout" Target="../slideLayouts/slideLayout767.xml"/><Relationship Id="rId67" Type="http://schemas.openxmlformats.org/officeDocument/2006/relationships/slideLayout" Target="../slideLayouts/slideLayout775.xml"/><Relationship Id="rId20" Type="http://schemas.openxmlformats.org/officeDocument/2006/relationships/slideLayout" Target="../slideLayouts/slideLayout728.xml"/><Relationship Id="rId41" Type="http://schemas.openxmlformats.org/officeDocument/2006/relationships/slideLayout" Target="../slideLayouts/slideLayout749.xml"/><Relationship Id="rId54" Type="http://schemas.openxmlformats.org/officeDocument/2006/relationships/slideLayout" Target="../slideLayouts/slideLayout762.xml"/><Relationship Id="rId62" Type="http://schemas.openxmlformats.org/officeDocument/2006/relationships/slideLayout" Target="../slideLayouts/slideLayout770.xml"/><Relationship Id="rId70" Type="http://schemas.openxmlformats.org/officeDocument/2006/relationships/slideLayout" Target="../slideLayouts/slideLayout778.xml"/><Relationship Id="rId75" Type="http://schemas.openxmlformats.org/officeDocument/2006/relationships/slideLayout" Target="../slideLayouts/slideLayout783.xml"/><Relationship Id="rId83" Type="http://schemas.openxmlformats.org/officeDocument/2006/relationships/slideLayout" Target="../slideLayouts/slideLayout791.xml"/><Relationship Id="rId88" Type="http://schemas.openxmlformats.org/officeDocument/2006/relationships/slideLayout" Target="../slideLayouts/slideLayout796.xml"/><Relationship Id="rId91" Type="http://schemas.openxmlformats.org/officeDocument/2006/relationships/theme" Target="../theme/theme10.xml"/><Relationship Id="rId96" Type="http://schemas.openxmlformats.org/officeDocument/2006/relationships/image" Target="../media/image1.emf"/><Relationship Id="rId1" Type="http://schemas.openxmlformats.org/officeDocument/2006/relationships/slideLayout" Target="../slideLayouts/slideLayout709.xml"/><Relationship Id="rId6" Type="http://schemas.openxmlformats.org/officeDocument/2006/relationships/slideLayout" Target="../slideLayouts/slideLayout714.xml"/><Relationship Id="rId15" Type="http://schemas.openxmlformats.org/officeDocument/2006/relationships/slideLayout" Target="../slideLayouts/slideLayout723.xml"/><Relationship Id="rId23" Type="http://schemas.openxmlformats.org/officeDocument/2006/relationships/slideLayout" Target="../slideLayouts/slideLayout731.xml"/><Relationship Id="rId28" Type="http://schemas.openxmlformats.org/officeDocument/2006/relationships/slideLayout" Target="../slideLayouts/slideLayout736.xml"/><Relationship Id="rId36" Type="http://schemas.openxmlformats.org/officeDocument/2006/relationships/slideLayout" Target="../slideLayouts/slideLayout744.xml"/><Relationship Id="rId49" Type="http://schemas.openxmlformats.org/officeDocument/2006/relationships/slideLayout" Target="../slideLayouts/slideLayout757.xml"/><Relationship Id="rId57" Type="http://schemas.openxmlformats.org/officeDocument/2006/relationships/slideLayout" Target="../slideLayouts/slideLayout765.xml"/><Relationship Id="rId10" Type="http://schemas.openxmlformats.org/officeDocument/2006/relationships/slideLayout" Target="../slideLayouts/slideLayout718.xml"/><Relationship Id="rId31" Type="http://schemas.openxmlformats.org/officeDocument/2006/relationships/slideLayout" Target="../slideLayouts/slideLayout739.xml"/><Relationship Id="rId44" Type="http://schemas.openxmlformats.org/officeDocument/2006/relationships/slideLayout" Target="../slideLayouts/slideLayout752.xml"/><Relationship Id="rId52" Type="http://schemas.openxmlformats.org/officeDocument/2006/relationships/slideLayout" Target="../slideLayouts/slideLayout760.xml"/><Relationship Id="rId60" Type="http://schemas.openxmlformats.org/officeDocument/2006/relationships/slideLayout" Target="../slideLayouts/slideLayout768.xml"/><Relationship Id="rId65" Type="http://schemas.openxmlformats.org/officeDocument/2006/relationships/slideLayout" Target="../slideLayouts/slideLayout773.xml"/><Relationship Id="rId73" Type="http://schemas.openxmlformats.org/officeDocument/2006/relationships/slideLayout" Target="../slideLayouts/slideLayout781.xml"/><Relationship Id="rId78" Type="http://schemas.openxmlformats.org/officeDocument/2006/relationships/slideLayout" Target="../slideLayouts/slideLayout786.xml"/><Relationship Id="rId81" Type="http://schemas.openxmlformats.org/officeDocument/2006/relationships/slideLayout" Target="../slideLayouts/slideLayout789.xml"/><Relationship Id="rId86" Type="http://schemas.openxmlformats.org/officeDocument/2006/relationships/slideLayout" Target="../slideLayouts/slideLayout794.xml"/><Relationship Id="rId94" Type="http://schemas.openxmlformats.org/officeDocument/2006/relationships/tags" Target="../tags/tag876.xml"/><Relationship Id="rId4" Type="http://schemas.openxmlformats.org/officeDocument/2006/relationships/slideLayout" Target="../slideLayouts/slideLayout712.xml"/><Relationship Id="rId9" Type="http://schemas.openxmlformats.org/officeDocument/2006/relationships/slideLayout" Target="../slideLayouts/slideLayout717.xml"/><Relationship Id="rId13" Type="http://schemas.openxmlformats.org/officeDocument/2006/relationships/slideLayout" Target="../slideLayouts/slideLayout721.xml"/><Relationship Id="rId18" Type="http://schemas.openxmlformats.org/officeDocument/2006/relationships/slideLayout" Target="../slideLayouts/slideLayout726.xml"/><Relationship Id="rId39" Type="http://schemas.openxmlformats.org/officeDocument/2006/relationships/slideLayout" Target="../slideLayouts/slideLayout747.xml"/></Relationships>
</file>

<file path=ppt/slideMasters/_rels/slideMaster1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24.xml"/><Relationship Id="rId21" Type="http://schemas.openxmlformats.org/officeDocument/2006/relationships/slideLayout" Target="../slideLayouts/slideLayout819.xml"/><Relationship Id="rId34" Type="http://schemas.openxmlformats.org/officeDocument/2006/relationships/slideLayout" Target="../slideLayouts/slideLayout832.xml"/><Relationship Id="rId42" Type="http://schemas.openxmlformats.org/officeDocument/2006/relationships/slideLayout" Target="../slideLayouts/slideLayout840.xml"/><Relationship Id="rId47" Type="http://schemas.openxmlformats.org/officeDocument/2006/relationships/slideLayout" Target="../slideLayouts/slideLayout845.xml"/><Relationship Id="rId50" Type="http://schemas.openxmlformats.org/officeDocument/2006/relationships/slideLayout" Target="../slideLayouts/slideLayout848.xml"/><Relationship Id="rId55" Type="http://schemas.openxmlformats.org/officeDocument/2006/relationships/slideLayout" Target="../slideLayouts/slideLayout853.xml"/><Relationship Id="rId63" Type="http://schemas.openxmlformats.org/officeDocument/2006/relationships/slideLayout" Target="../slideLayouts/slideLayout861.xml"/><Relationship Id="rId68" Type="http://schemas.openxmlformats.org/officeDocument/2006/relationships/slideLayout" Target="../slideLayouts/slideLayout866.xml"/><Relationship Id="rId76" Type="http://schemas.openxmlformats.org/officeDocument/2006/relationships/slideLayout" Target="../slideLayouts/slideLayout874.xml"/><Relationship Id="rId84" Type="http://schemas.openxmlformats.org/officeDocument/2006/relationships/slideLayout" Target="../slideLayouts/slideLayout882.xml"/><Relationship Id="rId89" Type="http://schemas.openxmlformats.org/officeDocument/2006/relationships/slideLayout" Target="../slideLayouts/slideLayout887.xml"/><Relationship Id="rId97" Type="http://schemas.openxmlformats.org/officeDocument/2006/relationships/oleObject" Target="../embeddings/oleObject29.bin"/><Relationship Id="rId7" Type="http://schemas.openxmlformats.org/officeDocument/2006/relationships/slideLayout" Target="../slideLayouts/slideLayout805.xml"/><Relationship Id="rId71" Type="http://schemas.openxmlformats.org/officeDocument/2006/relationships/slideLayout" Target="../slideLayouts/slideLayout869.xml"/><Relationship Id="rId92" Type="http://schemas.openxmlformats.org/officeDocument/2006/relationships/slideLayout" Target="../slideLayouts/slideLayout890.xml"/><Relationship Id="rId2" Type="http://schemas.openxmlformats.org/officeDocument/2006/relationships/slideLayout" Target="../slideLayouts/slideLayout800.xml"/><Relationship Id="rId16" Type="http://schemas.openxmlformats.org/officeDocument/2006/relationships/slideLayout" Target="../slideLayouts/slideLayout814.xml"/><Relationship Id="rId29" Type="http://schemas.openxmlformats.org/officeDocument/2006/relationships/slideLayout" Target="../slideLayouts/slideLayout827.xml"/><Relationship Id="rId11" Type="http://schemas.openxmlformats.org/officeDocument/2006/relationships/slideLayout" Target="../slideLayouts/slideLayout809.xml"/><Relationship Id="rId24" Type="http://schemas.openxmlformats.org/officeDocument/2006/relationships/slideLayout" Target="../slideLayouts/slideLayout822.xml"/><Relationship Id="rId32" Type="http://schemas.openxmlformats.org/officeDocument/2006/relationships/slideLayout" Target="../slideLayouts/slideLayout830.xml"/><Relationship Id="rId37" Type="http://schemas.openxmlformats.org/officeDocument/2006/relationships/slideLayout" Target="../slideLayouts/slideLayout835.xml"/><Relationship Id="rId40" Type="http://schemas.openxmlformats.org/officeDocument/2006/relationships/slideLayout" Target="../slideLayouts/slideLayout838.xml"/><Relationship Id="rId45" Type="http://schemas.openxmlformats.org/officeDocument/2006/relationships/slideLayout" Target="../slideLayouts/slideLayout843.xml"/><Relationship Id="rId53" Type="http://schemas.openxmlformats.org/officeDocument/2006/relationships/slideLayout" Target="../slideLayouts/slideLayout851.xml"/><Relationship Id="rId58" Type="http://schemas.openxmlformats.org/officeDocument/2006/relationships/slideLayout" Target="../slideLayouts/slideLayout856.xml"/><Relationship Id="rId66" Type="http://schemas.openxmlformats.org/officeDocument/2006/relationships/slideLayout" Target="../slideLayouts/slideLayout864.xml"/><Relationship Id="rId74" Type="http://schemas.openxmlformats.org/officeDocument/2006/relationships/slideLayout" Target="../slideLayouts/slideLayout872.xml"/><Relationship Id="rId79" Type="http://schemas.openxmlformats.org/officeDocument/2006/relationships/slideLayout" Target="../slideLayouts/slideLayout877.xml"/><Relationship Id="rId87" Type="http://schemas.openxmlformats.org/officeDocument/2006/relationships/slideLayout" Target="../slideLayouts/slideLayout885.xml"/><Relationship Id="rId5" Type="http://schemas.openxmlformats.org/officeDocument/2006/relationships/slideLayout" Target="../slideLayouts/slideLayout803.xml"/><Relationship Id="rId61" Type="http://schemas.openxmlformats.org/officeDocument/2006/relationships/slideLayout" Target="../slideLayouts/slideLayout859.xml"/><Relationship Id="rId82" Type="http://schemas.openxmlformats.org/officeDocument/2006/relationships/slideLayout" Target="../slideLayouts/slideLayout880.xml"/><Relationship Id="rId90" Type="http://schemas.openxmlformats.org/officeDocument/2006/relationships/slideLayout" Target="../slideLayouts/slideLayout888.xml"/><Relationship Id="rId95" Type="http://schemas.openxmlformats.org/officeDocument/2006/relationships/tags" Target="../tags/tag1019.xml"/><Relationship Id="rId19" Type="http://schemas.openxmlformats.org/officeDocument/2006/relationships/slideLayout" Target="../slideLayouts/slideLayout817.xml"/><Relationship Id="rId14" Type="http://schemas.openxmlformats.org/officeDocument/2006/relationships/slideLayout" Target="../slideLayouts/slideLayout812.xml"/><Relationship Id="rId22" Type="http://schemas.openxmlformats.org/officeDocument/2006/relationships/slideLayout" Target="../slideLayouts/slideLayout820.xml"/><Relationship Id="rId27" Type="http://schemas.openxmlformats.org/officeDocument/2006/relationships/slideLayout" Target="../slideLayouts/slideLayout825.xml"/><Relationship Id="rId30" Type="http://schemas.openxmlformats.org/officeDocument/2006/relationships/slideLayout" Target="../slideLayouts/slideLayout828.xml"/><Relationship Id="rId35" Type="http://schemas.openxmlformats.org/officeDocument/2006/relationships/slideLayout" Target="../slideLayouts/slideLayout833.xml"/><Relationship Id="rId43" Type="http://schemas.openxmlformats.org/officeDocument/2006/relationships/slideLayout" Target="../slideLayouts/slideLayout841.xml"/><Relationship Id="rId48" Type="http://schemas.openxmlformats.org/officeDocument/2006/relationships/slideLayout" Target="../slideLayouts/slideLayout846.xml"/><Relationship Id="rId56" Type="http://schemas.openxmlformats.org/officeDocument/2006/relationships/slideLayout" Target="../slideLayouts/slideLayout854.xml"/><Relationship Id="rId64" Type="http://schemas.openxmlformats.org/officeDocument/2006/relationships/slideLayout" Target="../slideLayouts/slideLayout862.xml"/><Relationship Id="rId69" Type="http://schemas.openxmlformats.org/officeDocument/2006/relationships/slideLayout" Target="../slideLayouts/slideLayout867.xml"/><Relationship Id="rId77" Type="http://schemas.openxmlformats.org/officeDocument/2006/relationships/slideLayout" Target="../slideLayouts/slideLayout875.xml"/><Relationship Id="rId100" Type="http://schemas.openxmlformats.org/officeDocument/2006/relationships/image" Target="../media/image3.emf"/><Relationship Id="rId8" Type="http://schemas.openxmlformats.org/officeDocument/2006/relationships/slideLayout" Target="../slideLayouts/slideLayout806.xml"/><Relationship Id="rId51" Type="http://schemas.openxmlformats.org/officeDocument/2006/relationships/slideLayout" Target="../slideLayouts/slideLayout849.xml"/><Relationship Id="rId72" Type="http://schemas.openxmlformats.org/officeDocument/2006/relationships/slideLayout" Target="../slideLayouts/slideLayout870.xml"/><Relationship Id="rId80" Type="http://schemas.openxmlformats.org/officeDocument/2006/relationships/slideLayout" Target="../slideLayouts/slideLayout878.xml"/><Relationship Id="rId85" Type="http://schemas.openxmlformats.org/officeDocument/2006/relationships/slideLayout" Target="../slideLayouts/slideLayout883.xml"/><Relationship Id="rId93" Type="http://schemas.openxmlformats.org/officeDocument/2006/relationships/theme" Target="../theme/theme11.xml"/><Relationship Id="rId98" Type="http://schemas.openxmlformats.org/officeDocument/2006/relationships/image" Target="../media/image1.emf"/><Relationship Id="rId3" Type="http://schemas.openxmlformats.org/officeDocument/2006/relationships/slideLayout" Target="../slideLayouts/slideLayout801.xml"/><Relationship Id="rId12" Type="http://schemas.openxmlformats.org/officeDocument/2006/relationships/slideLayout" Target="../slideLayouts/slideLayout810.xml"/><Relationship Id="rId17" Type="http://schemas.openxmlformats.org/officeDocument/2006/relationships/slideLayout" Target="../slideLayouts/slideLayout815.xml"/><Relationship Id="rId25" Type="http://schemas.openxmlformats.org/officeDocument/2006/relationships/slideLayout" Target="../slideLayouts/slideLayout823.xml"/><Relationship Id="rId33" Type="http://schemas.openxmlformats.org/officeDocument/2006/relationships/slideLayout" Target="../slideLayouts/slideLayout831.xml"/><Relationship Id="rId38" Type="http://schemas.openxmlformats.org/officeDocument/2006/relationships/slideLayout" Target="../slideLayouts/slideLayout836.xml"/><Relationship Id="rId46" Type="http://schemas.openxmlformats.org/officeDocument/2006/relationships/slideLayout" Target="../slideLayouts/slideLayout844.xml"/><Relationship Id="rId59" Type="http://schemas.openxmlformats.org/officeDocument/2006/relationships/slideLayout" Target="../slideLayouts/slideLayout857.xml"/><Relationship Id="rId67" Type="http://schemas.openxmlformats.org/officeDocument/2006/relationships/slideLayout" Target="../slideLayouts/slideLayout865.xml"/><Relationship Id="rId20" Type="http://schemas.openxmlformats.org/officeDocument/2006/relationships/slideLayout" Target="../slideLayouts/slideLayout818.xml"/><Relationship Id="rId41" Type="http://schemas.openxmlformats.org/officeDocument/2006/relationships/slideLayout" Target="../slideLayouts/slideLayout839.xml"/><Relationship Id="rId54" Type="http://schemas.openxmlformats.org/officeDocument/2006/relationships/slideLayout" Target="../slideLayouts/slideLayout852.xml"/><Relationship Id="rId62" Type="http://schemas.openxmlformats.org/officeDocument/2006/relationships/slideLayout" Target="../slideLayouts/slideLayout860.xml"/><Relationship Id="rId70" Type="http://schemas.openxmlformats.org/officeDocument/2006/relationships/slideLayout" Target="../slideLayouts/slideLayout868.xml"/><Relationship Id="rId75" Type="http://schemas.openxmlformats.org/officeDocument/2006/relationships/slideLayout" Target="../slideLayouts/slideLayout873.xml"/><Relationship Id="rId83" Type="http://schemas.openxmlformats.org/officeDocument/2006/relationships/slideLayout" Target="../slideLayouts/slideLayout881.xml"/><Relationship Id="rId88" Type="http://schemas.openxmlformats.org/officeDocument/2006/relationships/slideLayout" Target="../slideLayouts/slideLayout886.xml"/><Relationship Id="rId91" Type="http://schemas.openxmlformats.org/officeDocument/2006/relationships/slideLayout" Target="../slideLayouts/slideLayout889.xml"/><Relationship Id="rId96" Type="http://schemas.openxmlformats.org/officeDocument/2006/relationships/tags" Target="../tags/tag1020.xml"/><Relationship Id="rId1" Type="http://schemas.openxmlformats.org/officeDocument/2006/relationships/slideLayout" Target="../slideLayouts/slideLayout799.xml"/><Relationship Id="rId6" Type="http://schemas.openxmlformats.org/officeDocument/2006/relationships/slideLayout" Target="../slideLayouts/slideLayout804.xml"/><Relationship Id="rId15" Type="http://schemas.openxmlformats.org/officeDocument/2006/relationships/slideLayout" Target="../slideLayouts/slideLayout813.xml"/><Relationship Id="rId23" Type="http://schemas.openxmlformats.org/officeDocument/2006/relationships/slideLayout" Target="../slideLayouts/slideLayout821.xml"/><Relationship Id="rId28" Type="http://schemas.openxmlformats.org/officeDocument/2006/relationships/slideLayout" Target="../slideLayouts/slideLayout826.xml"/><Relationship Id="rId36" Type="http://schemas.openxmlformats.org/officeDocument/2006/relationships/slideLayout" Target="../slideLayouts/slideLayout834.xml"/><Relationship Id="rId49" Type="http://schemas.openxmlformats.org/officeDocument/2006/relationships/slideLayout" Target="../slideLayouts/slideLayout847.xml"/><Relationship Id="rId57" Type="http://schemas.openxmlformats.org/officeDocument/2006/relationships/slideLayout" Target="../slideLayouts/slideLayout855.xml"/><Relationship Id="rId10" Type="http://schemas.openxmlformats.org/officeDocument/2006/relationships/slideLayout" Target="../slideLayouts/slideLayout808.xml"/><Relationship Id="rId31" Type="http://schemas.openxmlformats.org/officeDocument/2006/relationships/slideLayout" Target="../slideLayouts/slideLayout829.xml"/><Relationship Id="rId44" Type="http://schemas.openxmlformats.org/officeDocument/2006/relationships/slideLayout" Target="../slideLayouts/slideLayout842.xml"/><Relationship Id="rId52" Type="http://schemas.openxmlformats.org/officeDocument/2006/relationships/slideLayout" Target="../slideLayouts/slideLayout850.xml"/><Relationship Id="rId60" Type="http://schemas.openxmlformats.org/officeDocument/2006/relationships/slideLayout" Target="../slideLayouts/slideLayout858.xml"/><Relationship Id="rId65" Type="http://schemas.openxmlformats.org/officeDocument/2006/relationships/slideLayout" Target="../slideLayouts/slideLayout863.xml"/><Relationship Id="rId73" Type="http://schemas.openxmlformats.org/officeDocument/2006/relationships/slideLayout" Target="../slideLayouts/slideLayout871.xml"/><Relationship Id="rId78" Type="http://schemas.openxmlformats.org/officeDocument/2006/relationships/slideLayout" Target="../slideLayouts/slideLayout876.xml"/><Relationship Id="rId81" Type="http://schemas.openxmlformats.org/officeDocument/2006/relationships/slideLayout" Target="../slideLayouts/slideLayout879.xml"/><Relationship Id="rId86" Type="http://schemas.openxmlformats.org/officeDocument/2006/relationships/slideLayout" Target="../slideLayouts/slideLayout884.xml"/><Relationship Id="rId94" Type="http://schemas.openxmlformats.org/officeDocument/2006/relationships/vmlDrawing" Target="../drawings/vmlDrawing524.vml"/><Relationship Id="rId99" Type="http://schemas.openxmlformats.org/officeDocument/2006/relationships/image" Target="../media/image2.png"/><Relationship Id="rId4" Type="http://schemas.openxmlformats.org/officeDocument/2006/relationships/slideLayout" Target="../slideLayouts/slideLayout802.xml"/><Relationship Id="rId9" Type="http://schemas.openxmlformats.org/officeDocument/2006/relationships/slideLayout" Target="../slideLayouts/slideLayout807.xml"/><Relationship Id="rId13" Type="http://schemas.openxmlformats.org/officeDocument/2006/relationships/slideLayout" Target="../slideLayouts/slideLayout811.xml"/><Relationship Id="rId18" Type="http://schemas.openxmlformats.org/officeDocument/2006/relationships/slideLayout" Target="../slideLayouts/slideLayout816.xml"/><Relationship Id="rId39" Type="http://schemas.openxmlformats.org/officeDocument/2006/relationships/slideLayout" Target="../slideLayouts/slideLayout837.xml"/></Relationships>
</file>

<file path=ppt/slideMasters/_rels/slideMaster1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16.xml"/><Relationship Id="rId21" Type="http://schemas.openxmlformats.org/officeDocument/2006/relationships/slideLayout" Target="../slideLayouts/slideLayout911.xml"/><Relationship Id="rId42" Type="http://schemas.openxmlformats.org/officeDocument/2006/relationships/slideLayout" Target="../slideLayouts/slideLayout932.xml"/><Relationship Id="rId47" Type="http://schemas.openxmlformats.org/officeDocument/2006/relationships/slideLayout" Target="../slideLayouts/slideLayout937.xml"/><Relationship Id="rId63" Type="http://schemas.openxmlformats.org/officeDocument/2006/relationships/slideLayout" Target="../slideLayouts/slideLayout953.xml"/><Relationship Id="rId68" Type="http://schemas.openxmlformats.org/officeDocument/2006/relationships/slideLayout" Target="../slideLayouts/slideLayout958.xml"/><Relationship Id="rId84" Type="http://schemas.openxmlformats.org/officeDocument/2006/relationships/slideLayout" Target="../slideLayouts/slideLayout974.xml"/><Relationship Id="rId89" Type="http://schemas.openxmlformats.org/officeDocument/2006/relationships/slideLayout" Target="../slideLayouts/slideLayout979.xml"/><Relationship Id="rId7" Type="http://schemas.openxmlformats.org/officeDocument/2006/relationships/slideLayout" Target="../slideLayouts/slideLayout897.xml"/><Relationship Id="rId71" Type="http://schemas.openxmlformats.org/officeDocument/2006/relationships/slideLayout" Target="../slideLayouts/slideLayout961.xml"/><Relationship Id="rId92" Type="http://schemas.openxmlformats.org/officeDocument/2006/relationships/slideLayout" Target="../slideLayouts/slideLayout982.xml"/><Relationship Id="rId2" Type="http://schemas.openxmlformats.org/officeDocument/2006/relationships/slideLayout" Target="../slideLayouts/slideLayout892.xml"/><Relationship Id="rId16" Type="http://schemas.openxmlformats.org/officeDocument/2006/relationships/slideLayout" Target="../slideLayouts/slideLayout906.xml"/><Relationship Id="rId29" Type="http://schemas.openxmlformats.org/officeDocument/2006/relationships/slideLayout" Target="../slideLayouts/slideLayout919.xml"/><Relationship Id="rId11" Type="http://schemas.openxmlformats.org/officeDocument/2006/relationships/slideLayout" Target="../slideLayouts/slideLayout901.xml"/><Relationship Id="rId24" Type="http://schemas.openxmlformats.org/officeDocument/2006/relationships/slideLayout" Target="../slideLayouts/slideLayout914.xml"/><Relationship Id="rId32" Type="http://schemas.openxmlformats.org/officeDocument/2006/relationships/slideLayout" Target="../slideLayouts/slideLayout922.xml"/><Relationship Id="rId37" Type="http://schemas.openxmlformats.org/officeDocument/2006/relationships/slideLayout" Target="../slideLayouts/slideLayout927.xml"/><Relationship Id="rId40" Type="http://schemas.openxmlformats.org/officeDocument/2006/relationships/slideLayout" Target="../slideLayouts/slideLayout930.xml"/><Relationship Id="rId45" Type="http://schemas.openxmlformats.org/officeDocument/2006/relationships/slideLayout" Target="../slideLayouts/slideLayout935.xml"/><Relationship Id="rId53" Type="http://schemas.openxmlformats.org/officeDocument/2006/relationships/slideLayout" Target="../slideLayouts/slideLayout943.xml"/><Relationship Id="rId58" Type="http://schemas.openxmlformats.org/officeDocument/2006/relationships/slideLayout" Target="../slideLayouts/slideLayout948.xml"/><Relationship Id="rId66" Type="http://schemas.openxmlformats.org/officeDocument/2006/relationships/slideLayout" Target="../slideLayouts/slideLayout956.xml"/><Relationship Id="rId74" Type="http://schemas.openxmlformats.org/officeDocument/2006/relationships/slideLayout" Target="../slideLayouts/slideLayout964.xml"/><Relationship Id="rId79" Type="http://schemas.openxmlformats.org/officeDocument/2006/relationships/slideLayout" Target="../slideLayouts/slideLayout969.xml"/><Relationship Id="rId87" Type="http://schemas.openxmlformats.org/officeDocument/2006/relationships/slideLayout" Target="../slideLayouts/slideLayout977.xml"/><Relationship Id="rId102" Type="http://schemas.openxmlformats.org/officeDocument/2006/relationships/image" Target="../media/image1.emf"/><Relationship Id="rId5" Type="http://schemas.openxmlformats.org/officeDocument/2006/relationships/slideLayout" Target="../slideLayouts/slideLayout895.xml"/><Relationship Id="rId61" Type="http://schemas.openxmlformats.org/officeDocument/2006/relationships/slideLayout" Target="../slideLayouts/slideLayout951.xml"/><Relationship Id="rId82" Type="http://schemas.openxmlformats.org/officeDocument/2006/relationships/slideLayout" Target="../slideLayouts/slideLayout972.xml"/><Relationship Id="rId90" Type="http://schemas.openxmlformats.org/officeDocument/2006/relationships/slideLayout" Target="../slideLayouts/slideLayout980.xml"/><Relationship Id="rId95" Type="http://schemas.openxmlformats.org/officeDocument/2006/relationships/slideLayout" Target="../slideLayouts/slideLayout985.xml"/><Relationship Id="rId19" Type="http://schemas.openxmlformats.org/officeDocument/2006/relationships/slideLayout" Target="../slideLayouts/slideLayout909.xml"/><Relationship Id="rId14" Type="http://schemas.openxmlformats.org/officeDocument/2006/relationships/slideLayout" Target="../slideLayouts/slideLayout904.xml"/><Relationship Id="rId22" Type="http://schemas.openxmlformats.org/officeDocument/2006/relationships/slideLayout" Target="../slideLayouts/slideLayout912.xml"/><Relationship Id="rId27" Type="http://schemas.openxmlformats.org/officeDocument/2006/relationships/slideLayout" Target="../slideLayouts/slideLayout917.xml"/><Relationship Id="rId30" Type="http://schemas.openxmlformats.org/officeDocument/2006/relationships/slideLayout" Target="../slideLayouts/slideLayout920.xml"/><Relationship Id="rId35" Type="http://schemas.openxmlformats.org/officeDocument/2006/relationships/slideLayout" Target="../slideLayouts/slideLayout925.xml"/><Relationship Id="rId43" Type="http://schemas.openxmlformats.org/officeDocument/2006/relationships/slideLayout" Target="../slideLayouts/slideLayout933.xml"/><Relationship Id="rId48" Type="http://schemas.openxmlformats.org/officeDocument/2006/relationships/slideLayout" Target="../slideLayouts/slideLayout938.xml"/><Relationship Id="rId56" Type="http://schemas.openxmlformats.org/officeDocument/2006/relationships/slideLayout" Target="../slideLayouts/slideLayout946.xml"/><Relationship Id="rId64" Type="http://schemas.openxmlformats.org/officeDocument/2006/relationships/slideLayout" Target="../slideLayouts/slideLayout954.xml"/><Relationship Id="rId69" Type="http://schemas.openxmlformats.org/officeDocument/2006/relationships/slideLayout" Target="../slideLayouts/slideLayout959.xml"/><Relationship Id="rId77" Type="http://schemas.openxmlformats.org/officeDocument/2006/relationships/slideLayout" Target="../slideLayouts/slideLayout967.xml"/><Relationship Id="rId100" Type="http://schemas.openxmlformats.org/officeDocument/2006/relationships/tags" Target="../tags/tag1164.xml"/><Relationship Id="rId8" Type="http://schemas.openxmlformats.org/officeDocument/2006/relationships/slideLayout" Target="../slideLayouts/slideLayout898.xml"/><Relationship Id="rId51" Type="http://schemas.openxmlformats.org/officeDocument/2006/relationships/slideLayout" Target="../slideLayouts/slideLayout941.xml"/><Relationship Id="rId72" Type="http://schemas.openxmlformats.org/officeDocument/2006/relationships/slideLayout" Target="../slideLayouts/slideLayout962.xml"/><Relationship Id="rId80" Type="http://schemas.openxmlformats.org/officeDocument/2006/relationships/slideLayout" Target="../slideLayouts/slideLayout970.xml"/><Relationship Id="rId85" Type="http://schemas.openxmlformats.org/officeDocument/2006/relationships/slideLayout" Target="../slideLayouts/slideLayout975.xml"/><Relationship Id="rId93" Type="http://schemas.openxmlformats.org/officeDocument/2006/relationships/slideLayout" Target="../slideLayouts/slideLayout983.xml"/><Relationship Id="rId98" Type="http://schemas.openxmlformats.org/officeDocument/2006/relationships/vmlDrawing" Target="../drawings/vmlDrawing598.vml"/><Relationship Id="rId3" Type="http://schemas.openxmlformats.org/officeDocument/2006/relationships/slideLayout" Target="../slideLayouts/slideLayout893.xml"/><Relationship Id="rId12" Type="http://schemas.openxmlformats.org/officeDocument/2006/relationships/slideLayout" Target="../slideLayouts/slideLayout902.xml"/><Relationship Id="rId17" Type="http://schemas.openxmlformats.org/officeDocument/2006/relationships/slideLayout" Target="../slideLayouts/slideLayout907.xml"/><Relationship Id="rId25" Type="http://schemas.openxmlformats.org/officeDocument/2006/relationships/slideLayout" Target="../slideLayouts/slideLayout915.xml"/><Relationship Id="rId33" Type="http://schemas.openxmlformats.org/officeDocument/2006/relationships/slideLayout" Target="../slideLayouts/slideLayout923.xml"/><Relationship Id="rId38" Type="http://schemas.openxmlformats.org/officeDocument/2006/relationships/slideLayout" Target="../slideLayouts/slideLayout928.xml"/><Relationship Id="rId46" Type="http://schemas.openxmlformats.org/officeDocument/2006/relationships/slideLayout" Target="../slideLayouts/slideLayout936.xml"/><Relationship Id="rId59" Type="http://schemas.openxmlformats.org/officeDocument/2006/relationships/slideLayout" Target="../slideLayouts/slideLayout949.xml"/><Relationship Id="rId67" Type="http://schemas.openxmlformats.org/officeDocument/2006/relationships/slideLayout" Target="../slideLayouts/slideLayout957.xml"/><Relationship Id="rId103" Type="http://schemas.openxmlformats.org/officeDocument/2006/relationships/image" Target="../media/image2.png"/><Relationship Id="rId20" Type="http://schemas.openxmlformats.org/officeDocument/2006/relationships/slideLayout" Target="../slideLayouts/slideLayout910.xml"/><Relationship Id="rId41" Type="http://schemas.openxmlformats.org/officeDocument/2006/relationships/slideLayout" Target="../slideLayouts/slideLayout931.xml"/><Relationship Id="rId54" Type="http://schemas.openxmlformats.org/officeDocument/2006/relationships/slideLayout" Target="../slideLayouts/slideLayout944.xml"/><Relationship Id="rId62" Type="http://schemas.openxmlformats.org/officeDocument/2006/relationships/slideLayout" Target="../slideLayouts/slideLayout952.xml"/><Relationship Id="rId70" Type="http://schemas.openxmlformats.org/officeDocument/2006/relationships/slideLayout" Target="../slideLayouts/slideLayout960.xml"/><Relationship Id="rId75" Type="http://schemas.openxmlformats.org/officeDocument/2006/relationships/slideLayout" Target="../slideLayouts/slideLayout965.xml"/><Relationship Id="rId83" Type="http://schemas.openxmlformats.org/officeDocument/2006/relationships/slideLayout" Target="../slideLayouts/slideLayout973.xml"/><Relationship Id="rId88" Type="http://schemas.openxmlformats.org/officeDocument/2006/relationships/slideLayout" Target="../slideLayouts/slideLayout978.xml"/><Relationship Id="rId91" Type="http://schemas.openxmlformats.org/officeDocument/2006/relationships/slideLayout" Target="../slideLayouts/slideLayout981.xml"/><Relationship Id="rId96" Type="http://schemas.openxmlformats.org/officeDocument/2006/relationships/slideLayout" Target="../slideLayouts/slideLayout986.xml"/><Relationship Id="rId1" Type="http://schemas.openxmlformats.org/officeDocument/2006/relationships/slideLayout" Target="../slideLayouts/slideLayout891.xml"/><Relationship Id="rId6" Type="http://schemas.openxmlformats.org/officeDocument/2006/relationships/slideLayout" Target="../slideLayouts/slideLayout896.xml"/><Relationship Id="rId15" Type="http://schemas.openxmlformats.org/officeDocument/2006/relationships/slideLayout" Target="../slideLayouts/slideLayout905.xml"/><Relationship Id="rId23" Type="http://schemas.openxmlformats.org/officeDocument/2006/relationships/slideLayout" Target="../slideLayouts/slideLayout913.xml"/><Relationship Id="rId28" Type="http://schemas.openxmlformats.org/officeDocument/2006/relationships/slideLayout" Target="../slideLayouts/slideLayout918.xml"/><Relationship Id="rId36" Type="http://schemas.openxmlformats.org/officeDocument/2006/relationships/slideLayout" Target="../slideLayouts/slideLayout926.xml"/><Relationship Id="rId49" Type="http://schemas.openxmlformats.org/officeDocument/2006/relationships/slideLayout" Target="../slideLayouts/slideLayout939.xml"/><Relationship Id="rId57" Type="http://schemas.openxmlformats.org/officeDocument/2006/relationships/slideLayout" Target="../slideLayouts/slideLayout947.xml"/><Relationship Id="rId10" Type="http://schemas.openxmlformats.org/officeDocument/2006/relationships/slideLayout" Target="../slideLayouts/slideLayout900.xml"/><Relationship Id="rId31" Type="http://schemas.openxmlformats.org/officeDocument/2006/relationships/slideLayout" Target="../slideLayouts/slideLayout921.xml"/><Relationship Id="rId44" Type="http://schemas.openxmlformats.org/officeDocument/2006/relationships/slideLayout" Target="../slideLayouts/slideLayout934.xml"/><Relationship Id="rId52" Type="http://schemas.openxmlformats.org/officeDocument/2006/relationships/slideLayout" Target="../slideLayouts/slideLayout942.xml"/><Relationship Id="rId60" Type="http://schemas.openxmlformats.org/officeDocument/2006/relationships/slideLayout" Target="../slideLayouts/slideLayout950.xml"/><Relationship Id="rId65" Type="http://schemas.openxmlformats.org/officeDocument/2006/relationships/slideLayout" Target="../slideLayouts/slideLayout955.xml"/><Relationship Id="rId73" Type="http://schemas.openxmlformats.org/officeDocument/2006/relationships/slideLayout" Target="../slideLayouts/slideLayout963.xml"/><Relationship Id="rId78" Type="http://schemas.openxmlformats.org/officeDocument/2006/relationships/slideLayout" Target="../slideLayouts/slideLayout968.xml"/><Relationship Id="rId81" Type="http://schemas.openxmlformats.org/officeDocument/2006/relationships/slideLayout" Target="../slideLayouts/slideLayout971.xml"/><Relationship Id="rId86" Type="http://schemas.openxmlformats.org/officeDocument/2006/relationships/slideLayout" Target="../slideLayouts/slideLayout976.xml"/><Relationship Id="rId94" Type="http://schemas.openxmlformats.org/officeDocument/2006/relationships/slideLayout" Target="../slideLayouts/slideLayout984.xml"/><Relationship Id="rId99" Type="http://schemas.openxmlformats.org/officeDocument/2006/relationships/tags" Target="../tags/tag1163.xml"/><Relationship Id="rId101" Type="http://schemas.openxmlformats.org/officeDocument/2006/relationships/oleObject" Target="../embeddings/oleObject139.bin"/><Relationship Id="rId4" Type="http://schemas.openxmlformats.org/officeDocument/2006/relationships/slideLayout" Target="../slideLayouts/slideLayout894.xml"/><Relationship Id="rId9" Type="http://schemas.openxmlformats.org/officeDocument/2006/relationships/slideLayout" Target="../slideLayouts/slideLayout899.xml"/><Relationship Id="rId13" Type="http://schemas.openxmlformats.org/officeDocument/2006/relationships/slideLayout" Target="../slideLayouts/slideLayout903.xml"/><Relationship Id="rId18" Type="http://schemas.openxmlformats.org/officeDocument/2006/relationships/slideLayout" Target="../slideLayouts/slideLayout908.xml"/><Relationship Id="rId39" Type="http://schemas.openxmlformats.org/officeDocument/2006/relationships/slideLayout" Target="../slideLayouts/slideLayout929.xml"/><Relationship Id="rId34" Type="http://schemas.openxmlformats.org/officeDocument/2006/relationships/slideLayout" Target="../slideLayouts/slideLayout924.xml"/><Relationship Id="rId50" Type="http://schemas.openxmlformats.org/officeDocument/2006/relationships/slideLayout" Target="../slideLayouts/slideLayout940.xml"/><Relationship Id="rId55" Type="http://schemas.openxmlformats.org/officeDocument/2006/relationships/slideLayout" Target="../slideLayouts/slideLayout945.xml"/><Relationship Id="rId76" Type="http://schemas.openxmlformats.org/officeDocument/2006/relationships/slideLayout" Target="../slideLayouts/slideLayout966.xml"/><Relationship Id="rId97" Type="http://schemas.openxmlformats.org/officeDocument/2006/relationships/theme" Target="../theme/theme12.xml"/><Relationship Id="rId104" Type="http://schemas.openxmlformats.org/officeDocument/2006/relationships/image" Target="../media/image3.emf"/></Relationships>
</file>

<file path=ppt/slideMasters/_rels/slideMaster1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12.xml"/><Relationship Id="rId21" Type="http://schemas.openxmlformats.org/officeDocument/2006/relationships/slideLayout" Target="../slideLayouts/slideLayout1007.xml"/><Relationship Id="rId34" Type="http://schemas.openxmlformats.org/officeDocument/2006/relationships/slideLayout" Target="../slideLayouts/slideLayout1020.xml"/><Relationship Id="rId42" Type="http://schemas.openxmlformats.org/officeDocument/2006/relationships/slideLayout" Target="../slideLayouts/slideLayout1028.xml"/><Relationship Id="rId47" Type="http://schemas.openxmlformats.org/officeDocument/2006/relationships/slideLayout" Target="../slideLayouts/slideLayout1033.xml"/><Relationship Id="rId50" Type="http://schemas.openxmlformats.org/officeDocument/2006/relationships/slideLayout" Target="../slideLayouts/slideLayout1036.xml"/><Relationship Id="rId55" Type="http://schemas.openxmlformats.org/officeDocument/2006/relationships/slideLayout" Target="../slideLayouts/slideLayout1041.xml"/><Relationship Id="rId63" Type="http://schemas.openxmlformats.org/officeDocument/2006/relationships/slideLayout" Target="../slideLayouts/slideLayout1049.xml"/><Relationship Id="rId68" Type="http://schemas.openxmlformats.org/officeDocument/2006/relationships/slideLayout" Target="../slideLayouts/slideLayout1054.xml"/><Relationship Id="rId76" Type="http://schemas.openxmlformats.org/officeDocument/2006/relationships/slideLayout" Target="../slideLayouts/slideLayout1062.xml"/><Relationship Id="rId84" Type="http://schemas.openxmlformats.org/officeDocument/2006/relationships/slideLayout" Target="../slideLayouts/slideLayout1070.xml"/><Relationship Id="rId89" Type="http://schemas.openxmlformats.org/officeDocument/2006/relationships/slideLayout" Target="../slideLayouts/slideLayout1075.xml"/><Relationship Id="rId97" Type="http://schemas.openxmlformats.org/officeDocument/2006/relationships/oleObject" Target="../embeddings/oleObject29.bin"/><Relationship Id="rId7" Type="http://schemas.openxmlformats.org/officeDocument/2006/relationships/slideLayout" Target="../slideLayouts/slideLayout993.xml"/><Relationship Id="rId71" Type="http://schemas.openxmlformats.org/officeDocument/2006/relationships/slideLayout" Target="../slideLayouts/slideLayout1057.xml"/><Relationship Id="rId92" Type="http://schemas.openxmlformats.org/officeDocument/2006/relationships/slideLayout" Target="../slideLayouts/slideLayout1078.xml"/><Relationship Id="rId2" Type="http://schemas.openxmlformats.org/officeDocument/2006/relationships/slideLayout" Target="../slideLayouts/slideLayout988.xml"/><Relationship Id="rId16" Type="http://schemas.openxmlformats.org/officeDocument/2006/relationships/slideLayout" Target="../slideLayouts/slideLayout1002.xml"/><Relationship Id="rId29" Type="http://schemas.openxmlformats.org/officeDocument/2006/relationships/slideLayout" Target="../slideLayouts/slideLayout1015.xml"/><Relationship Id="rId11" Type="http://schemas.openxmlformats.org/officeDocument/2006/relationships/slideLayout" Target="../slideLayouts/slideLayout997.xml"/><Relationship Id="rId24" Type="http://schemas.openxmlformats.org/officeDocument/2006/relationships/slideLayout" Target="../slideLayouts/slideLayout1010.xml"/><Relationship Id="rId32" Type="http://schemas.openxmlformats.org/officeDocument/2006/relationships/slideLayout" Target="../slideLayouts/slideLayout1018.xml"/><Relationship Id="rId37" Type="http://schemas.openxmlformats.org/officeDocument/2006/relationships/slideLayout" Target="../slideLayouts/slideLayout1023.xml"/><Relationship Id="rId40" Type="http://schemas.openxmlformats.org/officeDocument/2006/relationships/slideLayout" Target="../slideLayouts/slideLayout1026.xml"/><Relationship Id="rId45" Type="http://schemas.openxmlformats.org/officeDocument/2006/relationships/slideLayout" Target="../slideLayouts/slideLayout1031.xml"/><Relationship Id="rId53" Type="http://schemas.openxmlformats.org/officeDocument/2006/relationships/slideLayout" Target="../slideLayouts/slideLayout1039.xml"/><Relationship Id="rId58" Type="http://schemas.openxmlformats.org/officeDocument/2006/relationships/slideLayout" Target="../slideLayouts/slideLayout1044.xml"/><Relationship Id="rId66" Type="http://schemas.openxmlformats.org/officeDocument/2006/relationships/slideLayout" Target="../slideLayouts/slideLayout1052.xml"/><Relationship Id="rId74" Type="http://schemas.openxmlformats.org/officeDocument/2006/relationships/slideLayout" Target="../slideLayouts/slideLayout1060.xml"/><Relationship Id="rId79" Type="http://schemas.openxmlformats.org/officeDocument/2006/relationships/slideLayout" Target="../slideLayouts/slideLayout1065.xml"/><Relationship Id="rId87" Type="http://schemas.openxmlformats.org/officeDocument/2006/relationships/slideLayout" Target="../slideLayouts/slideLayout1073.xml"/><Relationship Id="rId5" Type="http://schemas.openxmlformats.org/officeDocument/2006/relationships/slideLayout" Target="../slideLayouts/slideLayout991.xml"/><Relationship Id="rId61" Type="http://schemas.openxmlformats.org/officeDocument/2006/relationships/slideLayout" Target="../slideLayouts/slideLayout1047.xml"/><Relationship Id="rId82" Type="http://schemas.openxmlformats.org/officeDocument/2006/relationships/slideLayout" Target="../slideLayouts/slideLayout1068.xml"/><Relationship Id="rId90" Type="http://schemas.openxmlformats.org/officeDocument/2006/relationships/slideLayout" Target="../slideLayouts/slideLayout1076.xml"/><Relationship Id="rId95" Type="http://schemas.openxmlformats.org/officeDocument/2006/relationships/tags" Target="../tags/tag1309.xml"/><Relationship Id="rId19" Type="http://schemas.openxmlformats.org/officeDocument/2006/relationships/slideLayout" Target="../slideLayouts/slideLayout1005.xml"/><Relationship Id="rId14" Type="http://schemas.openxmlformats.org/officeDocument/2006/relationships/slideLayout" Target="../slideLayouts/slideLayout1000.xml"/><Relationship Id="rId22" Type="http://schemas.openxmlformats.org/officeDocument/2006/relationships/slideLayout" Target="../slideLayouts/slideLayout1008.xml"/><Relationship Id="rId27" Type="http://schemas.openxmlformats.org/officeDocument/2006/relationships/slideLayout" Target="../slideLayouts/slideLayout1013.xml"/><Relationship Id="rId30" Type="http://schemas.openxmlformats.org/officeDocument/2006/relationships/slideLayout" Target="../slideLayouts/slideLayout1016.xml"/><Relationship Id="rId35" Type="http://schemas.openxmlformats.org/officeDocument/2006/relationships/slideLayout" Target="../slideLayouts/slideLayout1021.xml"/><Relationship Id="rId43" Type="http://schemas.openxmlformats.org/officeDocument/2006/relationships/slideLayout" Target="../slideLayouts/slideLayout1029.xml"/><Relationship Id="rId48" Type="http://schemas.openxmlformats.org/officeDocument/2006/relationships/slideLayout" Target="../slideLayouts/slideLayout1034.xml"/><Relationship Id="rId56" Type="http://schemas.openxmlformats.org/officeDocument/2006/relationships/slideLayout" Target="../slideLayouts/slideLayout1042.xml"/><Relationship Id="rId64" Type="http://schemas.openxmlformats.org/officeDocument/2006/relationships/slideLayout" Target="../slideLayouts/slideLayout1050.xml"/><Relationship Id="rId69" Type="http://schemas.openxmlformats.org/officeDocument/2006/relationships/slideLayout" Target="../slideLayouts/slideLayout1055.xml"/><Relationship Id="rId77" Type="http://schemas.openxmlformats.org/officeDocument/2006/relationships/slideLayout" Target="../slideLayouts/slideLayout1063.xml"/><Relationship Id="rId100" Type="http://schemas.openxmlformats.org/officeDocument/2006/relationships/image" Target="../media/image3.emf"/><Relationship Id="rId8" Type="http://schemas.openxmlformats.org/officeDocument/2006/relationships/slideLayout" Target="../slideLayouts/slideLayout994.xml"/><Relationship Id="rId51" Type="http://schemas.openxmlformats.org/officeDocument/2006/relationships/slideLayout" Target="../slideLayouts/slideLayout1037.xml"/><Relationship Id="rId72" Type="http://schemas.openxmlformats.org/officeDocument/2006/relationships/slideLayout" Target="../slideLayouts/slideLayout1058.xml"/><Relationship Id="rId80" Type="http://schemas.openxmlformats.org/officeDocument/2006/relationships/slideLayout" Target="../slideLayouts/slideLayout1066.xml"/><Relationship Id="rId85" Type="http://schemas.openxmlformats.org/officeDocument/2006/relationships/slideLayout" Target="../slideLayouts/slideLayout1071.xml"/><Relationship Id="rId93" Type="http://schemas.openxmlformats.org/officeDocument/2006/relationships/theme" Target="../theme/theme13.xml"/><Relationship Id="rId98" Type="http://schemas.openxmlformats.org/officeDocument/2006/relationships/image" Target="../media/image1.emf"/><Relationship Id="rId3" Type="http://schemas.openxmlformats.org/officeDocument/2006/relationships/slideLayout" Target="../slideLayouts/slideLayout989.xml"/><Relationship Id="rId12" Type="http://schemas.openxmlformats.org/officeDocument/2006/relationships/slideLayout" Target="../slideLayouts/slideLayout998.xml"/><Relationship Id="rId17" Type="http://schemas.openxmlformats.org/officeDocument/2006/relationships/slideLayout" Target="../slideLayouts/slideLayout1003.xml"/><Relationship Id="rId25" Type="http://schemas.openxmlformats.org/officeDocument/2006/relationships/slideLayout" Target="../slideLayouts/slideLayout1011.xml"/><Relationship Id="rId33" Type="http://schemas.openxmlformats.org/officeDocument/2006/relationships/slideLayout" Target="../slideLayouts/slideLayout1019.xml"/><Relationship Id="rId38" Type="http://schemas.openxmlformats.org/officeDocument/2006/relationships/slideLayout" Target="../slideLayouts/slideLayout1024.xml"/><Relationship Id="rId46" Type="http://schemas.openxmlformats.org/officeDocument/2006/relationships/slideLayout" Target="../slideLayouts/slideLayout1032.xml"/><Relationship Id="rId59" Type="http://schemas.openxmlformats.org/officeDocument/2006/relationships/slideLayout" Target="../slideLayouts/slideLayout1045.xml"/><Relationship Id="rId67" Type="http://schemas.openxmlformats.org/officeDocument/2006/relationships/slideLayout" Target="../slideLayouts/slideLayout1053.xml"/><Relationship Id="rId20" Type="http://schemas.openxmlformats.org/officeDocument/2006/relationships/slideLayout" Target="../slideLayouts/slideLayout1006.xml"/><Relationship Id="rId41" Type="http://schemas.openxmlformats.org/officeDocument/2006/relationships/slideLayout" Target="../slideLayouts/slideLayout1027.xml"/><Relationship Id="rId54" Type="http://schemas.openxmlformats.org/officeDocument/2006/relationships/slideLayout" Target="../slideLayouts/slideLayout1040.xml"/><Relationship Id="rId62" Type="http://schemas.openxmlformats.org/officeDocument/2006/relationships/slideLayout" Target="../slideLayouts/slideLayout1048.xml"/><Relationship Id="rId70" Type="http://schemas.openxmlformats.org/officeDocument/2006/relationships/slideLayout" Target="../slideLayouts/slideLayout1056.xml"/><Relationship Id="rId75" Type="http://schemas.openxmlformats.org/officeDocument/2006/relationships/slideLayout" Target="../slideLayouts/slideLayout1061.xml"/><Relationship Id="rId83" Type="http://schemas.openxmlformats.org/officeDocument/2006/relationships/slideLayout" Target="../slideLayouts/slideLayout1069.xml"/><Relationship Id="rId88" Type="http://schemas.openxmlformats.org/officeDocument/2006/relationships/slideLayout" Target="../slideLayouts/slideLayout1074.xml"/><Relationship Id="rId91" Type="http://schemas.openxmlformats.org/officeDocument/2006/relationships/slideLayout" Target="../slideLayouts/slideLayout1077.xml"/><Relationship Id="rId96" Type="http://schemas.openxmlformats.org/officeDocument/2006/relationships/tags" Target="../tags/tag1310.xml"/><Relationship Id="rId1" Type="http://schemas.openxmlformats.org/officeDocument/2006/relationships/slideLayout" Target="../slideLayouts/slideLayout987.xml"/><Relationship Id="rId6" Type="http://schemas.openxmlformats.org/officeDocument/2006/relationships/slideLayout" Target="../slideLayouts/slideLayout992.xml"/><Relationship Id="rId15" Type="http://schemas.openxmlformats.org/officeDocument/2006/relationships/slideLayout" Target="../slideLayouts/slideLayout1001.xml"/><Relationship Id="rId23" Type="http://schemas.openxmlformats.org/officeDocument/2006/relationships/slideLayout" Target="../slideLayouts/slideLayout1009.xml"/><Relationship Id="rId28" Type="http://schemas.openxmlformats.org/officeDocument/2006/relationships/slideLayout" Target="../slideLayouts/slideLayout1014.xml"/><Relationship Id="rId36" Type="http://schemas.openxmlformats.org/officeDocument/2006/relationships/slideLayout" Target="../slideLayouts/slideLayout1022.xml"/><Relationship Id="rId49" Type="http://schemas.openxmlformats.org/officeDocument/2006/relationships/slideLayout" Target="../slideLayouts/slideLayout1035.xml"/><Relationship Id="rId57" Type="http://schemas.openxmlformats.org/officeDocument/2006/relationships/slideLayout" Target="../slideLayouts/slideLayout1043.xml"/><Relationship Id="rId10" Type="http://schemas.openxmlformats.org/officeDocument/2006/relationships/slideLayout" Target="../slideLayouts/slideLayout996.xml"/><Relationship Id="rId31" Type="http://schemas.openxmlformats.org/officeDocument/2006/relationships/slideLayout" Target="../slideLayouts/slideLayout1017.xml"/><Relationship Id="rId44" Type="http://schemas.openxmlformats.org/officeDocument/2006/relationships/slideLayout" Target="../slideLayouts/slideLayout1030.xml"/><Relationship Id="rId52" Type="http://schemas.openxmlformats.org/officeDocument/2006/relationships/slideLayout" Target="../slideLayouts/slideLayout1038.xml"/><Relationship Id="rId60" Type="http://schemas.openxmlformats.org/officeDocument/2006/relationships/slideLayout" Target="../slideLayouts/slideLayout1046.xml"/><Relationship Id="rId65" Type="http://schemas.openxmlformats.org/officeDocument/2006/relationships/slideLayout" Target="../slideLayouts/slideLayout1051.xml"/><Relationship Id="rId73" Type="http://schemas.openxmlformats.org/officeDocument/2006/relationships/slideLayout" Target="../slideLayouts/slideLayout1059.xml"/><Relationship Id="rId78" Type="http://schemas.openxmlformats.org/officeDocument/2006/relationships/slideLayout" Target="../slideLayouts/slideLayout1064.xml"/><Relationship Id="rId81" Type="http://schemas.openxmlformats.org/officeDocument/2006/relationships/slideLayout" Target="../slideLayouts/slideLayout1067.xml"/><Relationship Id="rId86" Type="http://schemas.openxmlformats.org/officeDocument/2006/relationships/slideLayout" Target="../slideLayouts/slideLayout1072.xml"/><Relationship Id="rId94" Type="http://schemas.openxmlformats.org/officeDocument/2006/relationships/vmlDrawing" Target="../drawings/vmlDrawing673.vml"/><Relationship Id="rId99" Type="http://schemas.openxmlformats.org/officeDocument/2006/relationships/image" Target="../media/image2.png"/><Relationship Id="rId4" Type="http://schemas.openxmlformats.org/officeDocument/2006/relationships/slideLayout" Target="../slideLayouts/slideLayout990.xml"/><Relationship Id="rId9" Type="http://schemas.openxmlformats.org/officeDocument/2006/relationships/slideLayout" Target="../slideLayouts/slideLayout995.xml"/><Relationship Id="rId13" Type="http://schemas.openxmlformats.org/officeDocument/2006/relationships/slideLayout" Target="../slideLayouts/slideLayout999.xml"/><Relationship Id="rId18" Type="http://schemas.openxmlformats.org/officeDocument/2006/relationships/slideLayout" Target="../slideLayouts/slideLayout1004.xml"/><Relationship Id="rId39" Type="http://schemas.openxmlformats.org/officeDocument/2006/relationships/slideLayout" Target="../slideLayouts/slideLayout1025.xml"/></Relationships>
</file>

<file path=ppt/slideMasters/_rels/slideMaster1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104.xml"/><Relationship Id="rId21" Type="http://schemas.openxmlformats.org/officeDocument/2006/relationships/slideLayout" Target="../slideLayouts/slideLayout1099.xml"/><Relationship Id="rId34" Type="http://schemas.openxmlformats.org/officeDocument/2006/relationships/slideLayout" Target="../slideLayouts/slideLayout1112.xml"/><Relationship Id="rId42" Type="http://schemas.openxmlformats.org/officeDocument/2006/relationships/slideLayout" Target="../slideLayouts/slideLayout1120.xml"/><Relationship Id="rId47" Type="http://schemas.openxmlformats.org/officeDocument/2006/relationships/slideLayout" Target="../slideLayouts/slideLayout1125.xml"/><Relationship Id="rId50" Type="http://schemas.openxmlformats.org/officeDocument/2006/relationships/slideLayout" Target="../slideLayouts/slideLayout1128.xml"/><Relationship Id="rId55" Type="http://schemas.openxmlformats.org/officeDocument/2006/relationships/slideLayout" Target="../slideLayouts/slideLayout1133.xml"/><Relationship Id="rId63" Type="http://schemas.openxmlformats.org/officeDocument/2006/relationships/slideLayout" Target="../slideLayouts/slideLayout1141.xml"/><Relationship Id="rId68" Type="http://schemas.openxmlformats.org/officeDocument/2006/relationships/slideLayout" Target="../slideLayouts/slideLayout1146.xml"/><Relationship Id="rId76" Type="http://schemas.openxmlformats.org/officeDocument/2006/relationships/slideLayout" Target="../slideLayouts/slideLayout1154.xml"/><Relationship Id="rId84" Type="http://schemas.openxmlformats.org/officeDocument/2006/relationships/slideLayout" Target="../slideLayouts/slideLayout1162.xml"/><Relationship Id="rId89" Type="http://schemas.openxmlformats.org/officeDocument/2006/relationships/slideLayout" Target="../slideLayouts/slideLayout1167.xml"/><Relationship Id="rId97" Type="http://schemas.openxmlformats.org/officeDocument/2006/relationships/oleObject" Target="../embeddings/oleObject152.bin"/><Relationship Id="rId7" Type="http://schemas.openxmlformats.org/officeDocument/2006/relationships/slideLayout" Target="../slideLayouts/slideLayout1085.xml"/><Relationship Id="rId71" Type="http://schemas.openxmlformats.org/officeDocument/2006/relationships/slideLayout" Target="../slideLayouts/slideLayout1149.xml"/><Relationship Id="rId92" Type="http://schemas.openxmlformats.org/officeDocument/2006/relationships/slideLayout" Target="../slideLayouts/slideLayout1170.xml"/><Relationship Id="rId2" Type="http://schemas.openxmlformats.org/officeDocument/2006/relationships/slideLayout" Target="../slideLayouts/slideLayout1080.xml"/><Relationship Id="rId16" Type="http://schemas.openxmlformats.org/officeDocument/2006/relationships/slideLayout" Target="../slideLayouts/slideLayout1094.xml"/><Relationship Id="rId29" Type="http://schemas.openxmlformats.org/officeDocument/2006/relationships/slideLayout" Target="../slideLayouts/slideLayout1107.xml"/><Relationship Id="rId11" Type="http://schemas.openxmlformats.org/officeDocument/2006/relationships/slideLayout" Target="../slideLayouts/slideLayout1089.xml"/><Relationship Id="rId24" Type="http://schemas.openxmlformats.org/officeDocument/2006/relationships/slideLayout" Target="../slideLayouts/slideLayout1102.xml"/><Relationship Id="rId32" Type="http://schemas.openxmlformats.org/officeDocument/2006/relationships/slideLayout" Target="../slideLayouts/slideLayout1110.xml"/><Relationship Id="rId37" Type="http://schemas.openxmlformats.org/officeDocument/2006/relationships/slideLayout" Target="../slideLayouts/slideLayout1115.xml"/><Relationship Id="rId40" Type="http://schemas.openxmlformats.org/officeDocument/2006/relationships/slideLayout" Target="../slideLayouts/slideLayout1118.xml"/><Relationship Id="rId45" Type="http://schemas.openxmlformats.org/officeDocument/2006/relationships/slideLayout" Target="../slideLayouts/slideLayout1123.xml"/><Relationship Id="rId53" Type="http://schemas.openxmlformats.org/officeDocument/2006/relationships/slideLayout" Target="../slideLayouts/slideLayout1131.xml"/><Relationship Id="rId58" Type="http://schemas.openxmlformats.org/officeDocument/2006/relationships/slideLayout" Target="../slideLayouts/slideLayout1136.xml"/><Relationship Id="rId66" Type="http://schemas.openxmlformats.org/officeDocument/2006/relationships/slideLayout" Target="../slideLayouts/slideLayout1144.xml"/><Relationship Id="rId74" Type="http://schemas.openxmlformats.org/officeDocument/2006/relationships/slideLayout" Target="../slideLayouts/slideLayout1152.xml"/><Relationship Id="rId79" Type="http://schemas.openxmlformats.org/officeDocument/2006/relationships/slideLayout" Target="../slideLayouts/slideLayout1157.xml"/><Relationship Id="rId87" Type="http://schemas.openxmlformats.org/officeDocument/2006/relationships/slideLayout" Target="../slideLayouts/slideLayout1165.xml"/><Relationship Id="rId5" Type="http://schemas.openxmlformats.org/officeDocument/2006/relationships/slideLayout" Target="../slideLayouts/slideLayout1083.xml"/><Relationship Id="rId61" Type="http://schemas.openxmlformats.org/officeDocument/2006/relationships/slideLayout" Target="../slideLayouts/slideLayout1139.xml"/><Relationship Id="rId82" Type="http://schemas.openxmlformats.org/officeDocument/2006/relationships/slideLayout" Target="../slideLayouts/slideLayout1160.xml"/><Relationship Id="rId90" Type="http://schemas.openxmlformats.org/officeDocument/2006/relationships/slideLayout" Target="../slideLayouts/slideLayout1168.xml"/><Relationship Id="rId95" Type="http://schemas.openxmlformats.org/officeDocument/2006/relationships/tags" Target="../tags/tag1453.xml"/><Relationship Id="rId19" Type="http://schemas.openxmlformats.org/officeDocument/2006/relationships/slideLayout" Target="../slideLayouts/slideLayout1097.xml"/><Relationship Id="rId14" Type="http://schemas.openxmlformats.org/officeDocument/2006/relationships/slideLayout" Target="../slideLayouts/slideLayout1092.xml"/><Relationship Id="rId22" Type="http://schemas.openxmlformats.org/officeDocument/2006/relationships/slideLayout" Target="../slideLayouts/slideLayout1100.xml"/><Relationship Id="rId27" Type="http://schemas.openxmlformats.org/officeDocument/2006/relationships/slideLayout" Target="../slideLayouts/slideLayout1105.xml"/><Relationship Id="rId30" Type="http://schemas.openxmlformats.org/officeDocument/2006/relationships/slideLayout" Target="../slideLayouts/slideLayout1108.xml"/><Relationship Id="rId35" Type="http://schemas.openxmlformats.org/officeDocument/2006/relationships/slideLayout" Target="../slideLayouts/slideLayout1113.xml"/><Relationship Id="rId43" Type="http://schemas.openxmlformats.org/officeDocument/2006/relationships/slideLayout" Target="../slideLayouts/slideLayout1121.xml"/><Relationship Id="rId48" Type="http://schemas.openxmlformats.org/officeDocument/2006/relationships/slideLayout" Target="../slideLayouts/slideLayout1126.xml"/><Relationship Id="rId56" Type="http://schemas.openxmlformats.org/officeDocument/2006/relationships/slideLayout" Target="../slideLayouts/slideLayout1134.xml"/><Relationship Id="rId64" Type="http://schemas.openxmlformats.org/officeDocument/2006/relationships/slideLayout" Target="../slideLayouts/slideLayout1142.xml"/><Relationship Id="rId69" Type="http://schemas.openxmlformats.org/officeDocument/2006/relationships/slideLayout" Target="../slideLayouts/slideLayout1147.xml"/><Relationship Id="rId77" Type="http://schemas.openxmlformats.org/officeDocument/2006/relationships/slideLayout" Target="../slideLayouts/slideLayout1155.xml"/><Relationship Id="rId100" Type="http://schemas.openxmlformats.org/officeDocument/2006/relationships/image" Target="../media/image3.emf"/><Relationship Id="rId8" Type="http://schemas.openxmlformats.org/officeDocument/2006/relationships/slideLayout" Target="../slideLayouts/slideLayout1086.xml"/><Relationship Id="rId51" Type="http://schemas.openxmlformats.org/officeDocument/2006/relationships/slideLayout" Target="../slideLayouts/slideLayout1129.xml"/><Relationship Id="rId72" Type="http://schemas.openxmlformats.org/officeDocument/2006/relationships/slideLayout" Target="../slideLayouts/slideLayout1150.xml"/><Relationship Id="rId80" Type="http://schemas.openxmlformats.org/officeDocument/2006/relationships/slideLayout" Target="../slideLayouts/slideLayout1158.xml"/><Relationship Id="rId85" Type="http://schemas.openxmlformats.org/officeDocument/2006/relationships/slideLayout" Target="../slideLayouts/slideLayout1163.xml"/><Relationship Id="rId93" Type="http://schemas.openxmlformats.org/officeDocument/2006/relationships/theme" Target="../theme/theme14.xml"/><Relationship Id="rId98" Type="http://schemas.openxmlformats.org/officeDocument/2006/relationships/image" Target="../media/image1.emf"/><Relationship Id="rId3" Type="http://schemas.openxmlformats.org/officeDocument/2006/relationships/slideLayout" Target="../slideLayouts/slideLayout1081.xml"/><Relationship Id="rId12" Type="http://schemas.openxmlformats.org/officeDocument/2006/relationships/slideLayout" Target="../slideLayouts/slideLayout1090.xml"/><Relationship Id="rId17" Type="http://schemas.openxmlformats.org/officeDocument/2006/relationships/slideLayout" Target="../slideLayouts/slideLayout1095.xml"/><Relationship Id="rId25" Type="http://schemas.openxmlformats.org/officeDocument/2006/relationships/slideLayout" Target="../slideLayouts/slideLayout1103.xml"/><Relationship Id="rId33" Type="http://schemas.openxmlformats.org/officeDocument/2006/relationships/slideLayout" Target="../slideLayouts/slideLayout1111.xml"/><Relationship Id="rId38" Type="http://schemas.openxmlformats.org/officeDocument/2006/relationships/slideLayout" Target="../slideLayouts/slideLayout1116.xml"/><Relationship Id="rId46" Type="http://schemas.openxmlformats.org/officeDocument/2006/relationships/slideLayout" Target="../slideLayouts/slideLayout1124.xml"/><Relationship Id="rId59" Type="http://schemas.openxmlformats.org/officeDocument/2006/relationships/slideLayout" Target="../slideLayouts/slideLayout1137.xml"/><Relationship Id="rId67" Type="http://schemas.openxmlformats.org/officeDocument/2006/relationships/slideLayout" Target="../slideLayouts/slideLayout1145.xml"/><Relationship Id="rId20" Type="http://schemas.openxmlformats.org/officeDocument/2006/relationships/slideLayout" Target="../slideLayouts/slideLayout1098.xml"/><Relationship Id="rId41" Type="http://schemas.openxmlformats.org/officeDocument/2006/relationships/slideLayout" Target="../slideLayouts/slideLayout1119.xml"/><Relationship Id="rId54" Type="http://schemas.openxmlformats.org/officeDocument/2006/relationships/slideLayout" Target="../slideLayouts/slideLayout1132.xml"/><Relationship Id="rId62" Type="http://schemas.openxmlformats.org/officeDocument/2006/relationships/slideLayout" Target="../slideLayouts/slideLayout1140.xml"/><Relationship Id="rId70" Type="http://schemas.openxmlformats.org/officeDocument/2006/relationships/slideLayout" Target="../slideLayouts/slideLayout1148.xml"/><Relationship Id="rId75" Type="http://schemas.openxmlformats.org/officeDocument/2006/relationships/slideLayout" Target="../slideLayouts/slideLayout1153.xml"/><Relationship Id="rId83" Type="http://schemas.openxmlformats.org/officeDocument/2006/relationships/slideLayout" Target="../slideLayouts/slideLayout1161.xml"/><Relationship Id="rId88" Type="http://schemas.openxmlformats.org/officeDocument/2006/relationships/slideLayout" Target="../slideLayouts/slideLayout1166.xml"/><Relationship Id="rId91" Type="http://schemas.openxmlformats.org/officeDocument/2006/relationships/slideLayout" Target="../slideLayouts/slideLayout1169.xml"/><Relationship Id="rId96" Type="http://schemas.openxmlformats.org/officeDocument/2006/relationships/tags" Target="../tags/tag1454.xml"/><Relationship Id="rId1" Type="http://schemas.openxmlformats.org/officeDocument/2006/relationships/slideLayout" Target="../slideLayouts/slideLayout1079.xml"/><Relationship Id="rId6" Type="http://schemas.openxmlformats.org/officeDocument/2006/relationships/slideLayout" Target="../slideLayouts/slideLayout1084.xml"/><Relationship Id="rId15" Type="http://schemas.openxmlformats.org/officeDocument/2006/relationships/slideLayout" Target="../slideLayouts/slideLayout1093.xml"/><Relationship Id="rId23" Type="http://schemas.openxmlformats.org/officeDocument/2006/relationships/slideLayout" Target="../slideLayouts/slideLayout1101.xml"/><Relationship Id="rId28" Type="http://schemas.openxmlformats.org/officeDocument/2006/relationships/slideLayout" Target="../slideLayouts/slideLayout1106.xml"/><Relationship Id="rId36" Type="http://schemas.openxmlformats.org/officeDocument/2006/relationships/slideLayout" Target="../slideLayouts/slideLayout1114.xml"/><Relationship Id="rId49" Type="http://schemas.openxmlformats.org/officeDocument/2006/relationships/slideLayout" Target="../slideLayouts/slideLayout1127.xml"/><Relationship Id="rId57" Type="http://schemas.openxmlformats.org/officeDocument/2006/relationships/slideLayout" Target="../slideLayouts/slideLayout1135.xml"/><Relationship Id="rId10" Type="http://schemas.openxmlformats.org/officeDocument/2006/relationships/slideLayout" Target="../slideLayouts/slideLayout1088.xml"/><Relationship Id="rId31" Type="http://schemas.openxmlformats.org/officeDocument/2006/relationships/slideLayout" Target="../slideLayouts/slideLayout1109.xml"/><Relationship Id="rId44" Type="http://schemas.openxmlformats.org/officeDocument/2006/relationships/slideLayout" Target="../slideLayouts/slideLayout1122.xml"/><Relationship Id="rId52" Type="http://schemas.openxmlformats.org/officeDocument/2006/relationships/slideLayout" Target="../slideLayouts/slideLayout1130.xml"/><Relationship Id="rId60" Type="http://schemas.openxmlformats.org/officeDocument/2006/relationships/slideLayout" Target="../slideLayouts/slideLayout1138.xml"/><Relationship Id="rId65" Type="http://schemas.openxmlformats.org/officeDocument/2006/relationships/slideLayout" Target="../slideLayouts/slideLayout1143.xml"/><Relationship Id="rId73" Type="http://schemas.openxmlformats.org/officeDocument/2006/relationships/slideLayout" Target="../slideLayouts/slideLayout1151.xml"/><Relationship Id="rId78" Type="http://schemas.openxmlformats.org/officeDocument/2006/relationships/slideLayout" Target="../slideLayouts/slideLayout1156.xml"/><Relationship Id="rId81" Type="http://schemas.openxmlformats.org/officeDocument/2006/relationships/slideLayout" Target="../slideLayouts/slideLayout1159.xml"/><Relationship Id="rId86" Type="http://schemas.openxmlformats.org/officeDocument/2006/relationships/slideLayout" Target="../slideLayouts/slideLayout1164.xml"/><Relationship Id="rId94" Type="http://schemas.openxmlformats.org/officeDocument/2006/relationships/vmlDrawing" Target="../drawings/vmlDrawing747.vml"/><Relationship Id="rId99" Type="http://schemas.openxmlformats.org/officeDocument/2006/relationships/image" Target="../media/image2.png"/><Relationship Id="rId4" Type="http://schemas.openxmlformats.org/officeDocument/2006/relationships/slideLayout" Target="../slideLayouts/slideLayout1082.xml"/><Relationship Id="rId9" Type="http://schemas.openxmlformats.org/officeDocument/2006/relationships/slideLayout" Target="../slideLayouts/slideLayout1087.xml"/><Relationship Id="rId13" Type="http://schemas.openxmlformats.org/officeDocument/2006/relationships/slideLayout" Target="../slideLayouts/slideLayout1091.xml"/><Relationship Id="rId18" Type="http://schemas.openxmlformats.org/officeDocument/2006/relationships/slideLayout" Target="../slideLayouts/slideLayout1096.xml"/><Relationship Id="rId39" Type="http://schemas.openxmlformats.org/officeDocument/2006/relationships/slideLayout" Target="../slideLayouts/slideLayout1117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1.xml"/><Relationship Id="rId18" Type="http://schemas.openxmlformats.org/officeDocument/2006/relationships/slideLayout" Target="../slideLayouts/slideLayout106.xml"/><Relationship Id="rId26" Type="http://schemas.openxmlformats.org/officeDocument/2006/relationships/slideLayout" Target="../slideLayouts/slideLayout114.xml"/><Relationship Id="rId39" Type="http://schemas.openxmlformats.org/officeDocument/2006/relationships/slideLayout" Target="../slideLayouts/slideLayout127.xml"/><Relationship Id="rId21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122.xml"/><Relationship Id="rId42" Type="http://schemas.openxmlformats.org/officeDocument/2006/relationships/slideLayout" Target="../slideLayouts/slideLayout130.xml"/><Relationship Id="rId47" Type="http://schemas.openxmlformats.org/officeDocument/2006/relationships/slideLayout" Target="../slideLayouts/slideLayout135.xml"/><Relationship Id="rId50" Type="http://schemas.openxmlformats.org/officeDocument/2006/relationships/slideLayout" Target="../slideLayouts/slideLayout138.xml"/><Relationship Id="rId55" Type="http://schemas.openxmlformats.org/officeDocument/2006/relationships/slideLayout" Target="../slideLayouts/slideLayout143.xml"/><Relationship Id="rId63" Type="http://schemas.openxmlformats.org/officeDocument/2006/relationships/slideLayout" Target="../slideLayouts/slideLayout151.xml"/><Relationship Id="rId68" Type="http://schemas.openxmlformats.org/officeDocument/2006/relationships/slideLayout" Target="../slideLayouts/slideLayout156.xml"/><Relationship Id="rId76" Type="http://schemas.openxmlformats.org/officeDocument/2006/relationships/slideLayout" Target="../slideLayouts/slideLayout164.xml"/><Relationship Id="rId84" Type="http://schemas.openxmlformats.org/officeDocument/2006/relationships/slideLayout" Target="../slideLayouts/slideLayout172.xml"/><Relationship Id="rId89" Type="http://schemas.openxmlformats.org/officeDocument/2006/relationships/theme" Target="../theme/theme2.xml"/><Relationship Id="rId7" Type="http://schemas.openxmlformats.org/officeDocument/2006/relationships/slideLayout" Target="../slideLayouts/slideLayout95.xml"/><Relationship Id="rId71" Type="http://schemas.openxmlformats.org/officeDocument/2006/relationships/slideLayout" Target="../slideLayouts/slideLayout159.xml"/><Relationship Id="rId92" Type="http://schemas.openxmlformats.org/officeDocument/2006/relationships/tags" Target="../tags/tag146.xml"/><Relationship Id="rId2" Type="http://schemas.openxmlformats.org/officeDocument/2006/relationships/slideLayout" Target="../slideLayouts/slideLayout90.xml"/><Relationship Id="rId16" Type="http://schemas.openxmlformats.org/officeDocument/2006/relationships/slideLayout" Target="../slideLayouts/slideLayout104.xml"/><Relationship Id="rId29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99.xml"/><Relationship Id="rId24" Type="http://schemas.openxmlformats.org/officeDocument/2006/relationships/slideLayout" Target="../slideLayouts/slideLayout112.xml"/><Relationship Id="rId32" Type="http://schemas.openxmlformats.org/officeDocument/2006/relationships/slideLayout" Target="../slideLayouts/slideLayout120.xml"/><Relationship Id="rId37" Type="http://schemas.openxmlformats.org/officeDocument/2006/relationships/slideLayout" Target="../slideLayouts/slideLayout125.xml"/><Relationship Id="rId40" Type="http://schemas.openxmlformats.org/officeDocument/2006/relationships/slideLayout" Target="../slideLayouts/slideLayout128.xml"/><Relationship Id="rId45" Type="http://schemas.openxmlformats.org/officeDocument/2006/relationships/slideLayout" Target="../slideLayouts/slideLayout133.xml"/><Relationship Id="rId53" Type="http://schemas.openxmlformats.org/officeDocument/2006/relationships/slideLayout" Target="../slideLayouts/slideLayout141.xml"/><Relationship Id="rId58" Type="http://schemas.openxmlformats.org/officeDocument/2006/relationships/slideLayout" Target="../slideLayouts/slideLayout146.xml"/><Relationship Id="rId66" Type="http://schemas.openxmlformats.org/officeDocument/2006/relationships/slideLayout" Target="../slideLayouts/slideLayout154.xml"/><Relationship Id="rId74" Type="http://schemas.openxmlformats.org/officeDocument/2006/relationships/slideLayout" Target="../slideLayouts/slideLayout162.xml"/><Relationship Id="rId79" Type="http://schemas.openxmlformats.org/officeDocument/2006/relationships/slideLayout" Target="../slideLayouts/slideLayout167.xml"/><Relationship Id="rId87" Type="http://schemas.openxmlformats.org/officeDocument/2006/relationships/slideLayout" Target="../slideLayouts/slideLayout175.xml"/><Relationship Id="rId5" Type="http://schemas.openxmlformats.org/officeDocument/2006/relationships/slideLayout" Target="../slideLayouts/slideLayout93.xml"/><Relationship Id="rId61" Type="http://schemas.openxmlformats.org/officeDocument/2006/relationships/slideLayout" Target="../slideLayouts/slideLayout149.xml"/><Relationship Id="rId82" Type="http://schemas.openxmlformats.org/officeDocument/2006/relationships/slideLayout" Target="../slideLayouts/slideLayout170.xml"/><Relationship Id="rId90" Type="http://schemas.openxmlformats.org/officeDocument/2006/relationships/vmlDrawing" Target="../drawings/vmlDrawing75.vml"/><Relationship Id="rId95" Type="http://schemas.openxmlformats.org/officeDocument/2006/relationships/image" Target="../media/image2.png"/><Relationship Id="rId1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02.xml"/><Relationship Id="rId22" Type="http://schemas.openxmlformats.org/officeDocument/2006/relationships/slideLayout" Target="../slideLayouts/slideLayout110.xml"/><Relationship Id="rId27" Type="http://schemas.openxmlformats.org/officeDocument/2006/relationships/slideLayout" Target="../slideLayouts/slideLayout115.xml"/><Relationship Id="rId30" Type="http://schemas.openxmlformats.org/officeDocument/2006/relationships/slideLayout" Target="../slideLayouts/slideLayout118.xml"/><Relationship Id="rId35" Type="http://schemas.openxmlformats.org/officeDocument/2006/relationships/slideLayout" Target="../slideLayouts/slideLayout123.xml"/><Relationship Id="rId43" Type="http://schemas.openxmlformats.org/officeDocument/2006/relationships/slideLayout" Target="../slideLayouts/slideLayout131.xml"/><Relationship Id="rId48" Type="http://schemas.openxmlformats.org/officeDocument/2006/relationships/slideLayout" Target="../slideLayouts/slideLayout136.xml"/><Relationship Id="rId56" Type="http://schemas.openxmlformats.org/officeDocument/2006/relationships/slideLayout" Target="../slideLayouts/slideLayout144.xml"/><Relationship Id="rId64" Type="http://schemas.openxmlformats.org/officeDocument/2006/relationships/slideLayout" Target="../slideLayouts/slideLayout152.xml"/><Relationship Id="rId69" Type="http://schemas.openxmlformats.org/officeDocument/2006/relationships/slideLayout" Target="../slideLayouts/slideLayout157.xml"/><Relationship Id="rId77" Type="http://schemas.openxmlformats.org/officeDocument/2006/relationships/slideLayout" Target="../slideLayouts/slideLayout165.xml"/><Relationship Id="rId8" Type="http://schemas.openxmlformats.org/officeDocument/2006/relationships/slideLayout" Target="../slideLayouts/slideLayout96.xml"/><Relationship Id="rId51" Type="http://schemas.openxmlformats.org/officeDocument/2006/relationships/slideLayout" Target="../slideLayouts/slideLayout139.xml"/><Relationship Id="rId72" Type="http://schemas.openxmlformats.org/officeDocument/2006/relationships/slideLayout" Target="../slideLayouts/slideLayout160.xml"/><Relationship Id="rId80" Type="http://schemas.openxmlformats.org/officeDocument/2006/relationships/slideLayout" Target="../slideLayouts/slideLayout168.xml"/><Relationship Id="rId85" Type="http://schemas.openxmlformats.org/officeDocument/2006/relationships/slideLayout" Target="../slideLayouts/slideLayout173.xml"/><Relationship Id="rId93" Type="http://schemas.openxmlformats.org/officeDocument/2006/relationships/oleObject" Target="../embeddings/oleObject13.bin"/><Relationship Id="rId3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100.xml"/><Relationship Id="rId17" Type="http://schemas.openxmlformats.org/officeDocument/2006/relationships/slideLayout" Target="../slideLayouts/slideLayout105.xml"/><Relationship Id="rId25" Type="http://schemas.openxmlformats.org/officeDocument/2006/relationships/slideLayout" Target="../slideLayouts/slideLayout113.xml"/><Relationship Id="rId33" Type="http://schemas.openxmlformats.org/officeDocument/2006/relationships/slideLayout" Target="../slideLayouts/slideLayout121.xml"/><Relationship Id="rId38" Type="http://schemas.openxmlformats.org/officeDocument/2006/relationships/slideLayout" Target="../slideLayouts/slideLayout126.xml"/><Relationship Id="rId46" Type="http://schemas.openxmlformats.org/officeDocument/2006/relationships/slideLayout" Target="../slideLayouts/slideLayout134.xml"/><Relationship Id="rId59" Type="http://schemas.openxmlformats.org/officeDocument/2006/relationships/slideLayout" Target="../slideLayouts/slideLayout147.xml"/><Relationship Id="rId67" Type="http://schemas.openxmlformats.org/officeDocument/2006/relationships/slideLayout" Target="../slideLayouts/slideLayout155.xml"/><Relationship Id="rId20" Type="http://schemas.openxmlformats.org/officeDocument/2006/relationships/slideLayout" Target="../slideLayouts/slideLayout108.xml"/><Relationship Id="rId41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142.xml"/><Relationship Id="rId62" Type="http://schemas.openxmlformats.org/officeDocument/2006/relationships/slideLayout" Target="../slideLayouts/slideLayout150.xml"/><Relationship Id="rId70" Type="http://schemas.openxmlformats.org/officeDocument/2006/relationships/slideLayout" Target="../slideLayouts/slideLayout158.xml"/><Relationship Id="rId75" Type="http://schemas.openxmlformats.org/officeDocument/2006/relationships/slideLayout" Target="../slideLayouts/slideLayout163.xml"/><Relationship Id="rId83" Type="http://schemas.openxmlformats.org/officeDocument/2006/relationships/slideLayout" Target="../slideLayouts/slideLayout171.xml"/><Relationship Id="rId88" Type="http://schemas.openxmlformats.org/officeDocument/2006/relationships/slideLayout" Target="../slideLayouts/slideLayout176.xml"/><Relationship Id="rId91" Type="http://schemas.openxmlformats.org/officeDocument/2006/relationships/tags" Target="../tags/tag145.xml"/><Relationship Id="rId96" Type="http://schemas.openxmlformats.org/officeDocument/2006/relationships/image" Target="../media/image3.emf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3.xml"/><Relationship Id="rId23" Type="http://schemas.openxmlformats.org/officeDocument/2006/relationships/slideLayout" Target="../slideLayouts/slideLayout111.xml"/><Relationship Id="rId28" Type="http://schemas.openxmlformats.org/officeDocument/2006/relationships/slideLayout" Target="../slideLayouts/slideLayout116.xml"/><Relationship Id="rId36" Type="http://schemas.openxmlformats.org/officeDocument/2006/relationships/slideLayout" Target="../slideLayouts/slideLayout124.xml"/><Relationship Id="rId49" Type="http://schemas.openxmlformats.org/officeDocument/2006/relationships/slideLayout" Target="../slideLayouts/slideLayout137.xml"/><Relationship Id="rId57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98.xml"/><Relationship Id="rId31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132.xml"/><Relationship Id="rId52" Type="http://schemas.openxmlformats.org/officeDocument/2006/relationships/slideLayout" Target="../slideLayouts/slideLayout140.xml"/><Relationship Id="rId60" Type="http://schemas.openxmlformats.org/officeDocument/2006/relationships/slideLayout" Target="../slideLayouts/slideLayout148.xml"/><Relationship Id="rId65" Type="http://schemas.openxmlformats.org/officeDocument/2006/relationships/slideLayout" Target="../slideLayouts/slideLayout153.xml"/><Relationship Id="rId73" Type="http://schemas.openxmlformats.org/officeDocument/2006/relationships/slideLayout" Target="../slideLayouts/slideLayout161.xml"/><Relationship Id="rId78" Type="http://schemas.openxmlformats.org/officeDocument/2006/relationships/slideLayout" Target="../slideLayouts/slideLayout166.xml"/><Relationship Id="rId81" Type="http://schemas.openxmlformats.org/officeDocument/2006/relationships/slideLayout" Target="../slideLayouts/slideLayout169.xml"/><Relationship Id="rId86" Type="http://schemas.openxmlformats.org/officeDocument/2006/relationships/slideLayout" Target="../slideLayouts/slideLayout174.xml"/><Relationship Id="rId94" Type="http://schemas.openxmlformats.org/officeDocument/2006/relationships/image" Target="../media/image1.emf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slideLayout" Target="../slideLayouts/slideLayout202.xml"/><Relationship Id="rId39" Type="http://schemas.openxmlformats.org/officeDocument/2006/relationships/slideLayout" Target="../slideLayouts/slideLayout215.xml"/><Relationship Id="rId21" Type="http://schemas.openxmlformats.org/officeDocument/2006/relationships/slideLayout" Target="../slideLayouts/slideLayout197.xml"/><Relationship Id="rId34" Type="http://schemas.openxmlformats.org/officeDocument/2006/relationships/slideLayout" Target="../slideLayouts/slideLayout210.xml"/><Relationship Id="rId42" Type="http://schemas.openxmlformats.org/officeDocument/2006/relationships/slideLayout" Target="../slideLayouts/slideLayout218.xml"/><Relationship Id="rId47" Type="http://schemas.openxmlformats.org/officeDocument/2006/relationships/slideLayout" Target="../slideLayouts/slideLayout223.xml"/><Relationship Id="rId50" Type="http://schemas.openxmlformats.org/officeDocument/2006/relationships/slideLayout" Target="../slideLayouts/slideLayout226.xml"/><Relationship Id="rId55" Type="http://schemas.openxmlformats.org/officeDocument/2006/relationships/slideLayout" Target="../slideLayouts/slideLayout231.xml"/><Relationship Id="rId63" Type="http://schemas.openxmlformats.org/officeDocument/2006/relationships/slideLayout" Target="../slideLayouts/slideLayout239.xml"/><Relationship Id="rId68" Type="http://schemas.openxmlformats.org/officeDocument/2006/relationships/slideLayout" Target="../slideLayouts/slideLayout244.xml"/><Relationship Id="rId76" Type="http://schemas.openxmlformats.org/officeDocument/2006/relationships/slideLayout" Target="../slideLayouts/slideLayout252.xml"/><Relationship Id="rId84" Type="http://schemas.openxmlformats.org/officeDocument/2006/relationships/slideLayout" Target="../slideLayouts/slideLayout260.xml"/><Relationship Id="rId7" Type="http://schemas.openxmlformats.org/officeDocument/2006/relationships/slideLayout" Target="../slideLayouts/slideLayout183.xml"/><Relationship Id="rId71" Type="http://schemas.openxmlformats.org/officeDocument/2006/relationships/slideLayout" Target="../slideLayouts/slideLayout247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9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200.xml"/><Relationship Id="rId32" Type="http://schemas.openxmlformats.org/officeDocument/2006/relationships/slideLayout" Target="../slideLayouts/slideLayout208.xml"/><Relationship Id="rId37" Type="http://schemas.openxmlformats.org/officeDocument/2006/relationships/slideLayout" Target="../slideLayouts/slideLayout213.xml"/><Relationship Id="rId40" Type="http://schemas.openxmlformats.org/officeDocument/2006/relationships/slideLayout" Target="../slideLayouts/slideLayout216.xml"/><Relationship Id="rId45" Type="http://schemas.openxmlformats.org/officeDocument/2006/relationships/slideLayout" Target="../slideLayouts/slideLayout221.xml"/><Relationship Id="rId53" Type="http://schemas.openxmlformats.org/officeDocument/2006/relationships/slideLayout" Target="../slideLayouts/slideLayout229.xml"/><Relationship Id="rId58" Type="http://schemas.openxmlformats.org/officeDocument/2006/relationships/slideLayout" Target="../slideLayouts/slideLayout234.xml"/><Relationship Id="rId66" Type="http://schemas.openxmlformats.org/officeDocument/2006/relationships/slideLayout" Target="../slideLayouts/slideLayout242.xml"/><Relationship Id="rId74" Type="http://schemas.openxmlformats.org/officeDocument/2006/relationships/slideLayout" Target="../slideLayouts/slideLayout250.xml"/><Relationship Id="rId79" Type="http://schemas.openxmlformats.org/officeDocument/2006/relationships/slideLayout" Target="../slideLayouts/slideLayout255.xml"/><Relationship Id="rId87" Type="http://schemas.openxmlformats.org/officeDocument/2006/relationships/theme" Target="../theme/theme3.xml"/><Relationship Id="rId5" Type="http://schemas.openxmlformats.org/officeDocument/2006/relationships/slideLayout" Target="../slideLayouts/slideLayout181.xml"/><Relationship Id="rId61" Type="http://schemas.openxmlformats.org/officeDocument/2006/relationships/slideLayout" Target="../slideLayouts/slideLayout237.xml"/><Relationship Id="rId82" Type="http://schemas.openxmlformats.org/officeDocument/2006/relationships/slideLayout" Target="../slideLayouts/slideLayout258.xml"/><Relationship Id="rId19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8.xml"/><Relationship Id="rId27" Type="http://schemas.openxmlformats.org/officeDocument/2006/relationships/slideLayout" Target="../slideLayouts/slideLayout203.xml"/><Relationship Id="rId30" Type="http://schemas.openxmlformats.org/officeDocument/2006/relationships/slideLayout" Target="../slideLayouts/slideLayout206.xml"/><Relationship Id="rId35" Type="http://schemas.openxmlformats.org/officeDocument/2006/relationships/slideLayout" Target="../slideLayouts/slideLayout211.xml"/><Relationship Id="rId43" Type="http://schemas.openxmlformats.org/officeDocument/2006/relationships/slideLayout" Target="../slideLayouts/slideLayout219.xml"/><Relationship Id="rId48" Type="http://schemas.openxmlformats.org/officeDocument/2006/relationships/slideLayout" Target="../slideLayouts/slideLayout224.xml"/><Relationship Id="rId56" Type="http://schemas.openxmlformats.org/officeDocument/2006/relationships/slideLayout" Target="../slideLayouts/slideLayout232.xml"/><Relationship Id="rId64" Type="http://schemas.openxmlformats.org/officeDocument/2006/relationships/slideLayout" Target="../slideLayouts/slideLayout240.xml"/><Relationship Id="rId69" Type="http://schemas.openxmlformats.org/officeDocument/2006/relationships/slideLayout" Target="../slideLayouts/slideLayout245.xml"/><Relationship Id="rId77" Type="http://schemas.openxmlformats.org/officeDocument/2006/relationships/slideLayout" Target="../slideLayouts/slideLayout253.xml"/><Relationship Id="rId8" Type="http://schemas.openxmlformats.org/officeDocument/2006/relationships/slideLayout" Target="../slideLayouts/slideLayout184.xml"/><Relationship Id="rId51" Type="http://schemas.openxmlformats.org/officeDocument/2006/relationships/slideLayout" Target="../slideLayouts/slideLayout227.xml"/><Relationship Id="rId72" Type="http://schemas.openxmlformats.org/officeDocument/2006/relationships/slideLayout" Target="../slideLayouts/slideLayout248.xml"/><Relationship Id="rId80" Type="http://schemas.openxmlformats.org/officeDocument/2006/relationships/slideLayout" Target="../slideLayouts/slideLayout256.xml"/><Relationship Id="rId85" Type="http://schemas.openxmlformats.org/officeDocument/2006/relationships/slideLayout" Target="../slideLayouts/slideLayout261.xml"/><Relationship Id="rId3" Type="http://schemas.openxmlformats.org/officeDocument/2006/relationships/slideLayout" Target="../slideLayouts/slideLayout179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slideLayout" Target="../slideLayouts/slideLayout201.xml"/><Relationship Id="rId33" Type="http://schemas.openxmlformats.org/officeDocument/2006/relationships/slideLayout" Target="../slideLayouts/slideLayout209.xml"/><Relationship Id="rId38" Type="http://schemas.openxmlformats.org/officeDocument/2006/relationships/slideLayout" Target="../slideLayouts/slideLayout214.xml"/><Relationship Id="rId46" Type="http://schemas.openxmlformats.org/officeDocument/2006/relationships/slideLayout" Target="../slideLayouts/slideLayout222.xml"/><Relationship Id="rId59" Type="http://schemas.openxmlformats.org/officeDocument/2006/relationships/slideLayout" Target="../slideLayouts/slideLayout235.xml"/><Relationship Id="rId67" Type="http://schemas.openxmlformats.org/officeDocument/2006/relationships/slideLayout" Target="../slideLayouts/slideLayout243.xml"/><Relationship Id="rId20" Type="http://schemas.openxmlformats.org/officeDocument/2006/relationships/slideLayout" Target="../slideLayouts/slideLayout196.xml"/><Relationship Id="rId41" Type="http://schemas.openxmlformats.org/officeDocument/2006/relationships/slideLayout" Target="../slideLayouts/slideLayout217.xml"/><Relationship Id="rId54" Type="http://schemas.openxmlformats.org/officeDocument/2006/relationships/slideLayout" Target="../slideLayouts/slideLayout230.xml"/><Relationship Id="rId62" Type="http://schemas.openxmlformats.org/officeDocument/2006/relationships/slideLayout" Target="../slideLayouts/slideLayout238.xml"/><Relationship Id="rId70" Type="http://schemas.openxmlformats.org/officeDocument/2006/relationships/slideLayout" Target="../slideLayouts/slideLayout246.xml"/><Relationship Id="rId75" Type="http://schemas.openxmlformats.org/officeDocument/2006/relationships/slideLayout" Target="../slideLayouts/slideLayout251.xml"/><Relationship Id="rId83" Type="http://schemas.openxmlformats.org/officeDocument/2006/relationships/slideLayout" Target="../slideLayouts/slideLayout259.xml"/><Relationship Id="rId88" Type="http://schemas.openxmlformats.org/officeDocument/2006/relationships/image" Target="../media/image20.png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5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9.xml"/><Relationship Id="rId28" Type="http://schemas.openxmlformats.org/officeDocument/2006/relationships/slideLayout" Target="../slideLayouts/slideLayout204.xml"/><Relationship Id="rId36" Type="http://schemas.openxmlformats.org/officeDocument/2006/relationships/slideLayout" Target="../slideLayouts/slideLayout212.xml"/><Relationship Id="rId49" Type="http://schemas.openxmlformats.org/officeDocument/2006/relationships/slideLayout" Target="../slideLayouts/slideLayout225.xml"/><Relationship Id="rId57" Type="http://schemas.openxmlformats.org/officeDocument/2006/relationships/slideLayout" Target="../slideLayouts/slideLayout233.xml"/><Relationship Id="rId10" Type="http://schemas.openxmlformats.org/officeDocument/2006/relationships/slideLayout" Target="../slideLayouts/slideLayout186.xml"/><Relationship Id="rId31" Type="http://schemas.openxmlformats.org/officeDocument/2006/relationships/slideLayout" Target="../slideLayouts/slideLayout207.xml"/><Relationship Id="rId44" Type="http://schemas.openxmlformats.org/officeDocument/2006/relationships/slideLayout" Target="../slideLayouts/slideLayout220.xml"/><Relationship Id="rId52" Type="http://schemas.openxmlformats.org/officeDocument/2006/relationships/slideLayout" Target="../slideLayouts/slideLayout228.xml"/><Relationship Id="rId60" Type="http://schemas.openxmlformats.org/officeDocument/2006/relationships/slideLayout" Target="../slideLayouts/slideLayout236.xml"/><Relationship Id="rId65" Type="http://schemas.openxmlformats.org/officeDocument/2006/relationships/slideLayout" Target="../slideLayouts/slideLayout241.xml"/><Relationship Id="rId73" Type="http://schemas.openxmlformats.org/officeDocument/2006/relationships/slideLayout" Target="../slideLayouts/slideLayout249.xml"/><Relationship Id="rId78" Type="http://schemas.openxmlformats.org/officeDocument/2006/relationships/slideLayout" Target="../slideLayouts/slideLayout254.xml"/><Relationship Id="rId81" Type="http://schemas.openxmlformats.org/officeDocument/2006/relationships/slideLayout" Target="../slideLayouts/slideLayout257.xml"/><Relationship Id="rId86" Type="http://schemas.openxmlformats.org/officeDocument/2006/relationships/slideLayout" Target="../slideLayouts/slideLayout26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5.xml"/><Relationship Id="rId18" Type="http://schemas.openxmlformats.org/officeDocument/2006/relationships/slideLayout" Target="../slideLayouts/slideLayout280.xml"/><Relationship Id="rId26" Type="http://schemas.openxmlformats.org/officeDocument/2006/relationships/slideLayout" Target="../slideLayouts/slideLayout288.xml"/><Relationship Id="rId39" Type="http://schemas.openxmlformats.org/officeDocument/2006/relationships/slideLayout" Target="../slideLayouts/slideLayout301.xml"/><Relationship Id="rId21" Type="http://schemas.openxmlformats.org/officeDocument/2006/relationships/slideLayout" Target="../slideLayouts/slideLayout283.xml"/><Relationship Id="rId34" Type="http://schemas.openxmlformats.org/officeDocument/2006/relationships/slideLayout" Target="../slideLayouts/slideLayout296.xml"/><Relationship Id="rId42" Type="http://schemas.openxmlformats.org/officeDocument/2006/relationships/slideLayout" Target="../slideLayouts/slideLayout304.xml"/><Relationship Id="rId47" Type="http://schemas.openxmlformats.org/officeDocument/2006/relationships/slideLayout" Target="../slideLayouts/slideLayout309.xml"/><Relationship Id="rId50" Type="http://schemas.openxmlformats.org/officeDocument/2006/relationships/slideLayout" Target="../slideLayouts/slideLayout312.xml"/><Relationship Id="rId55" Type="http://schemas.openxmlformats.org/officeDocument/2006/relationships/slideLayout" Target="../slideLayouts/slideLayout317.xml"/><Relationship Id="rId63" Type="http://schemas.openxmlformats.org/officeDocument/2006/relationships/slideLayout" Target="../slideLayouts/slideLayout325.xml"/><Relationship Id="rId68" Type="http://schemas.openxmlformats.org/officeDocument/2006/relationships/slideLayout" Target="../slideLayouts/slideLayout330.xml"/><Relationship Id="rId76" Type="http://schemas.openxmlformats.org/officeDocument/2006/relationships/slideLayout" Target="../slideLayouts/slideLayout338.xml"/><Relationship Id="rId84" Type="http://schemas.openxmlformats.org/officeDocument/2006/relationships/slideLayout" Target="../slideLayouts/slideLayout346.xml"/><Relationship Id="rId89" Type="http://schemas.openxmlformats.org/officeDocument/2006/relationships/image" Target="../media/image27.png"/><Relationship Id="rId7" Type="http://schemas.openxmlformats.org/officeDocument/2006/relationships/slideLayout" Target="../slideLayouts/slideLayout269.xml"/><Relationship Id="rId71" Type="http://schemas.openxmlformats.org/officeDocument/2006/relationships/slideLayout" Target="../slideLayouts/slideLayout333.xml"/><Relationship Id="rId2" Type="http://schemas.openxmlformats.org/officeDocument/2006/relationships/slideLayout" Target="../slideLayouts/slideLayout264.xml"/><Relationship Id="rId16" Type="http://schemas.openxmlformats.org/officeDocument/2006/relationships/slideLayout" Target="../slideLayouts/slideLayout278.xml"/><Relationship Id="rId29" Type="http://schemas.openxmlformats.org/officeDocument/2006/relationships/slideLayout" Target="../slideLayouts/slideLayout291.xml"/><Relationship Id="rId11" Type="http://schemas.openxmlformats.org/officeDocument/2006/relationships/slideLayout" Target="../slideLayouts/slideLayout273.xml"/><Relationship Id="rId24" Type="http://schemas.openxmlformats.org/officeDocument/2006/relationships/slideLayout" Target="../slideLayouts/slideLayout286.xml"/><Relationship Id="rId32" Type="http://schemas.openxmlformats.org/officeDocument/2006/relationships/slideLayout" Target="../slideLayouts/slideLayout294.xml"/><Relationship Id="rId37" Type="http://schemas.openxmlformats.org/officeDocument/2006/relationships/slideLayout" Target="../slideLayouts/slideLayout299.xml"/><Relationship Id="rId40" Type="http://schemas.openxmlformats.org/officeDocument/2006/relationships/slideLayout" Target="../slideLayouts/slideLayout302.xml"/><Relationship Id="rId45" Type="http://schemas.openxmlformats.org/officeDocument/2006/relationships/slideLayout" Target="../slideLayouts/slideLayout307.xml"/><Relationship Id="rId53" Type="http://schemas.openxmlformats.org/officeDocument/2006/relationships/slideLayout" Target="../slideLayouts/slideLayout315.xml"/><Relationship Id="rId58" Type="http://schemas.openxmlformats.org/officeDocument/2006/relationships/slideLayout" Target="../slideLayouts/slideLayout320.xml"/><Relationship Id="rId66" Type="http://schemas.openxmlformats.org/officeDocument/2006/relationships/slideLayout" Target="../slideLayouts/slideLayout328.xml"/><Relationship Id="rId74" Type="http://schemas.openxmlformats.org/officeDocument/2006/relationships/slideLayout" Target="../slideLayouts/slideLayout336.xml"/><Relationship Id="rId79" Type="http://schemas.openxmlformats.org/officeDocument/2006/relationships/slideLayout" Target="../slideLayouts/slideLayout341.xml"/><Relationship Id="rId87" Type="http://schemas.openxmlformats.org/officeDocument/2006/relationships/theme" Target="../theme/theme4.xml"/><Relationship Id="rId5" Type="http://schemas.openxmlformats.org/officeDocument/2006/relationships/slideLayout" Target="../slideLayouts/slideLayout267.xml"/><Relationship Id="rId61" Type="http://schemas.openxmlformats.org/officeDocument/2006/relationships/slideLayout" Target="../slideLayouts/slideLayout323.xml"/><Relationship Id="rId82" Type="http://schemas.openxmlformats.org/officeDocument/2006/relationships/slideLayout" Target="../slideLayouts/slideLayout344.xml"/><Relationship Id="rId19" Type="http://schemas.openxmlformats.org/officeDocument/2006/relationships/slideLayout" Target="../slideLayouts/slideLayout281.xml"/><Relationship Id="rId4" Type="http://schemas.openxmlformats.org/officeDocument/2006/relationships/slideLayout" Target="../slideLayouts/slideLayout266.xml"/><Relationship Id="rId9" Type="http://schemas.openxmlformats.org/officeDocument/2006/relationships/slideLayout" Target="../slideLayouts/slideLayout271.xml"/><Relationship Id="rId14" Type="http://schemas.openxmlformats.org/officeDocument/2006/relationships/slideLayout" Target="../slideLayouts/slideLayout276.xml"/><Relationship Id="rId22" Type="http://schemas.openxmlformats.org/officeDocument/2006/relationships/slideLayout" Target="../slideLayouts/slideLayout284.xml"/><Relationship Id="rId27" Type="http://schemas.openxmlformats.org/officeDocument/2006/relationships/slideLayout" Target="../slideLayouts/slideLayout289.xml"/><Relationship Id="rId30" Type="http://schemas.openxmlformats.org/officeDocument/2006/relationships/slideLayout" Target="../slideLayouts/slideLayout292.xml"/><Relationship Id="rId35" Type="http://schemas.openxmlformats.org/officeDocument/2006/relationships/slideLayout" Target="../slideLayouts/slideLayout297.xml"/><Relationship Id="rId43" Type="http://schemas.openxmlformats.org/officeDocument/2006/relationships/slideLayout" Target="../slideLayouts/slideLayout305.xml"/><Relationship Id="rId48" Type="http://schemas.openxmlformats.org/officeDocument/2006/relationships/slideLayout" Target="../slideLayouts/slideLayout310.xml"/><Relationship Id="rId56" Type="http://schemas.openxmlformats.org/officeDocument/2006/relationships/slideLayout" Target="../slideLayouts/slideLayout318.xml"/><Relationship Id="rId64" Type="http://schemas.openxmlformats.org/officeDocument/2006/relationships/slideLayout" Target="../slideLayouts/slideLayout326.xml"/><Relationship Id="rId69" Type="http://schemas.openxmlformats.org/officeDocument/2006/relationships/slideLayout" Target="../slideLayouts/slideLayout331.xml"/><Relationship Id="rId77" Type="http://schemas.openxmlformats.org/officeDocument/2006/relationships/slideLayout" Target="../slideLayouts/slideLayout339.xml"/><Relationship Id="rId8" Type="http://schemas.openxmlformats.org/officeDocument/2006/relationships/slideLayout" Target="../slideLayouts/slideLayout270.xml"/><Relationship Id="rId51" Type="http://schemas.openxmlformats.org/officeDocument/2006/relationships/slideLayout" Target="../slideLayouts/slideLayout313.xml"/><Relationship Id="rId72" Type="http://schemas.openxmlformats.org/officeDocument/2006/relationships/slideLayout" Target="../slideLayouts/slideLayout334.xml"/><Relationship Id="rId80" Type="http://schemas.openxmlformats.org/officeDocument/2006/relationships/slideLayout" Target="../slideLayouts/slideLayout342.xml"/><Relationship Id="rId85" Type="http://schemas.openxmlformats.org/officeDocument/2006/relationships/slideLayout" Target="../slideLayouts/slideLayout347.xml"/><Relationship Id="rId3" Type="http://schemas.openxmlformats.org/officeDocument/2006/relationships/slideLayout" Target="../slideLayouts/slideLayout265.xml"/><Relationship Id="rId12" Type="http://schemas.openxmlformats.org/officeDocument/2006/relationships/slideLayout" Target="../slideLayouts/slideLayout274.xml"/><Relationship Id="rId17" Type="http://schemas.openxmlformats.org/officeDocument/2006/relationships/slideLayout" Target="../slideLayouts/slideLayout279.xml"/><Relationship Id="rId25" Type="http://schemas.openxmlformats.org/officeDocument/2006/relationships/slideLayout" Target="../slideLayouts/slideLayout287.xml"/><Relationship Id="rId33" Type="http://schemas.openxmlformats.org/officeDocument/2006/relationships/slideLayout" Target="../slideLayouts/slideLayout295.xml"/><Relationship Id="rId38" Type="http://schemas.openxmlformats.org/officeDocument/2006/relationships/slideLayout" Target="../slideLayouts/slideLayout300.xml"/><Relationship Id="rId46" Type="http://schemas.openxmlformats.org/officeDocument/2006/relationships/slideLayout" Target="../slideLayouts/slideLayout308.xml"/><Relationship Id="rId59" Type="http://schemas.openxmlformats.org/officeDocument/2006/relationships/slideLayout" Target="../slideLayouts/slideLayout321.xml"/><Relationship Id="rId67" Type="http://schemas.openxmlformats.org/officeDocument/2006/relationships/slideLayout" Target="../slideLayouts/slideLayout329.xml"/><Relationship Id="rId20" Type="http://schemas.openxmlformats.org/officeDocument/2006/relationships/slideLayout" Target="../slideLayouts/slideLayout282.xml"/><Relationship Id="rId41" Type="http://schemas.openxmlformats.org/officeDocument/2006/relationships/slideLayout" Target="../slideLayouts/slideLayout303.xml"/><Relationship Id="rId54" Type="http://schemas.openxmlformats.org/officeDocument/2006/relationships/slideLayout" Target="../slideLayouts/slideLayout316.xml"/><Relationship Id="rId62" Type="http://schemas.openxmlformats.org/officeDocument/2006/relationships/slideLayout" Target="../slideLayouts/slideLayout324.xml"/><Relationship Id="rId70" Type="http://schemas.openxmlformats.org/officeDocument/2006/relationships/slideLayout" Target="../slideLayouts/slideLayout332.xml"/><Relationship Id="rId75" Type="http://schemas.openxmlformats.org/officeDocument/2006/relationships/slideLayout" Target="../slideLayouts/slideLayout337.xml"/><Relationship Id="rId83" Type="http://schemas.openxmlformats.org/officeDocument/2006/relationships/slideLayout" Target="../slideLayouts/slideLayout345.xml"/><Relationship Id="rId88" Type="http://schemas.openxmlformats.org/officeDocument/2006/relationships/image" Target="../media/image26.png"/><Relationship Id="rId1" Type="http://schemas.openxmlformats.org/officeDocument/2006/relationships/slideLayout" Target="../slideLayouts/slideLayout263.xml"/><Relationship Id="rId6" Type="http://schemas.openxmlformats.org/officeDocument/2006/relationships/slideLayout" Target="../slideLayouts/slideLayout268.xml"/><Relationship Id="rId15" Type="http://schemas.openxmlformats.org/officeDocument/2006/relationships/slideLayout" Target="../slideLayouts/slideLayout277.xml"/><Relationship Id="rId23" Type="http://schemas.openxmlformats.org/officeDocument/2006/relationships/slideLayout" Target="../slideLayouts/slideLayout285.xml"/><Relationship Id="rId28" Type="http://schemas.openxmlformats.org/officeDocument/2006/relationships/slideLayout" Target="../slideLayouts/slideLayout290.xml"/><Relationship Id="rId36" Type="http://schemas.openxmlformats.org/officeDocument/2006/relationships/slideLayout" Target="../slideLayouts/slideLayout298.xml"/><Relationship Id="rId49" Type="http://schemas.openxmlformats.org/officeDocument/2006/relationships/slideLayout" Target="../slideLayouts/slideLayout311.xml"/><Relationship Id="rId57" Type="http://schemas.openxmlformats.org/officeDocument/2006/relationships/slideLayout" Target="../slideLayouts/slideLayout319.xml"/><Relationship Id="rId10" Type="http://schemas.openxmlformats.org/officeDocument/2006/relationships/slideLayout" Target="../slideLayouts/slideLayout272.xml"/><Relationship Id="rId31" Type="http://schemas.openxmlformats.org/officeDocument/2006/relationships/slideLayout" Target="../slideLayouts/slideLayout293.xml"/><Relationship Id="rId44" Type="http://schemas.openxmlformats.org/officeDocument/2006/relationships/slideLayout" Target="../slideLayouts/slideLayout306.xml"/><Relationship Id="rId52" Type="http://schemas.openxmlformats.org/officeDocument/2006/relationships/slideLayout" Target="../slideLayouts/slideLayout314.xml"/><Relationship Id="rId60" Type="http://schemas.openxmlformats.org/officeDocument/2006/relationships/slideLayout" Target="../slideLayouts/slideLayout322.xml"/><Relationship Id="rId65" Type="http://schemas.openxmlformats.org/officeDocument/2006/relationships/slideLayout" Target="../slideLayouts/slideLayout327.xml"/><Relationship Id="rId73" Type="http://schemas.openxmlformats.org/officeDocument/2006/relationships/slideLayout" Target="../slideLayouts/slideLayout335.xml"/><Relationship Id="rId78" Type="http://schemas.openxmlformats.org/officeDocument/2006/relationships/slideLayout" Target="../slideLayouts/slideLayout340.xml"/><Relationship Id="rId81" Type="http://schemas.openxmlformats.org/officeDocument/2006/relationships/slideLayout" Target="../slideLayouts/slideLayout343.xml"/><Relationship Id="rId86" Type="http://schemas.openxmlformats.org/officeDocument/2006/relationships/slideLayout" Target="../slideLayouts/slideLayout3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294.xml"/><Relationship Id="rId3" Type="http://schemas.openxmlformats.org/officeDocument/2006/relationships/slideLayout" Target="../slideLayouts/slideLayout351.xml"/><Relationship Id="rId7" Type="http://schemas.openxmlformats.org/officeDocument/2006/relationships/tags" Target="../tags/tag293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350.xml"/><Relationship Id="rId1" Type="http://schemas.openxmlformats.org/officeDocument/2006/relationships/slideLayout" Target="../slideLayouts/slideLayout349.xml"/><Relationship Id="rId6" Type="http://schemas.openxmlformats.org/officeDocument/2006/relationships/vmlDrawing" Target="../drawings/vmlDrawing151.vml"/><Relationship Id="rId11" Type="http://schemas.openxmlformats.org/officeDocument/2006/relationships/image" Target="../media/image2.png"/><Relationship Id="rId5" Type="http://schemas.openxmlformats.org/officeDocument/2006/relationships/theme" Target="../theme/theme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52.xml"/><Relationship Id="rId9" Type="http://schemas.openxmlformats.org/officeDocument/2006/relationships/oleObject" Target="../embeddings/oleObject26.bin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78.xml"/><Relationship Id="rId21" Type="http://schemas.openxmlformats.org/officeDocument/2006/relationships/slideLayout" Target="../slideLayouts/slideLayout373.xml"/><Relationship Id="rId34" Type="http://schemas.openxmlformats.org/officeDocument/2006/relationships/slideLayout" Target="../slideLayouts/slideLayout386.xml"/><Relationship Id="rId42" Type="http://schemas.openxmlformats.org/officeDocument/2006/relationships/slideLayout" Target="../slideLayouts/slideLayout394.xml"/><Relationship Id="rId47" Type="http://schemas.openxmlformats.org/officeDocument/2006/relationships/slideLayout" Target="../slideLayouts/slideLayout399.xml"/><Relationship Id="rId50" Type="http://schemas.openxmlformats.org/officeDocument/2006/relationships/slideLayout" Target="../slideLayouts/slideLayout402.xml"/><Relationship Id="rId55" Type="http://schemas.openxmlformats.org/officeDocument/2006/relationships/slideLayout" Target="../slideLayouts/slideLayout407.xml"/><Relationship Id="rId63" Type="http://schemas.openxmlformats.org/officeDocument/2006/relationships/slideLayout" Target="../slideLayouts/slideLayout415.xml"/><Relationship Id="rId68" Type="http://schemas.openxmlformats.org/officeDocument/2006/relationships/slideLayout" Target="../slideLayouts/slideLayout420.xml"/><Relationship Id="rId76" Type="http://schemas.openxmlformats.org/officeDocument/2006/relationships/slideLayout" Target="../slideLayouts/slideLayout428.xml"/><Relationship Id="rId84" Type="http://schemas.openxmlformats.org/officeDocument/2006/relationships/slideLayout" Target="../slideLayouts/slideLayout436.xml"/><Relationship Id="rId89" Type="http://schemas.openxmlformats.org/officeDocument/2006/relationships/slideLayout" Target="../slideLayouts/slideLayout441.xml"/><Relationship Id="rId97" Type="http://schemas.openxmlformats.org/officeDocument/2006/relationships/oleObject" Target="../embeddings/oleObject29.bin"/><Relationship Id="rId7" Type="http://schemas.openxmlformats.org/officeDocument/2006/relationships/slideLayout" Target="../slideLayouts/slideLayout359.xml"/><Relationship Id="rId71" Type="http://schemas.openxmlformats.org/officeDocument/2006/relationships/slideLayout" Target="../slideLayouts/slideLayout423.xml"/><Relationship Id="rId92" Type="http://schemas.openxmlformats.org/officeDocument/2006/relationships/slideLayout" Target="../slideLayouts/slideLayout444.xml"/><Relationship Id="rId2" Type="http://schemas.openxmlformats.org/officeDocument/2006/relationships/slideLayout" Target="../slideLayouts/slideLayout354.xml"/><Relationship Id="rId16" Type="http://schemas.openxmlformats.org/officeDocument/2006/relationships/slideLayout" Target="../slideLayouts/slideLayout368.xml"/><Relationship Id="rId29" Type="http://schemas.openxmlformats.org/officeDocument/2006/relationships/slideLayout" Target="../slideLayouts/slideLayout381.xml"/><Relationship Id="rId11" Type="http://schemas.openxmlformats.org/officeDocument/2006/relationships/slideLayout" Target="../slideLayouts/slideLayout363.xml"/><Relationship Id="rId24" Type="http://schemas.openxmlformats.org/officeDocument/2006/relationships/slideLayout" Target="../slideLayouts/slideLayout376.xml"/><Relationship Id="rId32" Type="http://schemas.openxmlformats.org/officeDocument/2006/relationships/slideLayout" Target="../slideLayouts/slideLayout384.xml"/><Relationship Id="rId37" Type="http://schemas.openxmlformats.org/officeDocument/2006/relationships/slideLayout" Target="../slideLayouts/slideLayout389.xml"/><Relationship Id="rId40" Type="http://schemas.openxmlformats.org/officeDocument/2006/relationships/slideLayout" Target="../slideLayouts/slideLayout392.xml"/><Relationship Id="rId45" Type="http://schemas.openxmlformats.org/officeDocument/2006/relationships/slideLayout" Target="../slideLayouts/slideLayout397.xml"/><Relationship Id="rId53" Type="http://schemas.openxmlformats.org/officeDocument/2006/relationships/slideLayout" Target="../slideLayouts/slideLayout405.xml"/><Relationship Id="rId58" Type="http://schemas.openxmlformats.org/officeDocument/2006/relationships/slideLayout" Target="../slideLayouts/slideLayout410.xml"/><Relationship Id="rId66" Type="http://schemas.openxmlformats.org/officeDocument/2006/relationships/slideLayout" Target="../slideLayouts/slideLayout418.xml"/><Relationship Id="rId74" Type="http://schemas.openxmlformats.org/officeDocument/2006/relationships/slideLayout" Target="../slideLayouts/slideLayout426.xml"/><Relationship Id="rId79" Type="http://schemas.openxmlformats.org/officeDocument/2006/relationships/slideLayout" Target="../slideLayouts/slideLayout431.xml"/><Relationship Id="rId87" Type="http://schemas.openxmlformats.org/officeDocument/2006/relationships/slideLayout" Target="../slideLayouts/slideLayout439.xml"/><Relationship Id="rId5" Type="http://schemas.openxmlformats.org/officeDocument/2006/relationships/slideLayout" Target="../slideLayouts/slideLayout357.xml"/><Relationship Id="rId61" Type="http://schemas.openxmlformats.org/officeDocument/2006/relationships/slideLayout" Target="../slideLayouts/slideLayout413.xml"/><Relationship Id="rId82" Type="http://schemas.openxmlformats.org/officeDocument/2006/relationships/slideLayout" Target="../slideLayouts/slideLayout434.xml"/><Relationship Id="rId90" Type="http://schemas.openxmlformats.org/officeDocument/2006/relationships/slideLayout" Target="../slideLayouts/slideLayout442.xml"/><Relationship Id="rId95" Type="http://schemas.openxmlformats.org/officeDocument/2006/relationships/tags" Target="../tags/tag299.xml"/><Relationship Id="rId19" Type="http://schemas.openxmlformats.org/officeDocument/2006/relationships/slideLayout" Target="../slideLayouts/slideLayout371.xml"/><Relationship Id="rId14" Type="http://schemas.openxmlformats.org/officeDocument/2006/relationships/slideLayout" Target="../slideLayouts/slideLayout366.xml"/><Relationship Id="rId22" Type="http://schemas.openxmlformats.org/officeDocument/2006/relationships/slideLayout" Target="../slideLayouts/slideLayout374.xml"/><Relationship Id="rId27" Type="http://schemas.openxmlformats.org/officeDocument/2006/relationships/slideLayout" Target="../slideLayouts/slideLayout379.xml"/><Relationship Id="rId30" Type="http://schemas.openxmlformats.org/officeDocument/2006/relationships/slideLayout" Target="../slideLayouts/slideLayout382.xml"/><Relationship Id="rId35" Type="http://schemas.openxmlformats.org/officeDocument/2006/relationships/slideLayout" Target="../slideLayouts/slideLayout387.xml"/><Relationship Id="rId43" Type="http://schemas.openxmlformats.org/officeDocument/2006/relationships/slideLayout" Target="../slideLayouts/slideLayout395.xml"/><Relationship Id="rId48" Type="http://schemas.openxmlformats.org/officeDocument/2006/relationships/slideLayout" Target="../slideLayouts/slideLayout400.xml"/><Relationship Id="rId56" Type="http://schemas.openxmlformats.org/officeDocument/2006/relationships/slideLayout" Target="../slideLayouts/slideLayout408.xml"/><Relationship Id="rId64" Type="http://schemas.openxmlformats.org/officeDocument/2006/relationships/slideLayout" Target="../slideLayouts/slideLayout416.xml"/><Relationship Id="rId69" Type="http://schemas.openxmlformats.org/officeDocument/2006/relationships/slideLayout" Target="../slideLayouts/slideLayout421.xml"/><Relationship Id="rId77" Type="http://schemas.openxmlformats.org/officeDocument/2006/relationships/slideLayout" Target="../slideLayouts/slideLayout429.xml"/><Relationship Id="rId100" Type="http://schemas.openxmlformats.org/officeDocument/2006/relationships/image" Target="../media/image3.emf"/><Relationship Id="rId8" Type="http://schemas.openxmlformats.org/officeDocument/2006/relationships/slideLayout" Target="../slideLayouts/slideLayout360.xml"/><Relationship Id="rId51" Type="http://schemas.openxmlformats.org/officeDocument/2006/relationships/slideLayout" Target="../slideLayouts/slideLayout403.xml"/><Relationship Id="rId72" Type="http://schemas.openxmlformats.org/officeDocument/2006/relationships/slideLayout" Target="../slideLayouts/slideLayout424.xml"/><Relationship Id="rId80" Type="http://schemas.openxmlformats.org/officeDocument/2006/relationships/slideLayout" Target="../slideLayouts/slideLayout432.xml"/><Relationship Id="rId85" Type="http://schemas.openxmlformats.org/officeDocument/2006/relationships/slideLayout" Target="../slideLayouts/slideLayout437.xml"/><Relationship Id="rId93" Type="http://schemas.openxmlformats.org/officeDocument/2006/relationships/theme" Target="../theme/theme6.xml"/><Relationship Id="rId98" Type="http://schemas.openxmlformats.org/officeDocument/2006/relationships/image" Target="../media/image1.emf"/><Relationship Id="rId3" Type="http://schemas.openxmlformats.org/officeDocument/2006/relationships/slideLayout" Target="../slideLayouts/slideLayout355.xml"/><Relationship Id="rId12" Type="http://schemas.openxmlformats.org/officeDocument/2006/relationships/slideLayout" Target="../slideLayouts/slideLayout364.xml"/><Relationship Id="rId17" Type="http://schemas.openxmlformats.org/officeDocument/2006/relationships/slideLayout" Target="../slideLayouts/slideLayout369.xml"/><Relationship Id="rId25" Type="http://schemas.openxmlformats.org/officeDocument/2006/relationships/slideLayout" Target="../slideLayouts/slideLayout377.xml"/><Relationship Id="rId33" Type="http://schemas.openxmlformats.org/officeDocument/2006/relationships/slideLayout" Target="../slideLayouts/slideLayout385.xml"/><Relationship Id="rId38" Type="http://schemas.openxmlformats.org/officeDocument/2006/relationships/slideLayout" Target="../slideLayouts/slideLayout390.xml"/><Relationship Id="rId46" Type="http://schemas.openxmlformats.org/officeDocument/2006/relationships/slideLayout" Target="../slideLayouts/slideLayout398.xml"/><Relationship Id="rId59" Type="http://schemas.openxmlformats.org/officeDocument/2006/relationships/slideLayout" Target="../slideLayouts/slideLayout411.xml"/><Relationship Id="rId67" Type="http://schemas.openxmlformats.org/officeDocument/2006/relationships/slideLayout" Target="../slideLayouts/slideLayout419.xml"/><Relationship Id="rId20" Type="http://schemas.openxmlformats.org/officeDocument/2006/relationships/slideLayout" Target="../slideLayouts/slideLayout372.xml"/><Relationship Id="rId41" Type="http://schemas.openxmlformats.org/officeDocument/2006/relationships/slideLayout" Target="../slideLayouts/slideLayout393.xml"/><Relationship Id="rId54" Type="http://schemas.openxmlformats.org/officeDocument/2006/relationships/slideLayout" Target="../slideLayouts/slideLayout406.xml"/><Relationship Id="rId62" Type="http://schemas.openxmlformats.org/officeDocument/2006/relationships/slideLayout" Target="../slideLayouts/slideLayout414.xml"/><Relationship Id="rId70" Type="http://schemas.openxmlformats.org/officeDocument/2006/relationships/slideLayout" Target="../slideLayouts/slideLayout422.xml"/><Relationship Id="rId75" Type="http://schemas.openxmlformats.org/officeDocument/2006/relationships/slideLayout" Target="../slideLayouts/slideLayout427.xml"/><Relationship Id="rId83" Type="http://schemas.openxmlformats.org/officeDocument/2006/relationships/slideLayout" Target="../slideLayouts/slideLayout435.xml"/><Relationship Id="rId88" Type="http://schemas.openxmlformats.org/officeDocument/2006/relationships/slideLayout" Target="../slideLayouts/slideLayout440.xml"/><Relationship Id="rId91" Type="http://schemas.openxmlformats.org/officeDocument/2006/relationships/slideLayout" Target="../slideLayouts/slideLayout443.xml"/><Relationship Id="rId96" Type="http://schemas.openxmlformats.org/officeDocument/2006/relationships/tags" Target="../tags/tag300.xml"/><Relationship Id="rId1" Type="http://schemas.openxmlformats.org/officeDocument/2006/relationships/slideLayout" Target="../slideLayouts/slideLayout353.xml"/><Relationship Id="rId6" Type="http://schemas.openxmlformats.org/officeDocument/2006/relationships/slideLayout" Target="../slideLayouts/slideLayout358.xml"/><Relationship Id="rId15" Type="http://schemas.openxmlformats.org/officeDocument/2006/relationships/slideLayout" Target="../slideLayouts/slideLayout367.xml"/><Relationship Id="rId23" Type="http://schemas.openxmlformats.org/officeDocument/2006/relationships/slideLayout" Target="../slideLayouts/slideLayout375.xml"/><Relationship Id="rId28" Type="http://schemas.openxmlformats.org/officeDocument/2006/relationships/slideLayout" Target="../slideLayouts/slideLayout380.xml"/><Relationship Id="rId36" Type="http://schemas.openxmlformats.org/officeDocument/2006/relationships/slideLayout" Target="../slideLayouts/slideLayout388.xml"/><Relationship Id="rId49" Type="http://schemas.openxmlformats.org/officeDocument/2006/relationships/slideLayout" Target="../slideLayouts/slideLayout401.xml"/><Relationship Id="rId57" Type="http://schemas.openxmlformats.org/officeDocument/2006/relationships/slideLayout" Target="../slideLayouts/slideLayout409.xml"/><Relationship Id="rId10" Type="http://schemas.openxmlformats.org/officeDocument/2006/relationships/slideLayout" Target="../slideLayouts/slideLayout362.xml"/><Relationship Id="rId31" Type="http://schemas.openxmlformats.org/officeDocument/2006/relationships/slideLayout" Target="../slideLayouts/slideLayout383.xml"/><Relationship Id="rId44" Type="http://schemas.openxmlformats.org/officeDocument/2006/relationships/slideLayout" Target="../slideLayouts/slideLayout396.xml"/><Relationship Id="rId52" Type="http://schemas.openxmlformats.org/officeDocument/2006/relationships/slideLayout" Target="../slideLayouts/slideLayout404.xml"/><Relationship Id="rId60" Type="http://schemas.openxmlformats.org/officeDocument/2006/relationships/slideLayout" Target="../slideLayouts/slideLayout412.xml"/><Relationship Id="rId65" Type="http://schemas.openxmlformats.org/officeDocument/2006/relationships/slideLayout" Target="../slideLayouts/slideLayout417.xml"/><Relationship Id="rId73" Type="http://schemas.openxmlformats.org/officeDocument/2006/relationships/slideLayout" Target="../slideLayouts/slideLayout425.xml"/><Relationship Id="rId78" Type="http://schemas.openxmlformats.org/officeDocument/2006/relationships/slideLayout" Target="../slideLayouts/slideLayout430.xml"/><Relationship Id="rId81" Type="http://schemas.openxmlformats.org/officeDocument/2006/relationships/slideLayout" Target="../slideLayouts/slideLayout433.xml"/><Relationship Id="rId86" Type="http://schemas.openxmlformats.org/officeDocument/2006/relationships/slideLayout" Target="../slideLayouts/slideLayout438.xml"/><Relationship Id="rId94" Type="http://schemas.openxmlformats.org/officeDocument/2006/relationships/vmlDrawing" Target="../drawings/vmlDrawing154.vml"/><Relationship Id="rId99" Type="http://schemas.openxmlformats.org/officeDocument/2006/relationships/image" Target="../media/image2.png"/><Relationship Id="rId4" Type="http://schemas.openxmlformats.org/officeDocument/2006/relationships/slideLayout" Target="../slideLayouts/slideLayout356.xml"/><Relationship Id="rId9" Type="http://schemas.openxmlformats.org/officeDocument/2006/relationships/slideLayout" Target="../slideLayouts/slideLayout361.xml"/><Relationship Id="rId13" Type="http://schemas.openxmlformats.org/officeDocument/2006/relationships/slideLayout" Target="../slideLayouts/slideLayout365.xml"/><Relationship Id="rId18" Type="http://schemas.openxmlformats.org/officeDocument/2006/relationships/slideLayout" Target="../slideLayouts/slideLayout370.xml"/><Relationship Id="rId39" Type="http://schemas.openxmlformats.org/officeDocument/2006/relationships/slideLayout" Target="../slideLayouts/slideLayout39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7.xml"/><Relationship Id="rId18" Type="http://schemas.openxmlformats.org/officeDocument/2006/relationships/slideLayout" Target="../slideLayouts/slideLayout462.xml"/><Relationship Id="rId26" Type="http://schemas.openxmlformats.org/officeDocument/2006/relationships/slideLayout" Target="../slideLayouts/slideLayout470.xml"/><Relationship Id="rId39" Type="http://schemas.openxmlformats.org/officeDocument/2006/relationships/slideLayout" Target="../slideLayouts/slideLayout483.xml"/><Relationship Id="rId21" Type="http://schemas.openxmlformats.org/officeDocument/2006/relationships/slideLayout" Target="../slideLayouts/slideLayout465.xml"/><Relationship Id="rId34" Type="http://schemas.openxmlformats.org/officeDocument/2006/relationships/slideLayout" Target="../slideLayouts/slideLayout478.xml"/><Relationship Id="rId42" Type="http://schemas.openxmlformats.org/officeDocument/2006/relationships/slideLayout" Target="../slideLayouts/slideLayout486.xml"/><Relationship Id="rId47" Type="http://schemas.openxmlformats.org/officeDocument/2006/relationships/slideLayout" Target="../slideLayouts/slideLayout491.xml"/><Relationship Id="rId50" Type="http://schemas.openxmlformats.org/officeDocument/2006/relationships/slideLayout" Target="../slideLayouts/slideLayout494.xml"/><Relationship Id="rId55" Type="http://schemas.openxmlformats.org/officeDocument/2006/relationships/slideLayout" Target="../slideLayouts/slideLayout499.xml"/><Relationship Id="rId63" Type="http://schemas.openxmlformats.org/officeDocument/2006/relationships/slideLayout" Target="../slideLayouts/slideLayout507.xml"/><Relationship Id="rId68" Type="http://schemas.openxmlformats.org/officeDocument/2006/relationships/slideLayout" Target="../slideLayouts/slideLayout512.xml"/><Relationship Id="rId76" Type="http://schemas.openxmlformats.org/officeDocument/2006/relationships/slideLayout" Target="../slideLayouts/slideLayout520.xml"/><Relationship Id="rId84" Type="http://schemas.openxmlformats.org/officeDocument/2006/relationships/slideLayout" Target="../slideLayouts/slideLayout528.xml"/><Relationship Id="rId89" Type="http://schemas.openxmlformats.org/officeDocument/2006/relationships/vmlDrawing" Target="../drawings/vmlDrawing228.vml"/><Relationship Id="rId7" Type="http://schemas.openxmlformats.org/officeDocument/2006/relationships/slideLayout" Target="../slideLayouts/slideLayout451.xml"/><Relationship Id="rId71" Type="http://schemas.openxmlformats.org/officeDocument/2006/relationships/slideLayout" Target="../slideLayouts/slideLayout515.xml"/><Relationship Id="rId92" Type="http://schemas.openxmlformats.org/officeDocument/2006/relationships/oleObject" Target="../embeddings/oleObject41.bin"/><Relationship Id="rId2" Type="http://schemas.openxmlformats.org/officeDocument/2006/relationships/slideLayout" Target="../slideLayouts/slideLayout446.xml"/><Relationship Id="rId16" Type="http://schemas.openxmlformats.org/officeDocument/2006/relationships/slideLayout" Target="../slideLayouts/slideLayout460.xml"/><Relationship Id="rId29" Type="http://schemas.openxmlformats.org/officeDocument/2006/relationships/slideLayout" Target="../slideLayouts/slideLayout473.xml"/><Relationship Id="rId11" Type="http://schemas.openxmlformats.org/officeDocument/2006/relationships/slideLayout" Target="../slideLayouts/slideLayout455.xml"/><Relationship Id="rId24" Type="http://schemas.openxmlformats.org/officeDocument/2006/relationships/slideLayout" Target="../slideLayouts/slideLayout468.xml"/><Relationship Id="rId32" Type="http://schemas.openxmlformats.org/officeDocument/2006/relationships/slideLayout" Target="../slideLayouts/slideLayout476.xml"/><Relationship Id="rId37" Type="http://schemas.openxmlformats.org/officeDocument/2006/relationships/slideLayout" Target="../slideLayouts/slideLayout481.xml"/><Relationship Id="rId40" Type="http://schemas.openxmlformats.org/officeDocument/2006/relationships/slideLayout" Target="../slideLayouts/slideLayout484.xml"/><Relationship Id="rId45" Type="http://schemas.openxmlformats.org/officeDocument/2006/relationships/slideLayout" Target="../slideLayouts/slideLayout489.xml"/><Relationship Id="rId53" Type="http://schemas.openxmlformats.org/officeDocument/2006/relationships/slideLayout" Target="../slideLayouts/slideLayout497.xml"/><Relationship Id="rId58" Type="http://schemas.openxmlformats.org/officeDocument/2006/relationships/slideLayout" Target="../slideLayouts/slideLayout502.xml"/><Relationship Id="rId66" Type="http://schemas.openxmlformats.org/officeDocument/2006/relationships/slideLayout" Target="../slideLayouts/slideLayout510.xml"/><Relationship Id="rId74" Type="http://schemas.openxmlformats.org/officeDocument/2006/relationships/slideLayout" Target="../slideLayouts/slideLayout518.xml"/><Relationship Id="rId79" Type="http://schemas.openxmlformats.org/officeDocument/2006/relationships/slideLayout" Target="../slideLayouts/slideLayout523.xml"/><Relationship Id="rId87" Type="http://schemas.openxmlformats.org/officeDocument/2006/relationships/slideLayout" Target="../slideLayouts/slideLayout531.xml"/><Relationship Id="rId5" Type="http://schemas.openxmlformats.org/officeDocument/2006/relationships/slideLayout" Target="../slideLayouts/slideLayout449.xml"/><Relationship Id="rId61" Type="http://schemas.openxmlformats.org/officeDocument/2006/relationships/slideLayout" Target="../slideLayouts/slideLayout505.xml"/><Relationship Id="rId82" Type="http://schemas.openxmlformats.org/officeDocument/2006/relationships/slideLayout" Target="../slideLayouts/slideLayout526.xml"/><Relationship Id="rId90" Type="http://schemas.openxmlformats.org/officeDocument/2006/relationships/tags" Target="../tags/tag443.xml"/><Relationship Id="rId95" Type="http://schemas.openxmlformats.org/officeDocument/2006/relationships/image" Target="../media/image3.emf"/><Relationship Id="rId19" Type="http://schemas.openxmlformats.org/officeDocument/2006/relationships/slideLayout" Target="../slideLayouts/slideLayout463.xml"/><Relationship Id="rId14" Type="http://schemas.openxmlformats.org/officeDocument/2006/relationships/slideLayout" Target="../slideLayouts/slideLayout458.xml"/><Relationship Id="rId22" Type="http://schemas.openxmlformats.org/officeDocument/2006/relationships/slideLayout" Target="../slideLayouts/slideLayout466.xml"/><Relationship Id="rId27" Type="http://schemas.openxmlformats.org/officeDocument/2006/relationships/slideLayout" Target="../slideLayouts/slideLayout471.xml"/><Relationship Id="rId30" Type="http://schemas.openxmlformats.org/officeDocument/2006/relationships/slideLayout" Target="../slideLayouts/slideLayout474.xml"/><Relationship Id="rId35" Type="http://schemas.openxmlformats.org/officeDocument/2006/relationships/slideLayout" Target="../slideLayouts/slideLayout479.xml"/><Relationship Id="rId43" Type="http://schemas.openxmlformats.org/officeDocument/2006/relationships/slideLayout" Target="../slideLayouts/slideLayout487.xml"/><Relationship Id="rId48" Type="http://schemas.openxmlformats.org/officeDocument/2006/relationships/slideLayout" Target="../slideLayouts/slideLayout492.xml"/><Relationship Id="rId56" Type="http://schemas.openxmlformats.org/officeDocument/2006/relationships/slideLayout" Target="../slideLayouts/slideLayout500.xml"/><Relationship Id="rId64" Type="http://schemas.openxmlformats.org/officeDocument/2006/relationships/slideLayout" Target="../slideLayouts/slideLayout508.xml"/><Relationship Id="rId69" Type="http://schemas.openxmlformats.org/officeDocument/2006/relationships/slideLayout" Target="../slideLayouts/slideLayout513.xml"/><Relationship Id="rId77" Type="http://schemas.openxmlformats.org/officeDocument/2006/relationships/slideLayout" Target="../slideLayouts/slideLayout521.xml"/><Relationship Id="rId8" Type="http://schemas.openxmlformats.org/officeDocument/2006/relationships/slideLayout" Target="../slideLayouts/slideLayout452.xml"/><Relationship Id="rId51" Type="http://schemas.openxmlformats.org/officeDocument/2006/relationships/slideLayout" Target="../slideLayouts/slideLayout495.xml"/><Relationship Id="rId72" Type="http://schemas.openxmlformats.org/officeDocument/2006/relationships/slideLayout" Target="../slideLayouts/slideLayout516.xml"/><Relationship Id="rId80" Type="http://schemas.openxmlformats.org/officeDocument/2006/relationships/slideLayout" Target="../slideLayouts/slideLayout524.xml"/><Relationship Id="rId85" Type="http://schemas.openxmlformats.org/officeDocument/2006/relationships/slideLayout" Target="../slideLayouts/slideLayout529.xml"/><Relationship Id="rId93" Type="http://schemas.openxmlformats.org/officeDocument/2006/relationships/image" Target="../media/image1.emf"/><Relationship Id="rId3" Type="http://schemas.openxmlformats.org/officeDocument/2006/relationships/slideLayout" Target="../slideLayouts/slideLayout447.xml"/><Relationship Id="rId12" Type="http://schemas.openxmlformats.org/officeDocument/2006/relationships/slideLayout" Target="../slideLayouts/slideLayout456.xml"/><Relationship Id="rId17" Type="http://schemas.openxmlformats.org/officeDocument/2006/relationships/slideLayout" Target="../slideLayouts/slideLayout461.xml"/><Relationship Id="rId25" Type="http://schemas.openxmlformats.org/officeDocument/2006/relationships/slideLayout" Target="../slideLayouts/slideLayout469.xml"/><Relationship Id="rId33" Type="http://schemas.openxmlformats.org/officeDocument/2006/relationships/slideLayout" Target="../slideLayouts/slideLayout477.xml"/><Relationship Id="rId38" Type="http://schemas.openxmlformats.org/officeDocument/2006/relationships/slideLayout" Target="../slideLayouts/slideLayout482.xml"/><Relationship Id="rId46" Type="http://schemas.openxmlformats.org/officeDocument/2006/relationships/slideLayout" Target="../slideLayouts/slideLayout490.xml"/><Relationship Id="rId59" Type="http://schemas.openxmlformats.org/officeDocument/2006/relationships/slideLayout" Target="../slideLayouts/slideLayout503.xml"/><Relationship Id="rId67" Type="http://schemas.openxmlformats.org/officeDocument/2006/relationships/slideLayout" Target="../slideLayouts/slideLayout511.xml"/><Relationship Id="rId20" Type="http://schemas.openxmlformats.org/officeDocument/2006/relationships/slideLayout" Target="../slideLayouts/slideLayout464.xml"/><Relationship Id="rId41" Type="http://schemas.openxmlformats.org/officeDocument/2006/relationships/slideLayout" Target="../slideLayouts/slideLayout485.xml"/><Relationship Id="rId54" Type="http://schemas.openxmlformats.org/officeDocument/2006/relationships/slideLayout" Target="../slideLayouts/slideLayout498.xml"/><Relationship Id="rId62" Type="http://schemas.openxmlformats.org/officeDocument/2006/relationships/slideLayout" Target="../slideLayouts/slideLayout506.xml"/><Relationship Id="rId70" Type="http://schemas.openxmlformats.org/officeDocument/2006/relationships/slideLayout" Target="../slideLayouts/slideLayout514.xml"/><Relationship Id="rId75" Type="http://schemas.openxmlformats.org/officeDocument/2006/relationships/slideLayout" Target="../slideLayouts/slideLayout519.xml"/><Relationship Id="rId83" Type="http://schemas.openxmlformats.org/officeDocument/2006/relationships/slideLayout" Target="../slideLayouts/slideLayout527.xml"/><Relationship Id="rId88" Type="http://schemas.openxmlformats.org/officeDocument/2006/relationships/theme" Target="../theme/theme7.xml"/><Relationship Id="rId91" Type="http://schemas.openxmlformats.org/officeDocument/2006/relationships/tags" Target="../tags/tag444.xml"/><Relationship Id="rId1" Type="http://schemas.openxmlformats.org/officeDocument/2006/relationships/slideLayout" Target="../slideLayouts/slideLayout445.xml"/><Relationship Id="rId6" Type="http://schemas.openxmlformats.org/officeDocument/2006/relationships/slideLayout" Target="../slideLayouts/slideLayout450.xml"/><Relationship Id="rId15" Type="http://schemas.openxmlformats.org/officeDocument/2006/relationships/slideLayout" Target="../slideLayouts/slideLayout459.xml"/><Relationship Id="rId23" Type="http://schemas.openxmlformats.org/officeDocument/2006/relationships/slideLayout" Target="../slideLayouts/slideLayout467.xml"/><Relationship Id="rId28" Type="http://schemas.openxmlformats.org/officeDocument/2006/relationships/slideLayout" Target="../slideLayouts/slideLayout472.xml"/><Relationship Id="rId36" Type="http://schemas.openxmlformats.org/officeDocument/2006/relationships/slideLayout" Target="../slideLayouts/slideLayout480.xml"/><Relationship Id="rId49" Type="http://schemas.openxmlformats.org/officeDocument/2006/relationships/slideLayout" Target="../slideLayouts/slideLayout493.xml"/><Relationship Id="rId57" Type="http://schemas.openxmlformats.org/officeDocument/2006/relationships/slideLayout" Target="../slideLayouts/slideLayout501.xml"/><Relationship Id="rId10" Type="http://schemas.openxmlformats.org/officeDocument/2006/relationships/slideLayout" Target="../slideLayouts/slideLayout454.xml"/><Relationship Id="rId31" Type="http://schemas.openxmlformats.org/officeDocument/2006/relationships/slideLayout" Target="../slideLayouts/slideLayout475.xml"/><Relationship Id="rId44" Type="http://schemas.openxmlformats.org/officeDocument/2006/relationships/slideLayout" Target="../slideLayouts/slideLayout488.xml"/><Relationship Id="rId52" Type="http://schemas.openxmlformats.org/officeDocument/2006/relationships/slideLayout" Target="../slideLayouts/slideLayout496.xml"/><Relationship Id="rId60" Type="http://schemas.openxmlformats.org/officeDocument/2006/relationships/slideLayout" Target="../slideLayouts/slideLayout504.xml"/><Relationship Id="rId65" Type="http://schemas.openxmlformats.org/officeDocument/2006/relationships/slideLayout" Target="../slideLayouts/slideLayout509.xml"/><Relationship Id="rId73" Type="http://schemas.openxmlformats.org/officeDocument/2006/relationships/slideLayout" Target="../slideLayouts/slideLayout517.xml"/><Relationship Id="rId78" Type="http://schemas.openxmlformats.org/officeDocument/2006/relationships/slideLayout" Target="../slideLayouts/slideLayout522.xml"/><Relationship Id="rId81" Type="http://schemas.openxmlformats.org/officeDocument/2006/relationships/slideLayout" Target="../slideLayouts/slideLayout525.xml"/><Relationship Id="rId86" Type="http://schemas.openxmlformats.org/officeDocument/2006/relationships/slideLayout" Target="../slideLayouts/slideLayout530.xml"/><Relationship Id="rId94" Type="http://schemas.openxmlformats.org/officeDocument/2006/relationships/image" Target="../media/image2.png"/><Relationship Id="rId4" Type="http://schemas.openxmlformats.org/officeDocument/2006/relationships/slideLayout" Target="../slideLayouts/slideLayout448.xml"/><Relationship Id="rId9" Type="http://schemas.openxmlformats.org/officeDocument/2006/relationships/slideLayout" Target="../slideLayouts/slideLayout453.xml"/></Relationships>
</file>

<file path=ppt/slideMasters/_rels/slideMaster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57.xml"/><Relationship Id="rId21" Type="http://schemas.openxmlformats.org/officeDocument/2006/relationships/slideLayout" Target="../slideLayouts/slideLayout552.xml"/><Relationship Id="rId34" Type="http://schemas.openxmlformats.org/officeDocument/2006/relationships/slideLayout" Target="../slideLayouts/slideLayout565.xml"/><Relationship Id="rId42" Type="http://schemas.openxmlformats.org/officeDocument/2006/relationships/slideLayout" Target="../slideLayouts/slideLayout573.xml"/><Relationship Id="rId47" Type="http://schemas.openxmlformats.org/officeDocument/2006/relationships/slideLayout" Target="../slideLayouts/slideLayout578.xml"/><Relationship Id="rId50" Type="http://schemas.openxmlformats.org/officeDocument/2006/relationships/slideLayout" Target="../slideLayouts/slideLayout581.xml"/><Relationship Id="rId55" Type="http://schemas.openxmlformats.org/officeDocument/2006/relationships/slideLayout" Target="../slideLayouts/slideLayout586.xml"/><Relationship Id="rId63" Type="http://schemas.openxmlformats.org/officeDocument/2006/relationships/slideLayout" Target="../slideLayouts/slideLayout594.xml"/><Relationship Id="rId68" Type="http://schemas.openxmlformats.org/officeDocument/2006/relationships/slideLayout" Target="../slideLayouts/slideLayout599.xml"/><Relationship Id="rId76" Type="http://schemas.openxmlformats.org/officeDocument/2006/relationships/slideLayout" Target="../slideLayouts/slideLayout607.xml"/><Relationship Id="rId84" Type="http://schemas.openxmlformats.org/officeDocument/2006/relationships/slideLayout" Target="../slideLayouts/slideLayout615.xml"/><Relationship Id="rId89" Type="http://schemas.openxmlformats.org/officeDocument/2006/relationships/slideLayout" Target="../slideLayouts/slideLayout620.xml"/><Relationship Id="rId97" Type="http://schemas.openxmlformats.org/officeDocument/2006/relationships/image" Target="../media/image3.emf"/><Relationship Id="rId7" Type="http://schemas.openxmlformats.org/officeDocument/2006/relationships/slideLayout" Target="../slideLayouts/slideLayout538.xml"/><Relationship Id="rId71" Type="http://schemas.openxmlformats.org/officeDocument/2006/relationships/slideLayout" Target="../slideLayouts/slideLayout602.xml"/><Relationship Id="rId92" Type="http://schemas.openxmlformats.org/officeDocument/2006/relationships/tags" Target="../tags/tag587.xml"/><Relationship Id="rId2" Type="http://schemas.openxmlformats.org/officeDocument/2006/relationships/slideLayout" Target="../slideLayouts/slideLayout533.xml"/><Relationship Id="rId16" Type="http://schemas.openxmlformats.org/officeDocument/2006/relationships/slideLayout" Target="../slideLayouts/slideLayout547.xml"/><Relationship Id="rId29" Type="http://schemas.openxmlformats.org/officeDocument/2006/relationships/slideLayout" Target="../slideLayouts/slideLayout560.xml"/><Relationship Id="rId11" Type="http://schemas.openxmlformats.org/officeDocument/2006/relationships/slideLayout" Target="../slideLayouts/slideLayout542.xml"/><Relationship Id="rId24" Type="http://schemas.openxmlformats.org/officeDocument/2006/relationships/slideLayout" Target="../slideLayouts/slideLayout555.xml"/><Relationship Id="rId32" Type="http://schemas.openxmlformats.org/officeDocument/2006/relationships/slideLayout" Target="../slideLayouts/slideLayout563.xml"/><Relationship Id="rId37" Type="http://schemas.openxmlformats.org/officeDocument/2006/relationships/slideLayout" Target="../slideLayouts/slideLayout568.xml"/><Relationship Id="rId40" Type="http://schemas.openxmlformats.org/officeDocument/2006/relationships/slideLayout" Target="../slideLayouts/slideLayout571.xml"/><Relationship Id="rId45" Type="http://schemas.openxmlformats.org/officeDocument/2006/relationships/slideLayout" Target="../slideLayouts/slideLayout576.xml"/><Relationship Id="rId53" Type="http://schemas.openxmlformats.org/officeDocument/2006/relationships/slideLayout" Target="../slideLayouts/slideLayout584.xml"/><Relationship Id="rId58" Type="http://schemas.openxmlformats.org/officeDocument/2006/relationships/slideLayout" Target="../slideLayouts/slideLayout589.xml"/><Relationship Id="rId66" Type="http://schemas.openxmlformats.org/officeDocument/2006/relationships/slideLayout" Target="../slideLayouts/slideLayout597.xml"/><Relationship Id="rId74" Type="http://schemas.openxmlformats.org/officeDocument/2006/relationships/slideLayout" Target="../slideLayouts/slideLayout605.xml"/><Relationship Id="rId79" Type="http://schemas.openxmlformats.org/officeDocument/2006/relationships/slideLayout" Target="../slideLayouts/slideLayout610.xml"/><Relationship Id="rId87" Type="http://schemas.openxmlformats.org/officeDocument/2006/relationships/slideLayout" Target="../slideLayouts/slideLayout618.xml"/><Relationship Id="rId5" Type="http://schemas.openxmlformats.org/officeDocument/2006/relationships/slideLayout" Target="../slideLayouts/slideLayout536.xml"/><Relationship Id="rId61" Type="http://schemas.openxmlformats.org/officeDocument/2006/relationships/slideLayout" Target="../slideLayouts/slideLayout592.xml"/><Relationship Id="rId82" Type="http://schemas.openxmlformats.org/officeDocument/2006/relationships/slideLayout" Target="../slideLayouts/slideLayout613.xml"/><Relationship Id="rId90" Type="http://schemas.openxmlformats.org/officeDocument/2006/relationships/theme" Target="../theme/theme8.xml"/><Relationship Id="rId95" Type="http://schemas.openxmlformats.org/officeDocument/2006/relationships/image" Target="../media/image1.emf"/><Relationship Id="rId19" Type="http://schemas.openxmlformats.org/officeDocument/2006/relationships/slideLayout" Target="../slideLayouts/slideLayout550.xml"/><Relationship Id="rId14" Type="http://schemas.openxmlformats.org/officeDocument/2006/relationships/slideLayout" Target="../slideLayouts/slideLayout545.xml"/><Relationship Id="rId22" Type="http://schemas.openxmlformats.org/officeDocument/2006/relationships/slideLayout" Target="../slideLayouts/slideLayout553.xml"/><Relationship Id="rId27" Type="http://schemas.openxmlformats.org/officeDocument/2006/relationships/slideLayout" Target="../slideLayouts/slideLayout558.xml"/><Relationship Id="rId30" Type="http://schemas.openxmlformats.org/officeDocument/2006/relationships/slideLayout" Target="../slideLayouts/slideLayout561.xml"/><Relationship Id="rId35" Type="http://schemas.openxmlformats.org/officeDocument/2006/relationships/slideLayout" Target="../slideLayouts/slideLayout566.xml"/><Relationship Id="rId43" Type="http://schemas.openxmlformats.org/officeDocument/2006/relationships/slideLayout" Target="../slideLayouts/slideLayout574.xml"/><Relationship Id="rId48" Type="http://schemas.openxmlformats.org/officeDocument/2006/relationships/slideLayout" Target="../slideLayouts/slideLayout579.xml"/><Relationship Id="rId56" Type="http://schemas.openxmlformats.org/officeDocument/2006/relationships/slideLayout" Target="../slideLayouts/slideLayout587.xml"/><Relationship Id="rId64" Type="http://schemas.openxmlformats.org/officeDocument/2006/relationships/slideLayout" Target="../slideLayouts/slideLayout595.xml"/><Relationship Id="rId69" Type="http://schemas.openxmlformats.org/officeDocument/2006/relationships/slideLayout" Target="../slideLayouts/slideLayout600.xml"/><Relationship Id="rId77" Type="http://schemas.openxmlformats.org/officeDocument/2006/relationships/slideLayout" Target="../slideLayouts/slideLayout608.xml"/><Relationship Id="rId8" Type="http://schemas.openxmlformats.org/officeDocument/2006/relationships/slideLayout" Target="../slideLayouts/slideLayout539.xml"/><Relationship Id="rId51" Type="http://schemas.openxmlformats.org/officeDocument/2006/relationships/slideLayout" Target="../slideLayouts/slideLayout582.xml"/><Relationship Id="rId72" Type="http://schemas.openxmlformats.org/officeDocument/2006/relationships/slideLayout" Target="../slideLayouts/slideLayout603.xml"/><Relationship Id="rId80" Type="http://schemas.openxmlformats.org/officeDocument/2006/relationships/slideLayout" Target="../slideLayouts/slideLayout611.xml"/><Relationship Id="rId85" Type="http://schemas.openxmlformats.org/officeDocument/2006/relationships/slideLayout" Target="../slideLayouts/slideLayout616.xml"/><Relationship Id="rId93" Type="http://schemas.openxmlformats.org/officeDocument/2006/relationships/tags" Target="../tags/tag588.xml"/><Relationship Id="rId3" Type="http://schemas.openxmlformats.org/officeDocument/2006/relationships/slideLayout" Target="../slideLayouts/slideLayout534.xml"/><Relationship Id="rId12" Type="http://schemas.openxmlformats.org/officeDocument/2006/relationships/slideLayout" Target="../slideLayouts/slideLayout543.xml"/><Relationship Id="rId17" Type="http://schemas.openxmlformats.org/officeDocument/2006/relationships/slideLayout" Target="../slideLayouts/slideLayout548.xml"/><Relationship Id="rId25" Type="http://schemas.openxmlformats.org/officeDocument/2006/relationships/slideLayout" Target="../slideLayouts/slideLayout556.xml"/><Relationship Id="rId33" Type="http://schemas.openxmlformats.org/officeDocument/2006/relationships/slideLayout" Target="../slideLayouts/slideLayout564.xml"/><Relationship Id="rId38" Type="http://schemas.openxmlformats.org/officeDocument/2006/relationships/slideLayout" Target="../slideLayouts/slideLayout569.xml"/><Relationship Id="rId46" Type="http://schemas.openxmlformats.org/officeDocument/2006/relationships/slideLayout" Target="../slideLayouts/slideLayout577.xml"/><Relationship Id="rId59" Type="http://schemas.openxmlformats.org/officeDocument/2006/relationships/slideLayout" Target="../slideLayouts/slideLayout590.xml"/><Relationship Id="rId67" Type="http://schemas.openxmlformats.org/officeDocument/2006/relationships/slideLayout" Target="../slideLayouts/slideLayout598.xml"/><Relationship Id="rId20" Type="http://schemas.openxmlformats.org/officeDocument/2006/relationships/slideLayout" Target="../slideLayouts/slideLayout551.xml"/><Relationship Id="rId41" Type="http://schemas.openxmlformats.org/officeDocument/2006/relationships/slideLayout" Target="../slideLayouts/slideLayout572.xml"/><Relationship Id="rId54" Type="http://schemas.openxmlformats.org/officeDocument/2006/relationships/slideLayout" Target="../slideLayouts/slideLayout585.xml"/><Relationship Id="rId62" Type="http://schemas.openxmlformats.org/officeDocument/2006/relationships/slideLayout" Target="../slideLayouts/slideLayout593.xml"/><Relationship Id="rId70" Type="http://schemas.openxmlformats.org/officeDocument/2006/relationships/slideLayout" Target="../slideLayouts/slideLayout601.xml"/><Relationship Id="rId75" Type="http://schemas.openxmlformats.org/officeDocument/2006/relationships/slideLayout" Target="../slideLayouts/slideLayout606.xml"/><Relationship Id="rId83" Type="http://schemas.openxmlformats.org/officeDocument/2006/relationships/slideLayout" Target="../slideLayouts/slideLayout614.xml"/><Relationship Id="rId88" Type="http://schemas.openxmlformats.org/officeDocument/2006/relationships/slideLayout" Target="../slideLayouts/slideLayout619.xml"/><Relationship Id="rId91" Type="http://schemas.openxmlformats.org/officeDocument/2006/relationships/vmlDrawing" Target="../drawings/vmlDrawing302.vml"/><Relationship Id="rId96" Type="http://schemas.openxmlformats.org/officeDocument/2006/relationships/image" Target="../media/image2.png"/><Relationship Id="rId1" Type="http://schemas.openxmlformats.org/officeDocument/2006/relationships/slideLayout" Target="../slideLayouts/slideLayout532.xml"/><Relationship Id="rId6" Type="http://schemas.openxmlformats.org/officeDocument/2006/relationships/slideLayout" Target="../slideLayouts/slideLayout537.xml"/><Relationship Id="rId15" Type="http://schemas.openxmlformats.org/officeDocument/2006/relationships/slideLayout" Target="../slideLayouts/slideLayout546.xml"/><Relationship Id="rId23" Type="http://schemas.openxmlformats.org/officeDocument/2006/relationships/slideLayout" Target="../slideLayouts/slideLayout554.xml"/><Relationship Id="rId28" Type="http://schemas.openxmlformats.org/officeDocument/2006/relationships/slideLayout" Target="../slideLayouts/slideLayout559.xml"/><Relationship Id="rId36" Type="http://schemas.openxmlformats.org/officeDocument/2006/relationships/slideLayout" Target="../slideLayouts/slideLayout567.xml"/><Relationship Id="rId49" Type="http://schemas.openxmlformats.org/officeDocument/2006/relationships/slideLayout" Target="../slideLayouts/slideLayout580.xml"/><Relationship Id="rId57" Type="http://schemas.openxmlformats.org/officeDocument/2006/relationships/slideLayout" Target="../slideLayouts/slideLayout588.xml"/><Relationship Id="rId10" Type="http://schemas.openxmlformats.org/officeDocument/2006/relationships/slideLayout" Target="../slideLayouts/slideLayout541.xml"/><Relationship Id="rId31" Type="http://schemas.openxmlformats.org/officeDocument/2006/relationships/slideLayout" Target="../slideLayouts/slideLayout562.xml"/><Relationship Id="rId44" Type="http://schemas.openxmlformats.org/officeDocument/2006/relationships/slideLayout" Target="../slideLayouts/slideLayout575.xml"/><Relationship Id="rId52" Type="http://schemas.openxmlformats.org/officeDocument/2006/relationships/slideLayout" Target="../slideLayouts/slideLayout583.xml"/><Relationship Id="rId60" Type="http://schemas.openxmlformats.org/officeDocument/2006/relationships/slideLayout" Target="../slideLayouts/slideLayout591.xml"/><Relationship Id="rId65" Type="http://schemas.openxmlformats.org/officeDocument/2006/relationships/slideLayout" Target="../slideLayouts/slideLayout596.xml"/><Relationship Id="rId73" Type="http://schemas.openxmlformats.org/officeDocument/2006/relationships/slideLayout" Target="../slideLayouts/slideLayout604.xml"/><Relationship Id="rId78" Type="http://schemas.openxmlformats.org/officeDocument/2006/relationships/slideLayout" Target="../slideLayouts/slideLayout609.xml"/><Relationship Id="rId81" Type="http://schemas.openxmlformats.org/officeDocument/2006/relationships/slideLayout" Target="../slideLayouts/slideLayout612.xml"/><Relationship Id="rId86" Type="http://schemas.openxmlformats.org/officeDocument/2006/relationships/slideLayout" Target="../slideLayouts/slideLayout617.xml"/><Relationship Id="rId94" Type="http://schemas.openxmlformats.org/officeDocument/2006/relationships/oleObject" Target="../embeddings/oleObject41.bin"/><Relationship Id="rId4" Type="http://schemas.openxmlformats.org/officeDocument/2006/relationships/slideLayout" Target="../slideLayouts/slideLayout535.xml"/><Relationship Id="rId9" Type="http://schemas.openxmlformats.org/officeDocument/2006/relationships/slideLayout" Target="../slideLayouts/slideLayout540.xml"/><Relationship Id="rId13" Type="http://schemas.openxmlformats.org/officeDocument/2006/relationships/slideLayout" Target="../slideLayouts/slideLayout544.xml"/><Relationship Id="rId18" Type="http://schemas.openxmlformats.org/officeDocument/2006/relationships/slideLayout" Target="../slideLayouts/slideLayout549.xml"/><Relationship Id="rId39" Type="http://schemas.openxmlformats.org/officeDocument/2006/relationships/slideLayout" Target="../slideLayouts/slideLayout570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3.xml"/><Relationship Id="rId18" Type="http://schemas.openxmlformats.org/officeDocument/2006/relationships/slideLayout" Target="../slideLayouts/slideLayout638.xml"/><Relationship Id="rId26" Type="http://schemas.openxmlformats.org/officeDocument/2006/relationships/slideLayout" Target="../slideLayouts/slideLayout646.xml"/><Relationship Id="rId39" Type="http://schemas.openxmlformats.org/officeDocument/2006/relationships/slideLayout" Target="../slideLayouts/slideLayout659.xml"/><Relationship Id="rId21" Type="http://schemas.openxmlformats.org/officeDocument/2006/relationships/slideLayout" Target="../slideLayouts/slideLayout641.xml"/><Relationship Id="rId34" Type="http://schemas.openxmlformats.org/officeDocument/2006/relationships/slideLayout" Target="../slideLayouts/slideLayout654.xml"/><Relationship Id="rId42" Type="http://schemas.openxmlformats.org/officeDocument/2006/relationships/slideLayout" Target="../slideLayouts/slideLayout662.xml"/><Relationship Id="rId47" Type="http://schemas.openxmlformats.org/officeDocument/2006/relationships/slideLayout" Target="../slideLayouts/slideLayout667.xml"/><Relationship Id="rId50" Type="http://schemas.openxmlformats.org/officeDocument/2006/relationships/slideLayout" Target="../slideLayouts/slideLayout670.xml"/><Relationship Id="rId55" Type="http://schemas.openxmlformats.org/officeDocument/2006/relationships/slideLayout" Target="../slideLayouts/slideLayout675.xml"/><Relationship Id="rId63" Type="http://schemas.openxmlformats.org/officeDocument/2006/relationships/slideLayout" Target="../slideLayouts/slideLayout683.xml"/><Relationship Id="rId68" Type="http://schemas.openxmlformats.org/officeDocument/2006/relationships/slideLayout" Target="../slideLayouts/slideLayout688.xml"/><Relationship Id="rId76" Type="http://schemas.openxmlformats.org/officeDocument/2006/relationships/slideLayout" Target="../slideLayouts/slideLayout696.xml"/><Relationship Id="rId84" Type="http://schemas.openxmlformats.org/officeDocument/2006/relationships/slideLayout" Target="../slideLayouts/slideLayout704.xml"/><Relationship Id="rId89" Type="http://schemas.openxmlformats.org/officeDocument/2006/relationships/theme" Target="../theme/theme9.xml"/><Relationship Id="rId7" Type="http://schemas.openxmlformats.org/officeDocument/2006/relationships/slideLayout" Target="../slideLayouts/slideLayout627.xml"/><Relationship Id="rId71" Type="http://schemas.openxmlformats.org/officeDocument/2006/relationships/slideLayout" Target="../slideLayouts/slideLayout691.xml"/><Relationship Id="rId92" Type="http://schemas.openxmlformats.org/officeDocument/2006/relationships/tags" Target="../tags/tag732.xml"/><Relationship Id="rId2" Type="http://schemas.openxmlformats.org/officeDocument/2006/relationships/slideLayout" Target="../slideLayouts/slideLayout622.xml"/><Relationship Id="rId16" Type="http://schemas.openxmlformats.org/officeDocument/2006/relationships/slideLayout" Target="../slideLayouts/slideLayout636.xml"/><Relationship Id="rId29" Type="http://schemas.openxmlformats.org/officeDocument/2006/relationships/slideLayout" Target="../slideLayouts/slideLayout649.xml"/><Relationship Id="rId11" Type="http://schemas.openxmlformats.org/officeDocument/2006/relationships/slideLayout" Target="../slideLayouts/slideLayout631.xml"/><Relationship Id="rId24" Type="http://schemas.openxmlformats.org/officeDocument/2006/relationships/slideLayout" Target="../slideLayouts/slideLayout644.xml"/><Relationship Id="rId32" Type="http://schemas.openxmlformats.org/officeDocument/2006/relationships/slideLayout" Target="../slideLayouts/slideLayout652.xml"/><Relationship Id="rId37" Type="http://schemas.openxmlformats.org/officeDocument/2006/relationships/slideLayout" Target="../slideLayouts/slideLayout657.xml"/><Relationship Id="rId40" Type="http://schemas.openxmlformats.org/officeDocument/2006/relationships/slideLayout" Target="../slideLayouts/slideLayout660.xml"/><Relationship Id="rId45" Type="http://schemas.openxmlformats.org/officeDocument/2006/relationships/slideLayout" Target="../slideLayouts/slideLayout665.xml"/><Relationship Id="rId53" Type="http://schemas.openxmlformats.org/officeDocument/2006/relationships/slideLayout" Target="../slideLayouts/slideLayout673.xml"/><Relationship Id="rId58" Type="http://schemas.openxmlformats.org/officeDocument/2006/relationships/slideLayout" Target="../slideLayouts/slideLayout678.xml"/><Relationship Id="rId66" Type="http://schemas.openxmlformats.org/officeDocument/2006/relationships/slideLayout" Target="../slideLayouts/slideLayout686.xml"/><Relationship Id="rId74" Type="http://schemas.openxmlformats.org/officeDocument/2006/relationships/slideLayout" Target="../slideLayouts/slideLayout694.xml"/><Relationship Id="rId79" Type="http://schemas.openxmlformats.org/officeDocument/2006/relationships/slideLayout" Target="../slideLayouts/slideLayout699.xml"/><Relationship Id="rId87" Type="http://schemas.openxmlformats.org/officeDocument/2006/relationships/slideLayout" Target="../slideLayouts/slideLayout707.xml"/><Relationship Id="rId5" Type="http://schemas.openxmlformats.org/officeDocument/2006/relationships/slideLayout" Target="../slideLayouts/slideLayout625.xml"/><Relationship Id="rId61" Type="http://schemas.openxmlformats.org/officeDocument/2006/relationships/slideLayout" Target="../slideLayouts/slideLayout681.xml"/><Relationship Id="rId82" Type="http://schemas.openxmlformats.org/officeDocument/2006/relationships/slideLayout" Target="../slideLayouts/slideLayout702.xml"/><Relationship Id="rId90" Type="http://schemas.openxmlformats.org/officeDocument/2006/relationships/vmlDrawing" Target="../drawings/vmlDrawing376.vml"/><Relationship Id="rId95" Type="http://schemas.openxmlformats.org/officeDocument/2006/relationships/image" Target="../media/image30.png"/><Relationship Id="rId19" Type="http://schemas.openxmlformats.org/officeDocument/2006/relationships/slideLayout" Target="../slideLayouts/slideLayout639.xml"/><Relationship Id="rId14" Type="http://schemas.openxmlformats.org/officeDocument/2006/relationships/slideLayout" Target="../slideLayouts/slideLayout634.xml"/><Relationship Id="rId22" Type="http://schemas.openxmlformats.org/officeDocument/2006/relationships/slideLayout" Target="../slideLayouts/slideLayout642.xml"/><Relationship Id="rId27" Type="http://schemas.openxmlformats.org/officeDocument/2006/relationships/slideLayout" Target="../slideLayouts/slideLayout647.xml"/><Relationship Id="rId30" Type="http://schemas.openxmlformats.org/officeDocument/2006/relationships/slideLayout" Target="../slideLayouts/slideLayout650.xml"/><Relationship Id="rId35" Type="http://schemas.openxmlformats.org/officeDocument/2006/relationships/slideLayout" Target="../slideLayouts/slideLayout655.xml"/><Relationship Id="rId43" Type="http://schemas.openxmlformats.org/officeDocument/2006/relationships/slideLayout" Target="../slideLayouts/slideLayout663.xml"/><Relationship Id="rId48" Type="http://schemas.openxmlformats.org/officeDocument/2006/relationships/slideLayout" Target="../slideLayouts/slideLayout668.xml"/><Relationship Id="rId56" Type="http://schemas.openxmlformats.org/officeDocument/2006/relationships/slideLayout" Target="../slideLayouts/slideLayout676.xml"/><Relationship Id="rId64" Type="http://schemas.openxmlformats.org/officeDocument/2006/relationships/slideLayout" Target="../slideLayouts/slideLayout684.xml"/><Relationship Id="rId69" Type="http://schemas.openxmlformats.org/officeDocument/2006/relationships/slideLayout" Target="../slideLayouts/slideLayout689.xml"/><Relationship Id="rId77" Type="http://schemas.openxmlformats.org/officeDocument/2006/relationships/slideLayout" Target="../slideLayouts/slideLayout697.xml"/><Relationship Id="rId8" Type="http://schemas.openxmlformats.org/officeDocument/2006/relationships/slideLayout" Target="../slideLayouts/slideLayout628.xml"/><Relationship Id="rId51" Type="http://schemas.openxmlformats.org/officeDocument/2006/relationships/slideLayout" Target="../slideLayouts/slideLayout671.xml"/><Relationship Id="rId72" Type="http://schemas.openxmlformats.org/officeDocument/2006/relationships/slideLayout" Target="../slideLayouts/slideLayout692.xml"/><Relationship Id="rId80" Type="http://schemas.openxmlformats.org/officeDocument/2006/relationships/slideLayout" Target="../slideLayouts/slideLayout700.xml"/><Relationship Id="rId85" Type="http://schemas.openxmlformats.org/officeDocument/2006/relationships/slideLayout" Target="../slideLayouts/slideLayout705.xml"/><Relationship Id="rId93" Type="http://schemas.openxmlformats.org/officeDocument/2006/relationships/oleObject" Target="../embeddings/oleObject53.bin"/><Relationship Id="rId3" Type="http://schemas.openxmlformats.org/officeDocument/2006/relationships/slideLayout" Target="../slideLayouts/slideLayout623.xml"/><Relationship Id="rId12" Type="http://schemas.openxmlformats.org/officeDocument/2006/relationships/slideLayout" Target="../slideLayouts/slideLayout632.xml"/><Relationship Id="rId17" Type="http://schemas.openxmlformats.org/officeDocument/2006/relationships/slideLayout" Target="../slideLayouts/slideLayout637.xml"/><Relationship Id="rId25" Type="http://schemas.openxmlformats.org/officeDocument/2006/relationships/slideLayout" Target="../slideLayouts/slideLayout645.xml"/><Relationship Id="rId33" Type="http://schemas.openxmlformats.org/officeDocument/2006/relationships/slideLayout" Target="../slideLayouts/slideLayout653.xml"/><Relationship Id="rId38" Type="http://schemas.openxmlformats.org/officeDocument/2006/relationships/slideLayout" Target="../slideLayouts/slideLayout658.xml"/><Relationship Id="rId46" Type="http://schemas.openxmlformats.org/officeDocument/2006/relationships/slideLayout" Target="../slideLayouts/slideLayout666.xml"/><Relationship Id="rId59" Type="http://schemas.openxmlformats.org/officeDocument/2006/relationships/slideLayout" Target="../slideLayouts/slideLayout679.xml"/><Relationship Id="rId67" Type="http://schemas.openxmlformats.org/officeDocument/2006/relationships/slideLayout" Target="../slideLayouts/slideLayout687.xml"/><Relationship Id="rId20" Type="http://schemas.openxmlformats.org/officeDocument/2006/relationships/slideLayout" Target="../slideLayouts/slideLayout640.xml"/><Relationship Id="rId41" Type="http://schemas.openxmlformats.org/officeDocument/2006/relationships/slideLayout" Target="../slideLayouts/slideLayout661.xml"/><Relationship Id="rId54" Type="http://schemas.openxmlformats.org/officeDocument/2006/relationships/slideLayout" Target="../slideLayouts/slideLayout674.xml"/><Relationship Id="rId62" Type="http://schemas.openxmlformats.org/officeDocument/2006/relationships/slideLayout" Target="../slideLayouts/slideLayout682.xml"/><Relationship Id="rId70" Type="http://schemas.openxmlformats.org/officeDocument/2006/relationships/slideLayout" Target="../slideLayouts/slideLayout690.xml"/><Relationship Id="rId75" Type="http://schemas.openxmlformats.org/officeDocument/2006/relationships/slideLayout" Target="../slideLayouts/slideLayout695.xml"/><Relationship Id="rId83" Type="http://schemas.openxmlformats.org/officeDocument/2006/relationships/slideLayout" Target="../slideLayouts/slideLayout703.xml"/><Relationship Id="rId88" Type="http://schemas.openxmlformats.org/officeDocument/2006/relationships/slideLayout" Target="../slideLayouts/slideLayout708.xml"/><Relationship Id="rId91" Type="http://schemas.openxmlformats.org/officeDocument/2006/relationships/tags" Target="../tags/tag731.xml"/><Relationship Id="rId96" Type="http://schemas.openxmlformats.org/officeDocument/2006/relationships/image" Target="../media/image3.emf"/><Relationship Id="rId1" Type="http://schemas.openxmlformats.org/officeDocument/2006/relationships/slideLayout" Target="../slideLayouts/slideLayout621.xml"/><Relationship Id="rId6" Type="http://schemas.openxmlformats.org/officeDocument/2006/relationships/slideLayout" Target="../slideLayouts/slideLayout626.xml"/><Relationship Id="rId15" Type="http://schemas.openxmlformats.org/officeDocument/2006/relationships/slideLayout" Target="../slideLayouts/slideLayout635.xml"/><Relationship Id="rId23" Type="http://schemas.openxmlformats.org/officeDocument/2006/relationships/slideLayout" Target="../slideLayouts/slideLayout643.xml"/><Relationship Id="rId28" Type="http://schemas.openxmlformats.org/officeDocument/2006/relationships/slideLayout" Target="../slideLayouts/slideLayout648.xml"/><Relationship Id="rId36" Type="http://schemas.openxmlformats.org/officeDocument/2006/relationships/slideLayout" Target="../slideLayouts/slideLayout656.xml"/><Relationship Id="rId49" Type="http://schemas.openxmlformats.org/officeDocument/2006/relationships/slideLayout" Target="../slideLayouts/slideLayout669.xml"/><Relationship Id="rId57" Type="http://schemas.openxmlformats.org/officeDocument/2006/relationships/slideLayout" Target="../slideLayouts/slideLayout677.xml"/><Relationship Id="rId10" Type="http://schemas.openxmlformats.org/officeDocument/2006/relationships/slideLayout" Target="../slideLayouts/slideLayout630.xml"/><Relationship Id="rId31" Type="http://schemas.openxmlformats.org/officeDocument/2006/relationships/slideLayout" Target="../slideLayouts/slideLayout651.xml"/><Relationship Id="rId44" Type="http://schemas.openxmlformats.org/officeDocument/2006/relationships/slideLayout" Target="../slideLayouts/slideLayout664.xml"/><Relationship Id="rId52" Type="http://schemas.openxmlformats.org/officeDocument/2006/relationships/slideLayout" Target="../slideLayouts/slideLayout672.xml"/><Relationship Id="rId60" Type="http://schemas.openxmlformats.org/officeDocument/2006/relationships/slideLayout" Target="../slideLayouts/slideLayout680.xml"/><Relationship Id="rId65" Type="http://schemas.openxmlformats.org/officeDocument/2006/relationships/slideLayout" Target="../slideLayouts/slideLayout685.xml"/><Relationship Id="rId73" Type="http://schemas.openxmlformats.org/officeDocument/2006/relationships/slideLayout" Target="../slideLayouts/slideLayout693.xml"/><Relationship Id="rId78" Type="http://schemas.openxmlformats.org/officeDocument/2006/relationships/slideLayout" Target="../slideLayouts/slideLayout698.xml"/><Relationship Id="rId81" Type="http://schemas.openxmlformats.org/officeDocument/2006/relationships/slideLayout" Target="../slideLayouts/slideLayout701.xml"/><Relationship Id="rId86" Type="http://schemas.openxmlformats.org/officeDocument/2006/relationships/slideLayout" Target="../slideLayouts/slideLayout706.xml"/><Relationship Id="rId94" Type="http://schemas.openxmlformats.org/officeDocument/2006/relationships/image" Target="../media/image1.emf"/><Relationship Id="rId4" Type="http://schemas.openxmlformats.org/officeDocument/2006/relationships/slideLayout" Target="../slideLayouts/slideLayout624.xml"/><Relationship Id="rId9" Type="http://schemas.openxmlformats.org/officeDocument/2006/relationships/slideLayout" Target="../slideLayouts/slideLayout6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1"/>
            </p:custDataLst>
            <p:extLst>
              <p:ext uri="{D42A27DB-BD31-4B8C-83A1-F6EECF244321}">
                <p14:modId xmlns:p14="http://schemas.microsoft.com/office/powerpoint/2010/main" val="849647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" name="Diapositive think-cell" r:id="rId93" imgW="532" imgH="530" progId="TCLayout.ActiveDocument.1">
                  <p:embed/>
                </p:oleObj>
              </mc:Choice>
              <mc:Fallback>
                <p:oleObj name="Diapositive think-cell" r:id="rId93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nb-NO" noProof="0"/>
              <a:t>OVERSKRIF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Tekst nivå 1</a:t>
            </a:r>
          </a:p>
          <a:p>
            <a:pPr lvl="2"/>
            <a:r>
              <a:rPr lang="nb-NO" noProof="0"/>
              <a:t>Tekst nivå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noProof="0" dirty="0"/>
              <a:t>© Ipsos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9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99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  <p:sldLayoutId id="2147483738" r:id="rId78"/>
    <p:sldLayoutId id="2147483739" r:id="rId79"/>
    <p:sldLayoutId id="2147483740" r:id="rId80"/>
    <p:sldLayoutId id="2147483741" r:id="rId81"/>
    <p:sldLayoutId id="2147483742" r:id="rId82"/>
    <p:sldLayoutId id="2147483743" r:id="rId83"/>
    <p:sldLayoutId id="2147483744" r:id="rId84"/>
    <p:sldLayoutId id="2147483745" r:id="rId85"/>
    <p:sldLayoutId id="2147483746" r:id="rId86"/>
    <p:sldLayoutId id="2147483747" r:id="rId87"/>
    <p:sldLayoutId id="2147483748" r:id="rId8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96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3"/>
            </p:custDataLst>
            <p:extLst>
              <p:ext uri="{D42A27DB-BD31-4B8C-83A1-F6EECF244321}">
                <p14:modId xmlns:p14="http://schemas.microsoft.com/office/powerpoint/2010/main" val="3270054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18" name="Diapositive think-cell" r:id="rId95" imgW="532" imgH="530" progId="TCLayout.ActiveDocument.1">
                  <p:embed/>
                </p:oleObj>
              </mc:Choice>
              <mc:Fallback>
                <p:oleObj name="Diapositive think-cell" r:id="rId95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nb-NO" noProof="0"/>
              <a:t>OVERSKRIF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Tekst nivå 1</a:t>
            </a:r>
          </a:p>
          <a:p>
            <a:pPr lvl="2"/>
            <a:r>
              <a:rPr lang="nb-NO" noProof="0"/>
              <a:t>Tekst nivå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467621" y="640179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noProof="0" dirty="0"/>
              <a:t>© Ipsos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9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318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9" r:id="rId1"/>
    <p:sldLayoutId id="2147484760" r:id="rId2"/>
    <p:sldLayoutId id="2147484761" r:id="rId3"/>
    <p:sldLayoutId id="2147484762" r:id="rId4"/>
    <p:sldLayoutId id="2147484763" r:id="rId5"/>
    <p:sldLayoutId id="2147484764" r:id="rId6"/>
    <p:sldLayoutId id="2147484765" r:id="rId7"/>
    <p:sldLayoutId id="2147484766" r:id="rId8"/>
    <p:sldLayoutId id="2147484767" r:id="rId9"/>
    <p:sldLayoutId id="2147484768" r:id="rId10"/>
    <p:sldLayoutId id="2147484769" r:id="rId11"/>
    <p:sldLayoutId id="2147484770" r:id="rId12"/>
    <p:sldLayoutId id="2147484771" r:id="rId13"/>
    <p:sldLayoutId id="2147484772" r:id="rId14"/>
    <p:sldLayoutId id="2147484773" r:id="rId15"/>
    <p:sldLayoutId id="2147484774" r:id="rId16"/>
    <p:sldLayoutId id="2147484775" r:id="rId17"/>
    <p:sldLayoutId id="2147484776" r:id="rId18"/>
    <p:sldLayoutId id="2147484777" r:id="rId19"/>
    <p:sldLayoutId id="2147484778" r:id="rId20"/>
    <p:sldLayoutId id="2147484779" r:id="rId21"/>
    <p:sldLayoutId id="2147484780" r:id="rId22"/>
    <p:sldLayoutId id="2147484781" r:id="rId23"/>
    <p:sldLayoutId id="2147484782" r:id="rId24"/>
    <p:sldLayoutId id="2147484783" r:id="rId25"/>
    <p:sldLayoutId id="2147484784" r:id="rId26"/>
    <p:sldLayoutId id="2147484785" r:id="rId27"/>
    <p:sldLayoutId id="2147484786" r:id="rId28"/>
    <p:sldLayoutId id="2147484787" r:id="rId29"/>
    <p:sldLayoutId id="2147484788" r:id="rId30"/>
    <p:sldLayoutId id="2147484789" r:id="rId31"/>
    <p:sldLayoutId id="2147484790" r:id="rId32"/>
    <p:sldLayoutId id="2147484791" r:id="rId33"/>
    <p:sldLayoutId id="2147484792" r:id="rId34"/>
    <p:sldLayoutId id="2147484793" r:id="rId35"/>
    <p:sldLayoutId id="2147484794" r:id="rId36"/>
    <p:sldLayoutId id="2147484795" r:id="rId37"/>
    <p:sldLayoutId id="2147484796" r:id="rId38"/>
    <p:sldLayoutId id="2147484797" r:id="rId39"/>
    <p:sldLayoutId id="2147484798" r:id="rId40"/>
    <p:sldLayoutId id="2147484799" r:id="rId41"/>
    <p:sldLayoutId id="2147484800" r:id="rId42"/>
    <p:sldLayoutId id="2147484801" r:id="rId43"/>
    <p:sldLayoutId id="2147484802" r:id="rId44"/>
    <p:sldLayoutId id="2147484803" r:id="rId45"/>
    <p:sldLayoutId id="2147484804" r:id="rId46"/>
    <p:sldLayoutId id="2147484805" r:id="rId47"/>
    <p:sldLayoutId id="2147484806" r:id="rId48"/>
    <p:sldLayoutId id="2147484807" r:id="rId49"/>
    <p:sldLayoutId id="2147484808" r:id="rId50"/>
    <p:sldLayoutId id="2147484809" r:id="rId51"/>
    <p:sldLayoutId id="2147484810" r:id="rId52"/>
    <p:sldLayoutId id="2147484811" r:id="rId53"/>
    <p:sldLayoutId id="2147484812" r:id="rId54"/>
    <p:sldLayoutId id="2147484813" r:id="rId55"/>
    <p:sldLayoutId id="2147484814" r:id="rId56"/>
    <p:sldLayoutId id="2147484815" r:id="rId57"/>
    <p:sldLayoutId id="2147484816" r:id="rId58"/>
    <p:sldLayoutId id="2147484817" r:id="rId59"/>
    <p:sldLayoutId id="2147484818" r:id="rId60"/>
    <p:sldLayoutId id="2147484819" r:id="rId61"/>
    <p:sldLayoutId id="2147484820" r:id="rId62"/>
    <p:sldLayoutId id="2147484821" r:id="rId63"/>
    <p:sldLayoutId id="2147484822" r:id="rId64"/>
    <p:sldLayoutId id="2147484823" r:id="rId65"/>
    <p:sldLayoutId id="2147484824" r:id="rId66"/>
    <p:sldLayoutId id="2147484825" r:id="rId67"/>
    <p:sldLayoutId id="2147484826" r:id="rId68"/>
    <p:sldLayoutId id="2147484827" r:id="rId69"/>
    <p:sldLayoutId id="2147484828" r:id="rId70"/>
    <p:sldLayoutId id="2147484829" r:id="rId71"/>
    <p:sldLayoutId id="2147484830" r:id="rId72"/>
    <p:sldLayoutId id="2147484831" r:id="rId73"/>
    <p:sldLayoutId id="2147484832" r:id="rId74"/>
    <p:sldLayoutId id="2147484833" r:id="rId75"/>
    <p:sldLayoutId id="2147484834" r:id="rId76"/>
    <p:sldLayoutId id="2147484835" r:id="rId77"/>
    <p:sldLayoutId id="2147484836" r:id="rId78"/>
    <p:sldLayoutId id="2147484837" r:id="rId79"/>
    <p:sldLayoutId id="2147484838" r:id="rId80"/>
    <p:sldLayoutId id="2147484839" r:id="rId81"/>
    <p:sldLayoutId id="2147484840" r:id="rId82"/>
    <p:sldLayoutId id="2147484841" r:id="rId83"/>
    <p:sldLayoutId id="2147484842" r:id="rId84"/>
    <p:sldLayoutId id="2147484843" r:id="rId85"/>
    <p:sldLayoutId id="2147484844" r:id="rId86"/>
    <p:sldLayoutId id="2147484845" r:id="rId87"/>
    <p:sldLayoutId id="2147484846" r:id="rId88"/>
    <p:sldLayoutId id="2147484847" r:id="rId89"/>
    <p:sldLayoutId id="2147484850" r:id="rId90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98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5"/>
            </p:custDataLst>
            <p:extLst>
              <p:ext uri="{D42A27DB-BD31-4B8C-83A1-F6EECF244321}">
                <p14:modId xmlns:p14="http://schemas.microsoft.com/office/powerpoint/2010/main" val="2166510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42" name="Diapositive think-cell" r:id="rId97" imgW="532" imgH="530" progId="TCLayout.ActiveDocument.1">
                  <p:embed/>
                </p:oleObj>
              </mc:Choice>
              <mc:Fallback>
                <p:oleObj name="Diapositive think-cell" r:id="rId97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nb-NO" noProof="0"/>
              <a:t>OVERSKRIF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Tekst nivå 1</a:t>
            </a:r>
          </a:p>
          <a:p>
            <a:pPr lvl="2"/>
            <a:r>
              <a:rPr lang="nb-NO" noProof="0"/>
              <a:t>Tekst nivå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noProof="0" dirty="0"/>
              <a:t>© Ipsos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9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961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6" r:id="rId1"/>
    <p:sldLayoutId id="2147484947" r:id="rId2"/>
    <p:sldLayoutId id="2147484948" r:id="rId3"/>
    <p:sldLayoutId id="2147484949" r:id="rId4"/>
    <p:sldLayoutId id="2147484950" r:id="rId5"/>
    <p:sldLayoutId id="2147484951" r:id="rId6"/>
    <p:sldLayoutId id="2147484952" r:id="rId7"/>
    <p:sldLayoutId id="2147484953" r:id="rId8"/>
    <p:sldLayoutId id="2147484954" r:id="rId9"/>
    <p:sldLayoutId id="2147484955" r:id="rId10"/>
    <p:sldLayoutId id="2147484956" r:id="rId11"/>
    <p:sldLayoutId id="2147484957" r:id="rId12"/>
    <p:sldLayoutId id="2147484958" r:id="rId13"/>
    <p:sldLayoutId id="2147484959" r:id="rId14"/>
    <p:sldLayoutId id="2147484960" r:id="rId15"/>
    <p:sldLayoutId id="2147484961" r:id="rId16"/>
    <p:sldLayoutId id="2147484962" r:id="rId17"/>
    <p:sldLayoutId id="2147484963" r:id="rId18"/>
    <p:sldLayoutId id="2147484964" r:id="rId19"/>
    <p:sldLayoutId id="2147484965" r:id="rId20"/>
    <p:sldLayoutId id="2147484966" r:id="rId21"/>
    <p:sldLayoutId id="2147484967" r:id="rId22"/>
    <p:sldLayoutId id="2147484968" r:id="rId23"/>
    <p:sldLayoutId id="2147484969" r:id="rId24"/>
    <p:sldLayoutId id="2147484970" r:id="rId25"/>
    <p:sldLayoutId id="2147484971" r:id="rId26"/>
    <p:sldLayoutId id="2147484972" r:id="rId27"/>
    <p:sldLayoutId id="2147484973" r:id="rId28"/>
    <p:sldLayoutId id="2147484974" r:id="rId29"/>
    <p:sldLayoutId id="2147484975" r:id="rId30"/>
    <p:sldLayoutId id="2147484976" r:id="rId31"/>
    <p:sldLayoutId id="2147484977" r:id="rId32"/>
    <p:sldLayoutId id="2147484978" r:id="rId33"/>
    <p:sldLayoutId id="2147484979" r:id="rId34"/>
    <p:sldLayoutId id="2147484980" r:id="rId35"/>
    <p:sldLayoutId id="2147484981" r:id="rId36"/>
    <p:sldLayoutId id="2147484982" r:id="rId37"/>
    <p:sldLayoutId id="2147484983" r:id="rId38"/>
    <p:sldLayoutId id="2147484984" r:id="rId39"/>
    <p:sldLayoutId id="2147484985" r:id="rId40"/>
    <p:sldLayoutId id="2147484986" r:id="rId41"/>
    <p:sldLayoutId id="2147484987" r:id="rId42"/>
    <p:sldLayoutId id="2147484988" r:id="rId43"/>
    <p:sldLayoutId id="2147484989" r:id="rId44"/>
    <p:sldLayoutId id="2147484990" r:id="rId45"/>
    <p:sldLayoutId id="2147484991" r:id="rId46"/>
    <p:sldLayoutId id="2147484992" r:id="rId47"/>
    <p:sldLayoutId id="2147484993" r:id="rId48"/>
    <p:sldLayoutId id="2147484994" r:id="rId49"/>
    <p:sldLayoutId id="2147484995" r:id="rId50"/>
    <p:sldLayoutId id="2147484996" r:id="rId51"/>
    <p:sldLayoutId id="2147484997" r:id="rId52"/>
    <p:sldLayoutId id="2147484998" r:id="rId53"/>
    <p:sldLayoutId id="2147484999" r:id="rId54"/>
    <p:sldLayoutId id="2147485000" r:id="rId55"/>
    <p:sldLayoutId id="2147485001" r:id="rId56"/>
    <p:sldLayoutId id="2147485002" r:id="rId57"/>
    <p:sldLayoutId id="2147485003" r:id="rId58"/>
    <p:sldLayoutId id="2147485004" r:id="rId59"/>
    <p:sldLayoutId id="2147485005" r:id="rId60"/>
    <p:sldLayoutId id="2147485006" r:id="rId61"/>
    <p:sldLayoutId id="2147485007" r:id="rId62"/>
    <p:sldLayoutId id="2147485008" r:id="rId63"/>
    <p:sldLayoutId id="2147485009" r:id="rId64"/>
    <p:sldLayoutId id="2147485010" r:id="rId65"/>
    <p:sldLayoutId id="2147485011" r:id="rId66"/>
    <p:sldLayoutId id="2147485012" r:id="rId67"/>
    <p:sldLayoutId id="2147485013" r:id="rId68"/>
    <p:sldLayoutId id="2147485014" r:id="rId69"/>
    <p:sldLayoutId id="2147485015" r:id="rId70"/>
    <p:sldLayoutId id="2147485016" r:id="rId71"/>
    <p:sldLayoutId id="2147485017" r:id="rId72"/>
    <p:sldLayoutId id="2147485018" r:id="rId73"/>
    <p:sldLayoutId id="2147485019" r:id="rId74"/>
    <p:sldLayoutId id="2147485020" r:id="rId75"/>
    <p:sldLayoutId id="2147485021" r:id="rId76"/>
    <p:sldLayoutId id="2147485022" r:id="rId77"/>
    <p:sldLayoutId id="2147485023" r:id="rId78"/>
    <p:sldLayoutId id="2147485024" r:id="rId79"/>
    <p:sldLayoutId id="2147485025" r:id="rId80"/>
    <p:sldLayoutId id="2147485026" r:id="rId81"/>
    <p:sldLayoutId id="2147485027" r:id="rId82"/>
    <p:sldLayoutId id="2147485028" r:id="rId83"/>
    <p:sldLayoutId id="2147485029" r:id="rId84"/>
    <p:sldLayoutId id="2147485030" r:id="rId85"/>
    <p:sldLayoutId id="2147485031" r:id="rId86"/>
    <p:sldLayoutId id="2147485032" r:id="rId87"/>
    <p:sldLayoutId id="2147485033" r:id="rId88"/>
    <p:sldLayoutId id="2147485034" r:id="rId89"/>
    <p:sldLayoutId id="2147485035" r:id="rId90"/>
    <p:sldLayoutId id="2147485036" r:id="rId91"/>
    <p:sldLayoutId id="2147485037" r:id="rId92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100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9"/>
            </p:custDataLst>
            <p:extLst>
              <p:ext uri="{D42A27DB-BD31-4B8C-83A1-F6EECF244321}">
                <p14:modId xmlns:p14="http://schemas.microsoft.com/office/powerpoint/2010/main" val="2989837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6770" name="Diapositive think-cell" r:id="rId101" imgW="532" imgH="530" progId="TCLayout.ActiveDocument.1">
                  <p:embed/>
                </p:oleObj>
              </mc:Choice>
              <mc:Fallback>
                <p:oleObj name="Diapositive think-cell" r:id="rId101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10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nb-NO" noProof="0"/>
              <a:t>OVERSKRIF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Tekst nivå 1</a:t>
            </a:r>
          </a:p>
          <a:p>
            <a:pPr lvl="2"/>
            <a:r>
              <a:rPr lang="nb-NO" noProof="0"/>
              <a:t>Tekst nivå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467621" y="6401796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noProof="0" dirty="0"/>
              <a:t>© Ipsos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10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455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5" r:id="rId1"/>
    <p:sldLayoutId id="2147485316" r:id="rId2"/>
    <p:sldLayoutId id="2147485317" r:id="rId3"/>
    <p:sldLayoutId id="2147485318" r:id="rId4"/>
    <p:sldLayoutId id="2147485319" r:id="rId5"/>
    <p:sldLayoutId id="2147485320" r:id="rId6"/>
    <p:sldLayoutId id="2147485321" r:id="rId7"/>
    <p:sldLayoutId id="2147485322" r:id="rId8"/>
    <p:sldLayoutId id="2147485323" r:id="rId9"/>
    <p:sldLayoutId id="2147485324" r:id="rId10"/>
    <p:sldLayoutId id="2147485325" r:id="rId11"/>
    <p:sldLayoutId id="2147485326" r:id="rId12"/>
    <p:sldLayoutId id="2147485327" r:id="rId13"/>
    <p:sldLayoutId id="2147485328" r:id="rId14"/>
    <p:sldLayoutId id="2147485329" r:id="rId15"/>
    <p:sldLayoutId id="2147485330" r:id="rId16"/>
    <p:sldLayoutId id="2147485331" r:id="rId17"/>
    <p:sldLayoutId id="2147485332" r:id="rId18"/>
    <p:sldLayoutId id="2147485333" r:id="rId19"/>
    <p:sldLayoutId id="2147485334" r:id="rId20"/>
    <p:sldLayoutId id="2147485335" r:id="rId21"/>
    <p:sldLayoutId id="2147485336" r:id="rId22"/>
    <p:sldLayoutId id="2147485337" r:id="rId23"/>
    <p:sldLayoutId id="2147485338" r:id="rId24"/>
    <p:sldLayoutId id="2147485339" r:id="rId25"/>
    <p:sldLayoutId id="2147485340" r:id="rId26"/>
    <p:sldLayoutId id="2147485341" r:id="rId27"/>
    <p:sldLayoutId id="2147485342" r:id="rId28"/>
    <p:sldLayoutId id="2147485343" r:id="rId29"/>
    <p:sldLayoutId id="2147485344" r:id="rId30"/>
    <p:sldLayoutId id="2147485345" r:id="rId31"/>
    <p:sldLayoutId id="2147485346" r:id="rId32"/>
    <p:sldLayoutId id="2147485347" r:id="rId33"/>
    <p:sldLayoutId id="2147485348" r:id="rId34"/>
    <p:sldLayoutId id="2147485349" r:id="rId35"/>
    <p:sldLayoutId id="2147485350" r:id="rId36"/>
    <p:sldLayoutId id="2147485351" r:id="rId37"/>
    <p:sldLayoutId id="2147485352" r:id="rId38"/>
    <p:sldLayoutId id="2147485353" r:id="rId39"/>
    <p:sldLayoutId id="2147485354" r:id="rId40"/>
    <p:sldLayoutId id="2147485355" r:id="rId41"/>
    <p:sldLayoutId id="2147485356" r:id="rId42"/>
    <p:sldLayoutId id="2147485357" r:id="rId43"/>
    <p:sldLayoutId id="2147485358" r:id="rId44"/>
    <p:sldLayoutId id="2147485359" r:id="rId45"/>
    <p:sldLayoutId id="2147485360" r:id="rId46"/>
    <p:sldLayoutId id="2147485361" r:id="rId47"/>
    <p:sldLayoutId id="2147485362" r:id="rId48"/>
    <p:sldLayoutId id="2147485363" r:id="rId49"/>
    <p:sldLayoutId id="2147485364" r:id="rId50"/>
    <p:sldLayoutId id="2147485365" r:id="rId51"/>
    <p:sldLayoutId id="2147485366" r:id="rId52"/>
    <p:sldLayoutId id="2147485367" r:id="rId53"/>
    <p:sldLayoutId id="2147485368" r:id="rId54"/>
    <p:sldLayoutId id="2147485369" r:id="rId55"/>
    <p:sldLayoutId id="2147485370" r:id="rId56"/>
    <p:sldLayoutId id="2147485371" r:id="rId57"/>
    <p:sldLayoutId id="2147485372" r:id="rId58"/>
    <p:sldLayoutId id="2147485373" r:id="rId59"/>
    <p:sldLayoutId id="2147485374" r:id="rId60"/>
    <p:sldLayoutId id="2147485375" r:id="rId61"/>
    <p:sldLayoutId id="2147485376" r:id="rId62"/>
    <p:sldLayoutId id="2147485377" r:id="rId63"/>
    <p:sldLayoutId id="2147485378" r:id="rId64"/>
    <p:sldLayoutId id="2147485379" r:id="rId65"/>
    <p:sldLayoutId id="2147485380" r:id="rId66"/>
    <p:sldLayoutId id="2147485381" r:id="rId67"/>
    <p:sldLayoutId id="2147485382" r:id="rId68"/>
    <p:sldLayoutId id="2147485383" r:id="rId69"/>
    <p:sldLayoutId id="2147485384" r:id="rId70"/>
    <p:sldLayoutId id="2147485385" r:id="rId71"/>
    <p:sldLayoutId id="2147485386" r:id="rId72"/>
    <p:sldLayoutId id="2147485387" r:id="rId73"/>
    <p:sldLayoutId id="2147485388" r:id="rId74"/>
    <p:sldLayoutId id="2147485389" r:id="rId75"/>
    <p:sldLayoutId id="2147485390" r:id="rId76"/>
    <p:sldLayoutId id="2147485391" r:id="rId77"/>
    <p:sldLayoutId id="2147485392" r:id="rId78"/>
    <p:sldLayoutId id="2147485393" r:id="rId79"/>
    <p:sldLayoutId id="2147485394" r:id="rId80"/>
    <p:sldLayoutId id="2147485395" r:id="rId81"/>
    <p:sldLayoutId id="2147485396" r:id="rId82"/>
    <p:sldLayoutId id="2147485397" r:id="rId83"/>
    <p:sldLayoutId id="2147485398" r:id="rId84"/>
    <p:sldLayoutId id="2147485399" r:id="rId85"/>
    <p:sldLayoutId id="2147485400" r:id="rId86"/>
    <p:sldLayoutId id="2147485401" r:id="rId87"/>
    <p:sldLayoutId id="2147485402" r:id="rId88"/>
    <p:sldLayoutId id="2147485404" r:id="rId89"/>
    <p:sldLayoutId id="2147485405" r:id="rId90"/>
    <p:sldLayoutId id="2147485406" r:id="rId91"/>
    <p:sldLayoutId id="2147485407" r:id="rId92"/>
    <p:sldLayoutId id="2147485408" r:id="rId93"/>
    <p:sldLayoutId id="2147485409" r:id="rId94"/>
    <p:sldLayoutId id="2147485410" r:id="rId95"/>
    <p:sldLayoutId id="2147485411" r:id="rId96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104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5"/>
            </p:custDataLst>
            <p:extLst>
              <p:ext uri="{D42A27DB-BD31-4B8C-83A1-F6EECF244321}">
                <p14:modId xmlns:p14="http://schemas.microsoft.com/office/powerpoint/2010/main" val="906951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570" name="Diapositive think-cell" r:id="rId97" imgW="532" imgH="530" progId="TCLayout.ActiveDocument.1">
                  <p:embed/>
                </p:oleObj>
              </mc:Choice>
              <mc:Fallback>
                <p:oleObj name="Diapositive think-cell" r:id="rId97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nb-NO" noProof="0"/>
              <a:t>OVERSKRIF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Tekst nivå 1</a:t>
            </a:r>
          </a:p>
          <a:p>
            <a:pPr lvl="2"/>
            <a:r>
              <a:rPr lang="nb-NO" noProof="0"/>
              <a:t>Tekst nivå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noProof="0" dirty="0"/>
              <a:t>© Ipsos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9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00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13" r:id="rId1"/>
    <p:sldLayoutId id="2147485414" r:id="rId2"/>
    <p:sldLayoutId id="2147485415" r:id="rId3"/>
    <p:sldLayoutId id="2147485416" r:id="rId4"/>
    <p:sldLayoutId id="2147485417" r:id="rId5"/>
    <p:sldLayoutId id="2147485418" r:id="rId6"/>
    <p:sldLayoutId id="2147485419" r:id="rId7"/>
    <p:sldLayoutId id="2147485420" r:id="rId8"/>
    <p:sldLayoutId id="2147485421" r:id="rId9"/>
    <p:sldLayoutId id="2147485422" r:id="rId10"/>
    <p:sldLayoutId id="2147485423" r:id="rId11"/>
    <p:sldLayoutId id="2147485424" r:id="rId12"/>
    <p:sldLayoutId id="2147485425" r:id="rId13"/>
    <p:sldLayoutId id="2147485426" r:id="rId14"/>
    <p:sldLayoutId id="2147485427" r:id="rId15"/>
    <p:sldLayoutId id="2147485428" r:id="rId16"/>
    <p:sldLayoutId id="2147485429" r:id="rId17"/>
    <p:sldLayoutId id="2147485430" r:id="rId18"/>
    <p:sldLayoutId id="2147485431" r:id="rId19"/>
    <p:sldLayoutId id="2147485432" r:id="rId20"/>
    <p:sldLayoutId id="2147485433" r:id="rId21"/>
    <p:sldLayoutId id="2147485434" r:id="rId22"/>
    <p:sldLayoutId id="2147485435" r:id="rId23"/>
    <p:sldLayoutId id="2147485436" r:id="rId24"/>
    <p:sldLayoutId id="2147485437" r:id="rId25"/>
    <p:sldLayoutId id="2147485438" r:id="rId26"/>
    <p:sldLayoutId id="2147485439" r:id="rId27"/>
    <p:sldLayoutId id="2147485440" r:id="rId28"/>
    <p:sldLayoutId id="2147485441" r:id="rId29"/>
    <p:sldLayoutId id="2147485442" r:id="rId30"/>
    <p:sldLayoutId id="2147485443" r:id="rId31"/>
    <p:sldLayoutId id="2147485444" r:id="rId32"/>
    <p:sldLayoutId id="2147485445" r:id="rId33"/>
    <p:sldLayoutId id="2147485446" r:id="rId34"/>
    <p:sldLayoutId id="2147485447" r:id="rId35"/>
    <p:sldLayoutId id="2147485448" r:id="rId36"/>
    <p:sldLayoutId id="2147485449" r:id="rId37"/>
    <p:sldLayoutId id="2147485450" r:id="rId38"/>
    <p:sldLayoutId id="2147485451" r:id="rId39"/>
    <p:sldLayoutId id="2147485452" r:id="rId40"/>
    <p:sldLayoutId id="2147485453" r:id="rId41"/>
    <p:sldLayoutId id="2147485454" r:id="rId42"/>
    <p:sldLayoutId id="2147485455" r:id="rId43"/>
    <p:sldLayoutId id="2147485456" r:id="rId44"/>
    <p:sldLayoutId id="2147485457" r:id="rId45"/>
    <p:sldLayoutId id="2147485458" r:id="rId46"/>
    <p:sldLayoutId id="2147485459" r:id="rId47"/>
    <p:sldLayoutId id="2147485460" r:id="rId48"/>
    <p:sldLayoutId id="2147485461" r:id="rId49"/>
    <p:sldLayoutId id="2147485462" r:id="rId50"/>
    <p:sldLayoutId id="2147485463" r:id="rId51"/>
    <p:sldLayoutId id="2147485464" r:id="rId52"/>
    <p:sldLayoutId id="2147485465" r:id="rId53"/>
    <p:sldLayoutId id="2147485466" r:id="rId54"/>
    <p:sldLayoutId id="2147485467" r:id="rId55"/>
    <p:sldLayoutId id="2147485468" r:id="rId56"/>
    <p:sldLayoutId id="2147485469" r:id="rId57"/>
    <p:sldLayoutId id="2147485470" r:id="rId58"/>
    <p:sldLayoutId id="2147485471" r:id="rId59"/>
    <p:sldLayoutId id="2147485472" r:id="rId60"/>
    <p:sldLayoutId id="2147485473" r:id="rId61"/>
    <p:sldLayoutId id="2147485474" r:id="rId62"/>
    <p:sldLayoutId id="2147485475" r:id="rId63"/>
    <p:sldLayoutId id="2147485476" r:id="rId64"/>
    <p:sldLayoutId id="2147485477" r:id="rId65"/>
    <p:sldLayoutId id="2147485478" r:id="rId66"/>
    <p:sldLayoutId id="2147485479" r:id="rId67"/>
    <p:sldLayoutId id="2147485480" r:id="rId68"/>
    <p:sldLayoutId id="2147485481" r:id="rId69"/>
    <p:sldLayoutId id="2147485482" r:id="rId70"/>
    <p:sldLayoutId id="2147485483" r:id="rId71"/>
    <p:sldLayoutId id="2147485484" r:id="rId72"/>
    <p:sldLayoutId id="2147485485" r:id="rId73"/>
    <p:sldLayoutId id="2147485486" r:id="rId74"/>
    <p:sldLayoutId id="2147485487" r:id="rId75"/>
    <p:sldLayoutId id="2147485488" r:id="rId76"/>
    <p:sldLayoutId id="2147485489" r:id="rId77"/>
    <p:sldLayoutId id="2147485490" r:id="rId78"/>
    <p:sldLayoutId id="2147485491" r:id="rId79"/>
    <p:sldLayoutId id="2147485492" r:id="rId80"/>
    <p:sldLayoutId id="2147485493" r:id="rId81"/>
    <p:sldLayoutId id="2147485494" r:id="rId82"/>
    <p:sldLayoutId id="2147485495" r:id="rId83"/>
    <p:sldLayoutId id="2147485496" r:id="rId84"/>
    <p:sldLayoutId id="2147485497" r:id="rId85"/>
    <p:sldLayoutId id="2147485498" r:id="rId86"/>
    <p:sldLayoutId id="2147485499" r:id="rId87"/>
    <p:sldLayoutId id="2147485500" r:id="rId88"/>
    <p:sldLayoutId id="2147485501" r:id="rId89"/>
    <p:sldLayoutId id="2147485502" r:id="rId90"/>
    <p:sldLayoutId id="2147485503" r:id="rId91"/>
    <p:sldLayoutId id="2147485504" r:id="rId92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100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5"/>
            </p:custDataLst>
            <p:extLst>
              <p:ext uri="{D42A27DB-BD31-4B8C-83A1-F6EECF244321}">
                <p14:modId xmlns:p14="http://schemas.microsoft.com/office/powerpoint/2010/main" val="1210115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364" name="Diapositive think-cell" r:id="rId97" imgW="532" imgH="530" progId="TCLayout.ActiveDocument.1">
                  <p:embed/>
                </p:oleObj>
              </mc:Choice>
              <mc:Fallback>
                <p:oleObj name="Diapositive think-cell" r:id="rId97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nb-NO" noProof="0"/>
              <a:t>OVERSKRIF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Tekst nivå 1</a:t>
            </a:r>
          </a:p>
          <a:p>
            <a:pPr lvl="2"/>
            <a:r>
              <a:rPr lang="nb-NO" noProof="0"/>
              <a:t>Tekst nivå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noProof="0" dirty="0"/>
              <a:t>© Ipsos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9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224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06" r:id="rId1"/>
    <p:sldLayoutId id="2147485507" r:id="rId2"/>
    <p:sldLayoutId id="2147485508" r:id="rId3"/>
    <p:sldLayoutId id="2147485509" r:id="rId4"/>
    <p:sldLayoutId id="2147485510" r:id="rId5"/>
    <p:sldLayoutId id="2147485511" r:id="rId6"/>
    <p:sldLayoutId id="2147485512" r:id="rId7"/>
    <p:sldLayoutId id="2147485513" r:id="rId8"/>
    <p:sldLayoutId id="2147485514" r:id="rId9"/>
    <p:sldLayoutId id="2147485515" r:id="rId10"/>
    <p:sldLayoutId id="2147485516" r:id="rId11"/>
    <p:sldLayoutId id="2147485517" r:id="rId12"/>
    <p:sldLayoutId id="2147485518" r:id="rId13"/>
    <p:sldLayoutId id="2147485519" r:id="rId14"/>
    <p:sldLayoutId id="2147485520" r:id="rId15"/>
    <p:sldLayoutId id="2147485521" r:id="rId16"/>
    <p:sldLayoutId id="2147485522" r:id="rId17"/>
    <p:sldLayoutId id="2147485523" r:id="rId18"/>
    <p:sldLayoutId id="2147485524" r:id="rId19"/>
    <p:sldLayoutId id="2147485525" r:id="rId20"/>
    <p:sldLayoutId id="2147485526" r:id="rId21"/>
    <p:sldLayoutId id="2147485527" r:id="rId22"/>
    <p:sldLayoutId id="2147485528" r:id="rId23"/>
    <p:sldLayoutId id="2147485529" r:id="rId24"/>
    <p:sldLayoutId id="2147485530" r:id="rId25"/>
    <p:sldLayoutId id="2147485531" r:id="rId26"/>
    <p:sldLayoutId id="2147485532" r:id="rId27"/>
    <p:sldLayoutId id="2147485533" r:id="rId28"/>
    <p:sldLayoutId id="2147485534" r:id="rId29"/>
    <p:sldLayoutId id="2147485535" r:id="rId30"/>
    <p:sldLayoutId id="2147485536" r:id="rId31"/>
    <p:sldLayoutId id="2147485537" r:id="rId32"/>
    <p:sldLayoutId id="2147485538" r:id="rId33"/>
    <p:sldLayoutId id="2147485539" r:id="rId34"/>
    <p:sldLayoutId id="2147485540" r:id="rId35"/>
    <p:sldLayoutId id="2147485541" r:id="rId36"/>
    <p:sldLayoutId id="2147485542" r:id="rId37"/>
    <p:sldLayoutId id="2147485543" r:id="rId38"/>
    <p:sldLayoutId id="2147485544" r:id="rId39"/>
    <p:sldLayoutId id="2147485545" r:id="rId40"/>
    <p:sldLayoutId id="2147485546" r:id="rId41"/>
    <p:sldLayoutId id="2147485547" r:id="rId42"/>
    <p:sldLayoutId id="2147485548" r:id="rId43"/>
    <p:sldLayoutId id="2147485549" r:id="rId44"/>
    <p:sldLayoutId id="2147485550" r:id="rId45"/>
    <p:sldLayoutId id="2147485551" r:id="rId46"/>
    <p:sldLayoutId id="2147485552" r:id="rId47"/>
    <p:sldLayoutId id="2147485553" r:id="rId48"/>
    <p:sldLayoutId id="2147485554" r:id="rId49"/>
    <p:sldLayoutId id="2147485555" r:id="rId50"/>
    <p:sldLayoutId id="2147485556" r:id="rId51"/>
    <p:sldLayoutId id="2147485557" r:id="rId52"/>
    <p:sldLayoutId id="2147485558" r:id="rId53"/>
    <p:sldLayoutId id="2147485559" r:id="rId54"/>
    <p:sldLayoutId id="2147485560" r:id="rId55"/>
    <p:sldLayoutId id="2147485561" r:id="rId56"/>
    <p:sldLayoutId id="2147485562" r:id="rId57"/>
    <p:sldLayoutId id="2147485563" r:id="rId58"/>
    <p:sldLayoutId id="2147485564" r:id="rId59"/>
    <p:sldLayoutId id="2147485565" r:id="rId60"/>
    <p:sldLayoutId id="2147485566" r:id="rId61"/>
    <p:sldLayoutId id="2147485567" r:id="rId62"/>
    <p:sldLayoutId id="2147485568" r:id="rId63"/>
    <p:sldLayoutId id="2147485569" r:id="rId64"/>
    <p:sldLayoutId id="2147485570" r:id="rId65"/>
    <p:sldLayoutId id="2147485571" r:id="rId66"/>
    <p:sldLayoutId id="2147485572" r:id="rId67"/>
    <p:sldLayoutId id="2147485573" r:id="rId68"/>
    <p:sldLayoutId id="2147485574" r:id="rId69"/>
    <p:sldLayoutId id="2147485575" r:id="rId70"/>
    <p:sldLayoutId id="2147485576" r:id="rId71"/>
    <p:sldLayoutId id="2147485577" r:id="rId72"/>
    <p:sldLayoutId id="2147485578" r:id="rId73"/>
    <p:sldLayoutId id="2147485579" r:id="rId74"/>
    <p:sldLayoutId id="2147485580" r:id="rId75"/>
    <p:sldLayoutId id="2147485581" r:id="rId76"/>
    <p:sldLayoutId id="2147485582" r:id="rId77"/>
    <p:sldLayoutId id="2147485583" r:id="rId78"/>
    <p:sldLayoutId id="2147485584" r:id="rId79"/>
    <p:sldLayoutId id="2147485585" r:id="rId80"/>
    <p:sldLayoutId id="2147485586" r:id="rId81"/>
    <p:sldLayoutId id="2147485587" r:id="rId82"/>
    <p:sldLayoutId id="2147485588" r:id="rId83"/>
    <p:sldLayoutId id="2147485589" r:id="rId84"/>
    <p:sldLayoutId id="2147485590" r:id="rId85"/>
    <p:sldLayoutId id="2147485591" r:id="rId86"/>
    <p:sldLayoutId id="2147485592" r:id="rId87"/>
    <p:sldLayoutId id="2147485593" r:id="rId88"/>
    <p:sldLayoutId id="2147485594" r:id="rId89"/>
    <p:sldLayoutId id="2147485595" r:id="rId90"/>
    <p:sldLayoutId id="2147485596" r:id="rId91"/>
    <p:sldLayoutId id="2147485597" r:id="rId92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100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22" name="Diapositive think-cell" r:id="rId93" imgW="532" imgH="530" progId="TCLayout.ActiveDocument.1">
                  <p:embed/>
                </p:oleObj>
              </mc:Choice>
              <mc:Fallback>
                <p:oleObj name="Diapositive think-cell" r:id="rId93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nb-NO" noProof="0"/>
              <a:t>OVERSKRIF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Tekst nivå 1</a:t>
            </a:r>
          </a:p>
          <a:p>
            <a:pPr lvl="2"/>
            <a:r>
              <a:rPr lang="nb-NO" noProof="0"/>
              <a:t>Tekst nivå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7623" y="6292621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467621" y="6410440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noProof="0" dirty="0"/>
              <a:t>© Ipsos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9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55405" y="6200775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60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54" r:id="rId16"/>
    <p:sldLayoutId id="2147483855" r:id="rId17"/>
    <p:sldLayoutId id="2147483856" r:id="rId18"/>
    <p:sldLayoutId id="2147483857" r:id="rId19"/>
    <p:sldLayoutId id="2147483858" r:id="rId20"/>
    <p:sldLayoutId id="2147483859" r:id="rId21"/>
    <p:sldLayoutId id="2147483860" r:id="rId22"/>
    <p:sldLayoutId id="2147483861" r:id="rId23"/>
    <p:sldLayoutId id="2147483862" r:id="rId24"/>
    <p:sldLayoutId id="2147483863" r:id="rId25"/>
    <p:sldLayoutId id="2147483864" r:id="rId26"/>
    <p:sldLayoutId id="2147483865" r:id="rId27"/>
    <p:sldLayoutId id="2147483866" r:id="rId28"/>
    <p:sldLayoutId id="2147483867" r:id="rId29"/>
    <p:sldLayoutId id="2147483868" r:id="rId30"/>
    <p:sldLayoutId id="2147483869" r:id="rId31"/>
    <p:sldLayoutId id="2147483870" r:id="rId32"/>
    <p:sldLayoutId id="2147483871" r:id="rId33"/>
    <p:sldLayoutId id="2147483872" r:id="rId34"/>
    <p:sldLayoutId id="2147483873" r:id="rId35"/>
    <p:sldLayoutId id="2147483874" r:id="rId36"/>
    <p:sldLayoutId id="2147483875" r:id="rId37"/>
    <p:sldLayoutId id="2147483876" r:id="rId38"/>
    <p:sldLayoutId id="2147483877" r:id="rId39"/>
    <p:sldLayoutId id="2147483878" r:id="rId40"/>
    <p:sldLayoutId id="2147483879" r:id="rId41"/>
    <p:sldLayoutId id="2147483880" r:id="rId42"/>
    <p:sldLayoutId id="2147483881" r:id="rId43"/>
    <p:sldLayoutId id="2147483882" r:id="rId44"/>
    <p:sldLayoutId id="2147483883" r:id="rId45"/>
    <p:sldLayoutId id="2147483884" r:id="rId46"/>
    <p:sldLayoutId id="2147483885" r:id="rId47"/>
    <p:sldLayoutId id="2147483886" r:id="rId48"/>
    <p:sldLayoutId id="2147483887" r:id="rId49"/>
    <p:sldLayoutId id="2147483888" r:id="rId50"/>
    <p:sldLayoutId id="2147483889" r:id="rId51"/>
    <p:sldLayoutId id="2147483890" r:id="rId52"/>
    <p:sldLayoutId id="2147483891" r:id="rId53"/>
    <p:sldLayoutId id="2147483892" r:id="rId54"/>
    <p:sldLayoutId id="2147483893" r:id="rId55"/>
    <p:sldLayoutId id="2147483894" r:id="rId56"/>
    <p:sldLayoutId id="2147483895" r:id="rId57"/>
    <p:sldLayoutId id="2147483896" r:id="rId58"/>
    <p:sldLayoutId id="2147483897" r:id="rId59"/>
    <p:sldLayoutId id="2147483898" r:id="rId60"/>
    <p:sldLayoutId id="2147483899" r:id="rId61"/>
    <p:sldLayoutId id="2147483900" r:id="rId62"/>
    <p:sldLayoutId id="2147483901" r:id="rId63"/>
    <p:sldLayoutId id="2147483902" r:id="rId64"/>
    <p:sldLayoutId id="2147483903" r:id="rId65"/>
    <p:sldLayoutId id="2147483904" r:id="rId66"/>
    <p:sldLayoutId id="2147483905" r:id="rId67"/>
    <p:sldLayoutId id="2147483906" r:id="rId68"/>
    <p:sldLayoutId id="2147483907" r:id="rId69"/>
    <p:sldLayoutId id="2147483908" r:id="rId70"/>
    <p:sldLayoutId id="2147483909" r:id="rId71"/>
    <p:sldLayoutId id="2147483910" r:id="rId72"/>
    <p:sldLayoutId id="2147483911" r:id="rId73"/>
    <p:sldLayoutId id="2147483912" r:id="rId74"/>
    <p:sldLayoutId id="2147483913" r:id="rId75"/>
    <p:sldLayoutId id="2147483914" r:id="rId76"/>
    <p:sldLayoutId id="2147483915" r:id="rId77"/>
    <p:sldLayoutId id="2147483916" r:id="rId78"/>
    <p:sldLayoutId id="2147483917" r:id="rId79"/>
    <p:sldLayoutId id="2147483918" r:id="rId80"/>
    <p:sldLayoutId id="2147483919" r:id="rId81"/>
    <p:sldLayoutId id="2147483920" r:id="rId82"/>
    <p:sldLayoutId id="2147483921" r:id="rId83"/>
    <p:sldLayoutId id="2147483922" r:id="rId84"/>
    <p:sldLayoutId id="2147483923" r:id="rId85"/>
    <p:sldLayoutId id="2147483924" r:id="rId86"/>
    <p:sldLayoutId id="2147483925" r:id="rId87"/>
    <p:sldLayoutId id="2147483926" r:id="rId8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96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160574" y="164489"/>
            <a:ext cx="11870853" cy="652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32" tIns="75116" rIns="150232" bIns="751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89865" y="489790"/>
            <a:ext cx="3899496" cy="502445"/>
          </a:xfrm>
          <a:prstGeom prst="rect">
            <a:avLst/>
          </a:prstGeom>
          <a:noFill/>
        </p:spPr>
        <p:txBody>
          <a:bodyPr wrap="none" lIns="82819" tIns="0" rIns="82819" bIns="0" rtlCol="0" anchor="ctr">
            <a:spAutoFit/>
          </a:bodyPr>
          <a:lstStyle/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99116" y="1579294"/>
            <a:ext cx="11163933" cy="4200889"/>
          </a:xfrm>
          <a:prstGeom prst="rect">
            <a:avLst/>
          </a:prstGeom>
        </p:spPr>
        <p:txBody>
          <a:bodyPr vert="horz" lIns="0" tIns="41410" rIns="0" bIns="4141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Box 11"/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1779070" y="6683027"/>
            <a:ext cx="244094" cy="179050"/>
          </a:xfrm>
          <a:prstGeom prst="rect">
            <a:avLst/>
          </a:prstGeom>
          <a:noFill/>
        </p:spPr>
        <p:txBody>
          <a:bodyPr wrap="none" lIns="65304" tIns="32652" rIns="65304" bIns="32652" rtlCol="0">
            <a:spAutoFit/>
          </a:bodyPr>
          <a:lstStyle/>
          <a:p>
            <a:pPr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fld id="{69D3DF2A-D038-4B81-A6B1-E92E961EB4BE}" type="slidenum">
              <a:rPr lang="nb-NO" sz="725" b="0" smtClean="0"/>
              <a:pPr>
                <a:lnSpc>
                  <a:spcPct val="110000"/>
                </a:lnSpc>
                <a:spcBef>
                  <a:spcPts val="2176"/>
                </a:spcBef>
                <a:buClr>
                  <a:schemeClr val="bg2"/>
                </a:buClr>
              </a:pPr>
              <a:t>‹#›</a:t>
            </a:fld>
            <a:endParaRPr lang="nb-NO" sz="725" b="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82829DC-0354-4407-807A-971AF30DC54D}"/>
              </a:ext>
            </a:extLst>
          </p:cNvPr>
          <p:cNvGrpSpPr/>
          <p:nvPr userDrawn="1"/>
        </p:nvGrpSpPr>
        <p:grpSpPr>
          <a:xfrm>
            <a:off x="9907759" y="6249103"/>
            <a:ext cx="2034176" cy="374509"/>
            <a:chOff x="10239375" y="6688139"/>
            <a:chExt cx="2842245" cy="523426"/>
          </a:xfrm>
        </p:grpSpPr>
        <p:pic>
          <p:nvPicPr>
            <p:cNvPr id="13" name="Picture 12" descr="IPSOS_GAMECHANGERS_blue.png">
              <a:extLst>
                <a:ext uri="{FF2B5EF4-FFF2-40B4-BE49-F238E27FC236}">
                  <a16:creationId xmlns:a16="http://schemas.microsoft.com/office/drawing/2014/main" id="{01F61C77-8606-49F7-87E9-26CE44E870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688139"/>
              <a:ext cx="554657" cy="523426"/>
            </a:xfrm>
            <a:prstGeom prst="rect">
              <a:avLst/>
            </a:prstGeom>
          </p:spPr>
        </p:pic>
        <p:pic>
          <p:nvPicPr>
            <p:cNvPr id="14" name="Picture 13" descr="IPSOS_GAMECHANGERS_blue.png">
              <a:extLst>
                <a:ext uri="{FF2B5EF4-FFF2-40B4-BE49-F238E27FC236}">
                  <a16:creationId xmlns:a16="http://schemas.microsoft.com/office/drawing/2014/main" id="{319A3771-FEF8-40F1-BDF2-B99730A5B90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610" r="22774"/>
            <a:stretch/>
          </p:blipFill>
          <p:spPr>
            <a:xfrm>
              <a:off x="10239375" y="6804025"/>
              <a:ext cx="2028825" cy="40753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20678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2" r:id="rId1"/>
    <p:sldLayoutId id="2147484123" r:id="rId2"/>
    <p:sldLayoutId id="2147484124" r:id="rId3"/>
    <p:sldLayoutId id="2147484125" r:id="rId4"/>
    <p:sldLayoutId id="2147484126" r:id="rId5"/>
    <p:sldLayoutId id="2147484127" r:id="rId6"/>
    <p:sldLayoutId id="2147484128" r:id="rId7"/>
    <p:sldLayoutId id="2147484129" r:id="rId8"/>
    <p:sldLayoutId id="2147484130" r:id="rId9"/>
    <p:sldLayoutId id="2147484131" r:id="rId10"/>
    <p:sldLayoutId id="2147484132" r:id="rId11"/>
    <p:sldLayoutId id="2147484133" r:id="rId12"/>
    <p:sldLayoutId id="2147484134" r:id="rId13"/>
    <p:sldLayoutId id="2147484135" r:id="rId14"/>
    <p:sldLayoutId id="2147484136" r:id="rId15"/>
    <p:sldLayoutId id="2147484137" r:id="rId16"/>
    <p:sldLayoutId id="2147484138" r:id="rId17"/>
    <p:sldLayoutId id="2147484139" r:id="rId18"/>
    <p:sldLayoutId id="2147484140" r:id="rId19"/>
    <p:sldLayoutId id="2147484141" r:id="rId20"/>
    <p:sldLayoutId id="2147484142" r:id="rId21"/>
    <p:sldLayoutId id="2147484143" r:id="rId22"/>
    <p:sldLayoutId id="2147484144" r:id="rId23"/>
    <p:sldLayoutId id="2147484145" r:id="rId24"/>
    <p:sldLayoutId id="2147484146" r:id="rId25"/>
    <p:sldLayoutId id="2147484147" r:id="rId26"/>
    <p:sldLayoutId id="2147484148" r:id="rId27"/>
    <p:sldLayoutId id="2147484149" r:id="rId28"/>
    <p:sldLayoutId id="2147484150" r:id="rId29"/>
    <p:sldLayoutId id="2147484151" r:id="rId30"/>
    <p:sldLayoutId id="2147484152" r:id="rId31"/>
    <p:sldLayoutId id="2147484153" r:id="rId32"/>
    <p:sldLayoutId id="2147484154" r:id="rId33"/>
    <p:sldLayoutId id="2147484155" r:id="rId34"/>
    <p:sldLayoutId id="2147484156" r:id="rId35"/>
    <p:sldLayoutId id="2147484157" r:id="rId36"/>
    <p:sldLayoutId id="2147484158" r:id="rId37"/>
    <p:sldLayoutId id="2147484159" r:id="rId38"/>
    <p:sldLayoutId id="2147484160" r:id="rId39"/>
    <p:sldLayoutId id="2147484161" r:id="rId40"/>
    <p:sldLayoutId id="2147484162" r:id="rId41"/>
    <p:sldLayoutId id="2147484163" r:id="rId42"/>
    <p:sldLayoutId id="2147484164" r:id="rId43"/>
    <p:sldLayoutId id="2147484165" r:id="rId44"/>
    <p:sldLayoutId id="2147484166" r:id="rId45"/>
    <p:sldLayoutId id="2147484167" r:id="rId46"/>
    <p:sldLayoutId id="2147484168" r:id="rId47"/>
    <p:sldLayoutId id="2147484169" r:id="rId48"/>
    <p:sldLayoutId id="2147484170" r:id="rId49"/>
    <p:sldLayoutId id="2147484171" r:id="rId50"/>
    <p:sldLayoutId id="2147484172" r:id="rId51"/>
    <p:sldLayoutId id="2147484173" r:id="rId52"/>
    <p:sldLayoutId id="2147484174" r:id="rId53"/>
    <p:sldLayoutId id="2147484175" r:id="rId54"/>
    <p:sldLayoutId id="2147484176" r:id="rId55"/>
    <p:sldLayoutId id="2147484177" r:id="rId56"/>
    <p:sldLayoutId id="2147484178" r:id="rId57"/>
    <p:sldLayoutId id="2147484179" r:id="rId58"/>
    <p:sldLayoutId id="2147484180" r:id="rId59"/>
    <p:sldLayoutId id="2147484181" r:id="rId60"/>
    <p:sldLayoutId id="2147484182" r:id="rId61"/>
    <p:sldLayoutId id="2147484183" r:id="rId62"/>
    <p:sldLayoutId id="2147484184" r:id="rId63"/>
    <p:sldLayoutId id="2147484185" r:id="rId64"/>
    <p:sldLayoutId id="2147484186" r:id="rId65"/>
    <p:sldLayoutId id="2147484187" r:id="rId66"/>
    <p:sldLayoutId id="2147484188" r:id="rId67"/>
    <p:sldLayoutId id="2147484189" r:id="rId68"/>
    <p:sldLayoutId id="2147484190" r:id="rId69"/>
    <p:sldLayoutId id="2147484191" r:id="rId70"/>
    <p:sldLayoutId id="2147484192" r:id="rId71"/>
    <p:sldLayoutId id="2147484193" r:id="rId72"/>
    <p:sldLayoutId id="2147484194" r:id="rId73"/>
    <p:sldLayoutId id="2147484195" r:id="rId74"/>
    <p:sldLayoutId id="2147484196" r:id="rId75"/>
    <p:sldLayoutId id="2147484197" r:id="rId76"/>
    <p:sldLayoutId id="2147484198" r:id="rId77"/>
    <p:sldLayoutId id="2147484199" r:id="rId78"/>
    <p:sldLayoutId id="2147484200" r:id="rId79"/>
    <p:sldLayoutId id="2147484201" r:id="rId80"/>
    <p:sldLayoutId id="2147484202" r:id="rId81"/>
    <p:sldLayoutId id="2147484203" r:id="rId82"/>
    <p:sldLayoutId id="2147484204" r:id="rId83"/>
    <p:sldLayoutId id="2147484205" r:id="rId84"/>
    <p:sldLayoutId id="2147484206" r:id="rId85"/>
    <p:sldLayoutId id="2147484294" r:id="rId86"/>
  </p:sldLayoutIdLst>
  <p:transition>
    <p:fade/>
  </p:transition>
  <p:hf hdr="0" dt="0"/>
  <p:txStyles>
    <p:titleStyle>
      <a:lvl1pPr algn="l" defTabSz="953891" rtl="0" eaLnBrk="1" latinLnBrk="0" hangingPunct="1">
        <a:lnSpc>
          <a:spcPct val="100000"/>
        </a:lnSpc>
        <a:spcBef>
          <a:spcPts val="0"/>
        </a:spcBef>
        <a:buNone/>
        <a:defRPr lang="en-GB" sz="3265" b="0" kern="1200" cap="all" baseline="0" smtClean="0">
          <a:solidFill>
            <a:schemeClr val="tx1"/>
          </a:solidFill>
          <a:latin typeface="+mj-lt"/>
          <a:ea typeface="+mn-ea"/>
          <a:cs typeface="+mn-cs"/>
        </a:defRPr>
      </a:lvl1pPr>
    </p:titleStyle>
    <p:bodyStyle>
      <a:lvl1pPr marL="284842" indent="-284842" algn="l" defTabSz="953891" rtl="0" eaLnBrk="1" latinLnBrk="0" hangingPunct="1">
        <a:lnSpc>
          <a:spcPct val="110000"/>
        </a:lnSpc>
        <a:spcBef>
          <a:spcPts val="272"/>
        </a:spcBef>
        <a:spcAft>
          <a:spcPts val="272"/>
        </a:spcAft>
        <a:buClr>
          <a:schemeClr val="tx1"/>
        </a:buClr>
        <a:buFont typeface="Wingdings" panose="05000000000000000000" pitchFamily="2" charset="2"/>
        <a:buChar char="§"/>
        <a:defRPr sz="1995" kern="1200">
          <a:solidFill>
            <a:schemeClr val="tx1"/>
          </a:solidFill>
          <a:latin typeface="+mn-lt"/>
          <a:ea typeface="+mn-ea"/>
          <a:cs typeface="+mn-cs"/>
        </a:defRPr>
      </a:lvl1pPr>
      <a:lvl2pPr marL="775037" indent="-298091" algn="l" defTabSz="953891" rtl="0" eaLnBrk="1" latinLnBrk="0" hangingPunct="1">
        <a:lnSpc>
          <a:spcPct val="110000"/>
        </a:lnSpc>
        <a:spcBef>
          <a:spcPts val="272"/>
        </a:spcBef>
        <a:spcAft>
          <a:spcPts val="272"/>
        </a:spcAft>
        <a:buClr>
          <a:schemeClr val="tx1"/>
        </a:buClr>
        <a:buFont typeface="Geomanist Light" pitchFamily="50" charset="0"/>
        <a:buChar char="–"/>
        <a:defRPr sz="1995" kern="1200">
          <a:solidFill>
            <a:schemeClr val="tx1"/>
          </a:solidFill>
          <a:latin typeface="+mn-lt"/>
          <a:ea typeface="+mn-ea"/>
          <a:cs typeface="+mn-cs"/>
        </a:defRPr>
      </a:lvl2pPr>
      <a:lvl3pPr marL="1192365" indent="-238473" algn="l" defTabSz="953891" rtl="0" eaLnBrk="1" latinLnBrk="0" hangingPunct="1">
        <a:lnSpc>
          <a:spcPct val="110000"/>
        </a:lnSpc>
        <a:spcBef>
          <a:spcPts val="272"/>
        </a:spcBef>
        <a:spcAft>
          <a:spcPts val="272"/>
        </a:spcAft>
        <a:buClr>
          <a:schemeClr val="tx1"/>
        </a:buClr>
        <a:buFont typeface="Geomanist Light" pitchFamily="50" charset="0"/>
        <a:buChar char="–"/>
        <a:defRPr sz="1995" kern="1200">
          <a:solidFill>
            <a:schemeClr val="tx1"/>
          </a:solidFill>
          <a:latin typeface="+mn-lt"/>
          <a:ea typeface="+mn-ea"/>
          <a:cs typeface="+mn-cs"/>
        </a:defRPr>
      </a:lvl3pPr>
      <a:lvl4pPr marL="1669310" indent="-238473" algn="l" defTabSz="953891" rtl="0" eaLnBrk="1" latinLnBrk="0" hangingPunct="1">
        <a:lnSpc>
          <a:spcPct val="110000"/>
        </a:lnSpc>
        <a:spcBef>
          <a:spcPts val="272"/>
        </a:spcBef>
        <a:spcAft>
          <a:spcPts val="272"/>
        </a:spcAft>
        <a:buClr>
          <a:schemeClr val="tx1"/>
        </a:buClr>
        <a:buFont typeface="Geomanist Light" pitchFamily="50" charset="0"/>
        <a:buChar char="–"/>
        <a:defRPr sz="1995" kern="1200">
          <a:solidFill>
            <a:schemeClr val="tx1"/>
          </a:solidFill>
          <a:latin typeface="+mn-lt"/>
          <a:ea typeface="+mn-ea"/>
          <a:cs typeface="+mn-cs"/>
        </a:defRPr>
      </a:lvl4pPr>
      <a:lvl5pPr marL="2146254" indent="-238473" algn="l" defTabSz="953891" rtl="0" eaLnBrk="1" latinLnBrk="0" hangingPunct="1">
        <a:lnSpc>
          <a:spcPct val="110000"/>
        </a:lnSpc>
        <a:spcBef>
          <a:spcPts val="272"/>
        </a:spcBef>
        <a:spcAft>
          <a:spcPts val="272"/>
        </a:spcAft>
        <a:buClr>
          <a:schemeClr val="tx1"/>
        </a:buClr>
        <a:buFont typeface="Geomanist Light" pitchFamily="50" charset="0"/>
        <a:buChar char="–"/>
        <a:defRPr sz="1995" kern="1200">
          <a:solidFill>
            <a:schemeClr val="tx1"/>
          </a:solidFill>
          <a:latin typeface="+mn-lt"/>
          <a:ea typeface="+mn-ea"/>
          <a:cs typeface="+mn-cs"/>
        </a:defRPr>
      </a:lvl5pPr>
      <a:lvl6pPr marL="2623201" indent="-238473" algn="l" defTabSz="953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176" kern="1200">
          <a:solidFill>
            <a:schemeClr val="tx1"/>
          </a:solidFill>
          <a:latin typeface="+mn-lt"/>
          <a:ea typeface="+mn-ea"/>
          <a:cs typeface="+mn-cs"/>
        </a:defRPr>
      </a:lvl6pPr>
      <a:lvl7pPr marL="3100146" indent="-238473" algn="l" defTabSz="953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176" kern="1200">
          <a:solidFill>
            <a:schemeClr val="tx1"/>
          </a:solidFill>
          <a:latin typeface="+mn-lt"/>
          <a:ea typeface="+mn-ea"/>
          <a:cs typeface="+mn-cs"/>
        </a:defRPr>
      </a:lvl7pPr>
      <a:lvl8pPr marL="3577092" indent="-238473" algn="l" defTabSz="953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176" kern="1200">
          <a:solidFill>
            <a:schemeClr val="tx1"/>
          </a:solidFill>
          <a:latin typeface="+mn-lt"/>
          <a:ea typeface="+mn-ea"/>
          <a:cs typeface="+mn-cs"/>
        </a:defRPr>
      </a:lvl8pPr>
      <a:lvl9pPr marL="4054037" indent="-238473" algn="l" defTabSz="953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17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76947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53891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30836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07783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384728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861674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38619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15565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160574" y="164489"/>
            <a:ext cx="11870853" cy="652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0232" tIns="75116" rIns="150232" bIns="751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503"/>
              </a:spcBef>
              <a:buClr>
                <a:schemeClr val="bg2"/>
              </a:buClr>
            </a:pPr>
            <a:endParaRPr lang="en-GB" sz="2903" dirty="0">
              <a:solidFill>
                <a:schemeClr val="bg1"/>
              </a:solidFill>
              <a:latin typeface="Segoe UI Light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89865" y="489790"/>
            <a:ext cx="3899496" cy="502445"/>
          </a:xfrm>
          <a:prstGeom prst="rect">
            <a:avLst/>
          </a:prstGeom>
          <a:noFill/>
        </p:spPr>
        <p:txBody>
          <a:bodyPr wrap="none" lIns="82819" tIns="0" rIns="82819" bIns="0" rtlCol="0" anchor="ctr">
            <a:spAutoFit/>
          </a:bodyPr>
          <a:lstStyle/>
          <a:p>
            <a:pPr marL="0" lvl="0" indent="0" algn="l">
              <a:spcBef>
                <a:spcPct val="20000"/>
              </a:spcBef>
              <a:buFont typeface="Arial" panose="020B0604020202020204" pitchFamily="34" charset="0"/>
            </a:pPr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99116" y="1579294"/>
            <a:ext cx="11163933" cy="4200889"/>
          </a:xfrm>
          <a:prstGeom prst="rect">
            <a:avLst/>
          </a:prstGeom>
        </p:spPr>
        <p:txBody>
          <a:bodyPr vert="horz" lIns="0" tIns="41410" rIns="0" bIns="4141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TextBox 11"/>
          <p:cNvSpPr txBox="1"/>
          <p:nvPr userDrawn="1"/>
        </p:nvSpPr>
        <p:spPr bwMode="gray">
          <a:xfrm>
            <a:off x="489574" y="6693863"/>
            <a:ext cx="4441445" cy="16414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Spisefakta 2018 |</a:t>
            </a:r>
            <a:r>
              <a:rPr lang="nb-NO" sz="725" baseline="0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 </a:t>
            </a:r>
            <a:r>
              <a:rPr lang="nb-NO" sz="725" noProof="0" dirty="0">
                <a:solidFill>
                  <a:schemeClr val="tx1"/>
                </a:solidFill>
                <a:latin typeface="Segoe UI Light" panose="020B0502040204020203" pitchFamily="34" charset="0"/>
              </a:rPr>
              <a:t>© 2018 Ipsos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1779070" y="6683027"/>
            <a:ext cx="244094" cy="179050"/>
          </a:xfrm>
          <a:prstGeom prst="rect">
            <a:avLst/>
          </a:prstGeom>
          <a:noFill/>
        </p:spPr>
        <p:txBody>
          <a:bodyPr wrap="none" lIns="65304" tIns="32652" rIns="65304" bIns="32652" rtlCol="0">
            <a:spAutoFit/>
          </a:bodyPr>
          <a:lstStyle/>
          <a:p>
            <a:pPr>
              <a:lnSpc>
                <a:spcPct val="110000"/>
              </a:lnSpc>
              <a:spcBef>
                <a:spcPts val="2176"/>
              </a:spcBef>
              <a:buClr>
                <a:schemeClr val="bg2"/>
              </a:buClr>
            </a:pPr>
            <a:fld id="{69D3DF2A-D038-4B81-A6B1-E92E961EB4BE}" type="slidenum">
              <a:rPr lang="nb-NO" sz="725" b="0" smtClean="0"/>
              <a:pPr>
                <a:lnSpc>
                  <a:spcPct val="110000"/>
                </a:lnSpc>
                <a:spcBef>
                  <a:spcPts val="2176"/>
                </a:spcBef>
                <a:buClr>
                  <a:schemeClr val="bg2"/>
                </a:buClr>
              </a:pPr>
              <a:t>‹#›</a:t>
            </a:fld>
            <a:endParaRPr lang="nb-NO" sz="725" b="0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82829DC-0354-4407-807A-971AF30DC54D}"/>
              </a:ext>
            </a:extLst>
          </p:cNvPr>
          <p:cNvGrpSpPr/>
          <p:nvPr userDrawn="1"/>
        </p:nvGrpSpPr>
        <p:grpSpPr>
          <a:xfrm>
            <a:off x="9907759" y="6249103"/>
            <a:ext cx="2034176" cy="374509"/>
            <a:chOff x="10239375" y="6688139"/>
            <a:chExt cx="2842245" cy="523426"/>
          </a:xfrm>
        </p:grpSpPr>
        <p:pic>
          <p:nvPicPr>
            <p:cNvPr id="13" name="Picture 12" descr="IPSOS_GAMECHANGERS_blue.png">
              <a:extLst>
                <a:ext uri="{FF2B5EF4-FFF2-40B4-BE49-F238E27FC236}">
                  <a16:creationId xmlns:a16="http://schemas.microsoft.com/office/drawing/2014/main" id="{01F61C77-8606-49F7-87E9-26CE44E870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688139"/>
              <a:ext cx="554657" cy="523426"/>
            </a:xfrm>
            <a:prstGeom prst="rect">
              <a:avLst/>
            </a:prstGeom>
          </p:spPr>
        </p:pic>
        <p:pic>
          <p:nvPicPr>
            <p:cNvPr id="14" name="Picture 13" descr="IPSOS_GAMECHANGERS_blue.png">
              <a:extLst>
                <a:ext uri="{FF2B5EF4-FFF2-40B4-BE49-F238E27FC236}">
                  <a16:creationId xmlns:a16="http://schemas.microsoft.com/office/drawing/2014/main" id="{319A3771-FEF8-40F1-BDF2-B99730A5B90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610" r="22774"/>
            <a:stretch/>
          </p:blipFill>
          <p:spPr>
            <a:xfrm>
              <a:off x="10239375" y="6804025"/>
              <a:ext cx="2028825" cy="407539"/>
            </a:xfrm>
            <a:prstGeom prst="rect">
              <a:avLst/>
            </a:prstGeom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06DDACC9-63CF-477A-922A-6268D67721EE}"/>
              </a:ext>
            </a:extLst>
          </p:cNvPr>
          <p:cNvSpPr/>
          <p:nvPr userDrawn="1"/>
        </p:nvSpPr>
        <p:spPr bwMode="gray">
          <a:xfrm>
            <a:off x="9887943" y="279966"/>
            <a:ext cx="1535288" cy="20978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96000" rIns="48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r>
              <a:rPr lang="nb-NO" sz="1333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orsk Monito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16C6F7-7643-4B32-A0EA-744BBC05CFBB}"/>
              </a:ext>
            </a:extLst>
          </p:cNvPr>
          <p:cNvSpPr/>
          <p:nvPr userDrawn="1"/>
        </p:nvSpPr>
        <p:spPr bwMode="gray">
          <a:xfrm>
            <a:off x="11416223" y="284564"/>
            <a:ext cx="496532" cy="205181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96000" rIns="48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r>
              <a:rPr lang="nb-NO" sz="1333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1003619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8" r:id="rId1"/>
    <p:sldLayoutId id="2147484209" r:id="rId2"/>
    <p:sldLayoutId id="2147484210" r:id="rId3"/>
    <p:sldLayoutId id="2147484211" r:id="rId4"/>
    <p:sldLayoutId id="2147484212" r:id="rId5"/>
    <p:sldLayoutId id="2147484213" r:id="rId6"/>
    <p:sldLayoutId id="2147484214" r:id="rId7"/>
    <p:sldLayoutId id="2147484215" r:id="rId8"/>
    <p:sldLayoutId id="2147484216" r:id="rId9"/>
    <p:sldLayoutId id="2147484217" r:id="rId10"/>
    <p:sldLayoutId id="2147484218" r:id="rId11"/>
    <p:sldLayoutId id="2147484219" r:id="rId12"/>
    <p:sldLayoutId id="2147484220" r:id="rId13"/>
    <p:sldLayoutId id="2147484221" r:id="rId14"/>
    <p:sldLayoutId id="2147484222" r:id="rId15"/>
    <p:sldLayoutId id="2147484223" r:id="rId16"/>
    <p:sldLayoutId id="2147484224" r:id="rId17"/>
    <p:sldLayoutId id="2147484225" r:id="rId18"/>
    <p:sldLayoutId id="2147484226" r:id="rId19"/>
    <p:sldLayoutId id="2147484227" r:id="rId20"/>
    <p:sldLayoutId id="2147484228" r:id="rId21"/>
    <p:sldLayoutId id="2147484229" r:id="rId22"/>
    <p:sldLayoutId id="2147484230" r:id="rId23"/>
    <p:sldLayoutId id="2147484231" r:id="rId24"/>
    <p:sldLayoutId id="2147484232" r:id="rId25"/>
    <p:sldLayoutId id="2147484233" r:id="rId26"/>
    <p:sldLayoutId id="2147484234" r:id="rId27"/>
    <p:sldLayoutId id="2147484235" r:id="rId28"/>
    <p:sldLayoutId id="2147484236" r:id="rId29"/>
    <p:sldLayoutId id="2147484237" r:id="rId30"/>
    <p:sldLayoutId id="2147484238" r:id="rId31"/>
    <p:sldLayoutId id="2147484239" r:id="rId32"/>
    <p:sldLayoutId id="2147484240" r:id="rId33"/>
    <p:sldLayoutId id="2147484241" r:id="rId34"/>
    <p:sldLayoutId id="2147484242" r:id="rId35"/>
    <p:sldLayoutId id="2147484243" r:id="rId36"/>
    <p:sldLayoutId id="2147484244" r:id="rId37"/>
    <p:sldLayoutId id="2147484245" r:id="rId38"/>
    <p:sldLayoutId id="2147484246" r:id="rId39"/>
    <p:sldLayoutId id="2147484247" r:id="rId40"/>
    <p:sldLayoutId id="2147484248" r:id="rId41"/>
    <p:sldLayoutId id="2147484249" r:id="rId42"/>
    <p:sldLayoutId id="2147484250" r:id="rId43"/>
    <p:sldLayoutId id="2147484251" r:id="rId44"/>
    <p:sldLayoutId id="2147484252" r:id="rId45"/>
    <p:sldLayoutId id="2147484253" r:id="rId46"/>
    <p:sldLayoutId id="2147484254" r:id="rId47"/>
    <p:sldLayoutId id="2147484255" r:id="rId48"/>
    <p:sldLayoutId id="2147484256" r:id="rId49"/>
    <p:sldLayoutId id="2147484257" r:id="rId50"/>
    <p:sldLayoutId id="2147484258" r:id="rId51"/>
    <p:sldLayoutId id="2147484259" r:id="rId52"/>
    <p:sldLayoutId id="2147484260" r:id="rId53"/>
    <p:sldLayoutId id="2147484261" r:id="rId54"/>
    <p:sldLayoutId id="2147484262" r:id="rId55"/>
    <p:sldLayoutId id="2147484263" r:id="rId56"/>
    <p:sldLayoutId id="2147484264" r:id="rId57"/>
    <p:sldLayoutId id="2147484265" r:id="rId58"/>
    <p:sldLayoutId id="2147484266" r:id="rId59"/>
    <p:sldLayoutId id="2147484267" r:id="rId60"/>
    <p:sldLayoutId id="2147484268" r:id="rId61"/>
    <p:sldLayoutId id="2147484269" r:id="rId62"/>
    <p:sldLayoutId id="2147484270" r:id="rId63"/>
    <p:sldLayoutId id="2147484271" r:id="rId64"/>
    <p:sldLayoutId id="2147484272" r:id="rId65"/>
    <p:sldLayoutId id="2147484273" r:id="rId66"/>
    <p:sldLayoutId id="2147484274" r:id="rId67"/>
    <p:sldLayoutId id="2147484275" r:id="rId68"/>
    <p:sldLayoutId id="2147484276" r:id="rId69"/>
    <p:sldLayoutId id="2147484277" r:id="rId70"/>
    <p:sldLayoutId id="2147484278" r:id="rId71"/>
    <p:sldLayoutId id="2147484279" r:id="rId72"/>
    <p:sldLayoutId id="2147484280" r:id="rId73"/>
    <p:sldLayoutId id="2147484281" r:id="rId74"/>
    <p:sldLayoutId id="2147484282" r:id="rId75"/>
    <p:sldLayoutId id="2147484283" r:id="rId76"/>
    <p:sldLayoutId id="2147484284" r:id="rId77"/>
    <p:sldLayoutId id="2147484285" r:id="rId78"/>
    <p:sldLayoutId id="2147484286" r:id="rId79"/>
    <p:sldLayoutId id="2147484287" r:id="rId80"/>
    <p:sldLayoutId id="2147484288" r:id="rId81"/>
    <p:sldLayoutId id="2147484289" r:id="rId82"/>
    <p:sldLayoutId id="2147484290" r:id="rId83"/>
    <p:sldLayoutId id="2147484291" r:id="rId84"/>
    <p:sldLayoutId id="2147484292" r:id="rId85"/>
    <p:sldLayoutId id="2147484293" r:id="rId86"/>
  </p:sldLayoutIdLst>
  <p:transition>
    <p:fade/>
  </p:transition>
  <p:hf hdr="0" dt="0"/>
  <p:txStyles>
    <p:titleStyle>
      <a:lvl1pPr algn="l" defTabSz="953891" rtl="0" eaLnBrk="1" latinLnBrk="0" hangingPunct="1">
        <a:lnSpc>
          <a:spcPct val="100000"/>
        </a:lnSpc>
        <a:spcBef>
          <a:spcPts val="0"/>
        </a:spcBef>
        <a:buNone/>
        <a:defRPr lang="en-GB" sz="3265" b="0" kern="1200" cap="all" baseline="0" smtClean="0">
          <a:solidFill>
            <a:schemeClr val="tx1"/>
          </a:solidFill>
          <a:latin typeface="+mj-lt"/>
          <a:ea typeface="+mn-ea"/>
          <a:cs typeface="+mn-cs"/>
        </a:defRPr>
      </a:lvl1pPr>
    </p:titleStyle>
    <p:bodyStyle>
      <a:lvl1pPr marL="284842" indent="-284842" algn="l" defTabSz="953891" rtl="0" eaLnBrk="1" latinLnBrk="0" hangingPunct="1">
        <a:lnSpc>
          <a:spcPct val="110000"/>
        </a:lnSpc>
        <a:spcBef>
          <a:spcPts val="272"/>
        </a:spcBef>
        <a:spcAft>
          <a:spcPts val="272"/>
        </a:spcAft>
        <a:buClr>
          <a:schemeClr val="tx1"/>
        </a:buClr>
        <a:buFont typeface="Wingdings" panose="05000000000000000000" pitchFamily="2" charset="2"/>
        <a:buChar char="§"/>
        <a:defRPr sz="1995" kern="1200">
          <a:solidFill>
            <a:schemeClr val="tx1"/>
          </a:solidFill>
          <a:latin typeface="+mn-lt"/>
          <a:ea typeface="+mn-ea"/>
          <a:cs typeface="+mn-cs"/>
        </a:defRPr>
      </a:lvl1pPr>
      <a:lvl2pPr marL="775037" indent="-298091" algn="l" defTabSz="953891" rtl="0" eaLnBrk="1" latinLnBrk="0" hangingPunct="1">
        <a:lnSpc>
          <a:spcPct val="110000"/>
        </a:lnSpc>
        <a:spcBef>
          <a:spcPts val="272"/>
        </a:spcBef>
        <a:spcAft>
          <a:spcPts val="272"/>
        </a:spcAft>
        <a:buClr>
          <a:schemeClr val="tx1"/>
        </a:buClr>
        <a:buFont typeface="Geomanist Light" pitchFamily="50" charset="0"/>
        <a:buChar char="–"/>
        <a:defRPr sz="1995" kern="1200">
          <a:solidFill>
            <a:schemeClr val="tx1"/>
          </a:solidFill>
          <a:latin typeface="+mn-lt"/>
          <a:ea typeface="+mn-ea"/>
          <a:cs typeface="+mn-cs"/>
        </a:defRPr>
      </a:lvl2pPr>
      <a:lvl3pPr marL="1192365" indent="-238473" algn="l" defTabSz="953891" rtl="0" eaLnBrk="1" latinLnBrk="0" hangingPunct="1">
        <a:lnSpc>
          <a:spcPct val="110000"/>
        </a:lnSpc>
        <a:spcBef>
          <a:spcPts val="272"/>
        </a:spcBef>
        <a:spcAft>
          <a:spcPts val="272"/>
        </a:spcAft>
        <a:buClr>
          <a:schemeClr val="tx1"/>
        </a:buClr>
        <a:buFont typeface="Geomanist Light" pitchFamily="50" charset="0"/>
        <a:buChar char="–"/>
        <a:defRPr sz="1995" kern="1200">
          <a:solidFill>
            <a:schemeClr val="tx1"/>
          </a:solidFill>
          <a:latin typeface="+mn-lt"/>
          <a:ea typeface="+mn-ea"/>
          <a:cs typeface="+mn-cs"/>
        </a:defRPr>
      </a:lvl3pPr>
      <a:lvl4pPr marL="1669310" indent="-238473" algn="l" defTabSz="953891" rtl="0" eaLnBrk="1" latinLnBrk="0" hangingPunct="1">
        <a:lnSpc>
          <a:spcPct val="110000"/>
        </a:lnSpc>
        <a:spcBef>
          <a:spcPts val="272"/>
        </a:spcBef>
        <a:spcAft>
          <a:spcPts val="272"/>
        </a:spcAft>
        <a:buClr>
          <a:schemeClr val="tx1"/>
        </a:buClr>
        <a:buFont typeface="Geomanist Light" pitchFamily="50" charset="0"/>
        <a:buChar char="–"/>
        <a:defRPr sz="1995" kern="1200">
          <a:solidFill>
            <a:schemeClr val="tx1"/>
          </a:solidFill>
          <a:latin typeface="+mn-lt"/>
          <a:ea typeface="+mn-ea"/>
          <a:cs typeface="+mn-cs"/>
        </a:defRPr>
      </a:lvl4pPr>
      <a:lvl5pPr marL="2146254" indent="-238473" algn="l" defTabSz="953891" rtl="0" eaLnBrk="1" latinLnBrk="0" hangingPunct="1">
        <a:lnSpc>
          <a:spcPct val="110000"/>
        </a:lnSpc>
        <a:spcBef>
          <a:spcPts val="272"/>
        </a:spcBef>
        <a:spcAft>
          <a:spcPts val="272"/>
        </a:spcAft>
        <a:buClr>
          <a:schemeClr val="tx1"/>
        </a:buClr>
        <a:buFont typeface="Geomanist Light" pitchFamily="50" charset="0"/>
        <a:buChar char="–"/>
        <a:defRPr sz="1995" kern="1200">
          <a:solidFill>
            <a:schemeClr val="tx1"/>
          </a:solidFill>
          <a:latin typeface="+mn-lt"/>
          <a:ea typeface="+mn-ea"/>
          <a:cs typeface="+mn-cs"/>
        </a:defRPr>
      </a:lvl5pPr>
      <a:lvl6pPr marL="2623201" indent="-238473" algn="l" defTabSz="953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176" kern="1200">
          <a:solidFill>
            <a:schemeClr val="tx1"/>
          </a:solidFill>
          <a:latin typeface="+mn-lt"/>
          <a:ea typeface="+mn-ea"/>
          <a:cs typeface="+mn-cs"/>
        </a:defRPr>
      </a:lvl6pPr>
      <a:lvl7pPr marL="3100146" indent="-238473" algn="l" defTabSz="953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176" kern="1200">
          <a:solidFill>
            <a:schemeClr val="tx1"/>
          </a:solidFill>
          <a:latin typeface="+mn-lt"/>
          <a:ea typeface="+mn-ea"/>
          <a:cs typeface="+mn-cs"/>
        </a:defRPr>
      </a:lvl7pPr>
      <a:lvl8pPr marL="3577092" indent="-238473" algn="l" defTabSz="953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176" kern="1200">
          <a:solidFill>
            <a:schemeClr val="tx1"/>
          </a:solidFill>
          <a:latin typeface="+mn-lt"/>
          <a:ea typeface="+mn-ea"/>
          <a:cs typeface="+mn-cs"/>
        </a:defRPr>
      </a:lvl8pPr>
      <a:lvl9pPr marL="4054037" indent="-238473" algn="l" defTabSz="953891" rtl="0" eaLnBrk="1" latinLnBrk="0" hangingPunct="1">
        <a:spcBef>
          <a:spcPct val="20000"/>
        </a:spcBef>
        <a:buFont typeface="Arial" panose="020B0604020202020204" pitchFamily="34" charset="0"/>
        <a:buChar char="•"/>
        <a:defRPr sz="217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76947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53891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30836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07783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384728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861674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38619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15565" algn="l" defTabSz="953891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89914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20" name="Diapositive think-cell" r:id="rId9" imgW="532" imgH="530" progId="TCLayout.ActiveDocument.1">
                  <p:embed/>
                </p:oleObj>
              </mc:Choice>
              <mc:Fallback>
                <p:oleObj name="Diapositive think-cell" r:id="rId9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nb-NO" noProof="0"/>
              <a:t>OVERSKRIF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Tekst nivå 1</a:t>
            </a:r>
          </a:p>
          <a:p>
            <a:pPr lvl="2"/>
            <a:r>
              <a:rPr lang="nb-NO" noProof="0"/>
              <a:t>Tekst nivå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noProof="0" dirty="0"/>
              <a:t>© Ipsos</a:t>
            </a:r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241C461D-AB29-4EC3-908E-57DC797D84D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88161" y="6219234"/>
            <a:ext cx="501320" cy="459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292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6" r:id="rId1"/>
    <p:sldLayoutId id="2147484297" r:id="rId2"/>
    <p:sldLayoutId id="2147484298" r:id="rId3"/>
    <p:sldLayoutId id="2147484299" r:id="rId4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12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5"/>
            </p:custDataLst>
            <p:extLst>
              <p:ext uri="{D42A27DB-BD31-4B8C-83A1-F6EECF244321}">
                <p14:modId xmlns:p14="http://schemas.microsoft.com/office/powerpoint/2010/main" val="4292197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14" name="Diapositive think-cell" r:id="rId97" imgW="532" imgH="530" progId="TCLayout.ActiveDocument.1">
                  <p:embed/>
                </p:oleObj>
              </mc:Choice>
              <mc:Fallback>
                <p:oleObj name="Diapositive think-cell" r:id="rId97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9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nb-NO" noProof="0"/>
              <a:t>OVERSKRIF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Tekst nivå 1</a:t>
            </a:r>
          </a:p>
          <a:p>
            <a:pPr lvl="2"/>
            <a:r>
              <a:rPr lang="nb-NO" noProof="0"/>
              <a:t>Tekst nivå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noProof="0" dirty="0"/>
              <a:t>© Ipsos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9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19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1" r:id="rId1"/>
    <p:sldLayoutId id="2147484302" r:id="rId2"/>
    <p:sldLayoutId id="2147484303" r:id="rId3"/>
    <p:sldLayoutId id="2147484304" r:id="rId4"/>
    <p:sldLayoutId id="2147484305" r:id="rId5"/>
    <p:sldLayoutId id="2147484306" r:id="rId6"/>
    <p:sldLayoutId id="2147484307" r:id="rId7"/>
    <p:sldLayoutId id="2147484308" r:id="rId8"/>
    <p:sldLayoutId id="2147484309" r:id="rId9"/>
    <p:sldLayoutId id="2147484310" r:id="rId10"/>
    <p:sldLayoutId id="2147484311" r:id="rId11"/>
    <p:sldLayoutId id="2147484312" r:id="rId12"/>
    <p:sldLayoutId id="2147484313" r:id="rId13"/>
    <p:sldLayoutId id="2147484314" r:id="rId14"/>
    <p:sldLayoutId id="2147484315" r:id="rId15"/>
    <p:sldLayoutId id="2147484316" r:id="rId16"/>
    <p:sldLayoutId id="2147484317" r:id="rId17"/>
    <p:sldLayoutId id="2147484318" r:id="rId18"/>
    <p:sldLayoutId id="2147484319" r:id="rId19"/>
    <p:sldLayoutId id="2147484320" r:id="rId20"/>
    <p:sldLayoutId id="2147484321" r:id="rId21"/>
    <p:sldLayoutId id="2147484322" r:id="rId22"/>
    <p:sldLayoutId id="2147484323" r:id="rId23"/>
    <p:sldLayoutId id="2147484324" r:id="rId24"/>
    <p:sldLayoutId id="2147484325" r:id="rId25"/>
    <p:sldLayoutId id="2147484326" r:id="rId26"/>
    <p:sldLayoutId id="2147484327" r:id="rId27"/>
    <p:sldLayoutId id="2147484328" r:id="rId28"/>
    <p:sldLayoutId id="2147484329" r:id="rId29"/>
    <p:sldLayoutId id="2147484330" r:id="rId30"/>
    <p:sldLayoutId id="2147484331" r:id="rId31"/>
    <p:sldLayoutId id="2147484332" r:id="rId32"/>
    <p:sldLayoutId id="2147484333" r:id="rId33"/>
    <p:sldLayoutId id="2147484334" r:id="rId34"/>
    <p:sldLayoutId id="2147484335" r:id="rId35"/>
    <p:sldLayoutId id="2147484336" r:id="rId36"/>
    <p:sldLayoutId id="2147484337" r:id="rId37"/>
    <p:sldLayoutId id="2147484338" r:id="rId38"/>
    <p:sldLayoutId id="2147484339" r:id="rId39"/>
    <p:sldLayoutId id="2147484340" r:id="rId40"/>
    <p:sldLayoutId id="2147484341" r:id="rId41"/>
    <p:sldLayoutId id="2147484342" r:id="rId42"/>
    <p:sldLayoutId id="2147484343" r:id="rId43"/>
    <p:sldLayoutId id="2147484344" r:id="rId44"/>
    <p:sldLayoutId id="2147484345" r:id="rId45"/>
    <p:sldLayoutId id="2147484346" r:id="rId46"/>
    <p:sldLayoutId id="2147484347" r:id="rId47"/>
    <p:sldLayoutId id="2147484348" r:id="rId48"/>
    <p:sldLayoutId id="2147484349" r:id="rId49"/>
    <p:sldLayoutId id="2147484350" r:id="rId50"/>
    <p:sldLayoutId id="2147484351" r:id="rId51"/>
    <p:sldLayoutId id="2147484352" r:id="rId52"/>
    <p:sldLayoutId id="2147484353" r:id="rId53"/>
    <p:sldLayoutId id="2147484354" r:id="rId54"/>
    <p:sldLayoutId id="2147484355" r:id="rId55"/>
    <p:sldLayoutId id="2147484356" r:id="rId56"/>
    <p:sldLayoutId id="2147484357" r:id="rId57"/>
    <p:sldLayoutId id="2147484358" r:id="rId58"/>
    <p:sldLayoutId id="2147484359" r:id="rId59"/>
    <p:sldLayoutId id="2147484360" r:id="rId60"/>
    <p:sldLayoutId id="2147484361" r:id="rId61"/>
    <p:sldLayoutId id="2147484362" r:id="rId62"/>
    <p:sldLayoutId id="2147484363" r:id="rId63"/>
    <p:sldLayoutId id="2147484364" r:id="rId64"/>
    <p:sldLayoutId id="2147484365" r:id="rId65"/>
    <p:sldLayoutId id="2147484366" r:id="rId66"/>
    <p:sldLayoutId id="2147484367" r:id="rId67"/>
    <p:sldLayoutId id="2147484368" r:id="rId68"/>
    <p:sldLayoutId id="2147484369" r:id="rId69"/>
    <p:sldLayoutId id="2147484370" r:id="rId70"/>
    <p:sldLayoutId id="2147484371" r:id="rId71"/>
    <p:sldLayoutId id="2147484372" r:id="rId72"/>
    <p:sldLayoutId id="2147484373" r:id="rId73"/>
    <p:sldLayoutId id="2147484374" r:id="rId74"/>
    <p:sldLayoutId id="2147484375" r:id="rId75"/>
    <p:sldLayoutId id="2147484376" r:id="rId76"/>
    <p:sldLayoutId id="2147484377" r:id="rId77"/>
    <p:sldLayoutId id="2147484378" r:id="rId78"/>
    <p:sldLayoutId id="2147484379" r:id="rId79"/>
    <p:sldLayoutId id="2147484380" r:id="rId80"/>
    <p:sldLayoutId id="2147484381" r:id="rId81"/>
    <p:sldLayoutId id="2147484382" r:id="rId82"/>
    <p:sldLayoutId id="2147484383" r:id="rId83"/>
    <p:sldLayoutId id="2147484384" r:id="rId84"/>
    <p:sldLayoutId id="2147484385" r:id="rId85"/>
    <p:sldLayoutId id="2147484386" r:id="rId86"/>
    <p:sldLayoutId id="2147484387" r:id="rId87"/>
    <p:sldLayoutId id="2147484388" r:id="rId88"/>
    <p:sldLayoutId id="2147484389" r:id="rId89"/>
    <p:sldLayoutId id="2147484390" r:id="rId90"/>
    <p:sldLayoutId id="2147484391" r:id="rId91"/>
    <p:sldLayoutId id="2147484392" r:id="rId92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100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0"/>
            </p:custDataLst>
            <p:extLst>
              <p:ext uri="{D42A27DB-BD31-4B8C-83A1-F6EECF244321}">
                <p14:modId xmlns:p14="http://schemas.microsoft.com/office/powerpoint/2010/main" val="556849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690" name="Diapositive think-cell" r:id="rId92" imgW="532" imgH="530" progId="TCLayout.ActiveDocument.1">
                  <p:embed/>
                </p:oleObj>
              </mc:Choice>
              <mc:Fallback>
                <p:oleObj name="Diapositive think-cell" r:id="rId92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nb-NO" noProof="0"/>
              <a:t>OVERSKRIF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Tekst nivå 1</a:t>
            </a:r>
          </a:p>
          <a:p>
            <a:pPr lvl="2"/>
            <a:r>
              <a:rPr lang="nb-NO" noProof="0"/>
              <a:t>Tekst nivå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noProof="0" dirty="0"/>
              <a:t>© Ipsos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511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2" r:id="rId1"/>
    <p:sldLayoutId id="2147484493" r:id="rId2"/>
    <p:sldLayoutId id="2147484494" r:id="rId3"/>
    <p:sldLayoutId id="2147484495" r:id="rId4"/>
    <p:sldLayoutId id="2147484496" r:id="rId5"/>
    <p:sldLayoutId id="2147484497" r:id="rId6"/>
    <p:sldLayoutId id="2147484498" r:id="rId7"/>
    <p:sldLayoutId id="2147484499" r:id="rId8"/>
    <p:sldLayoutId id="2147484500" r:id="rId9"/>
    <p:sldLayoutId id="2147484501" r:id="rId10"/>
    <p:sldLayoutId id="2147484502" r:id="rId11"/>
    <p:sldLayoutId id="2147484503" r:id="rId12"/>
    <p:sldLayoutId id="2147484504" r:id="rId13"/>
    <p:sldLayoutId id="2147484505" r:id="rId14"/>
    <p:sldLayoutId id="2147484506" r:id="rId15"/>
    <p:sldLayoutId id="2147484507" r:id="rId16"/>
    <p:sldLayoutId id="2147484508" r:id="rId17"/>
    <p:sldLayoutId id="2147484509" r:id="rId18"/>
    <p:sldLayoutId id="2147484510" r:id="rId19"/>
    <p:sldLayoutId id="2147484511" r:id="rId20"/>
    <p:sldLayoutId id="2147484512" r:id="rId21"/>
    <p:sldLayoutId id="2147484513" r:id="rId22"/>
    <p:sldLayoutId id="2147484514" r:id="rId23"/>
    <p:sldLayoutId id="2147484515" r:id="rId24"/>
    <p:sldLayoutId id="2147484516" r:id="rId25"/>
    <p:sldLayoutId id="2147484517" r:id="rId26"/>
    <p:sldLayoutId id="2147484518" r:id="rId27"/>
    <p:sldLayoutId id="2147484519" r:id="rId28"/>
    <p:sldLayoutId id="2147484520" r:id="rId29"/>
    <p:sldLayoutId id="2147484521" r:id="rId30"/>
    <p:sldLayoutId id="2147484522" r:id="rId31"/>
    <p:sldLayoutId id="2147484523" r:id="rId32"/>
    <p:sldLayoutId id="2147484524" r:id="rId33"/>
    <p:sldLayoutId id="2147484525" r:id="rId34"/>
    <p:sldLayoutId id="2147484526" r:id="rId35"/>
    <p:sldLayoutId id="2147484527" r:id="rId36"/>
    <p:sldLayoutId id="2147484528" r:id="rId37"/>
    <p:sldLayoutId id="2147484529" r:id="rId38"/>
    <p:sldLayoutId id="2147484530" r:id="rId39"/>
    <p:sldLayoutId id="2147484531" r:id="rId40"/>
    <p:sldLayoutId id="2147484532" r:id="rId41"/>
    <p:sldLayoutId id="2147484533" r:id="rId42"/>
    <p:sldLayoutId id="2147484534" r:id="rId43"/>
    <p:sldLayoutId id="2147484535" r:id="rId44"/>
    <p:sldLayoutId id="2147484536" r:id="rId45"/>
    <p:sldLayoutId id="2147484537" r:id="rId46"/>
    <p:sldLayoutId id="2147484538" r:id="rId47"/>
    <p:sldLayoutId id="2147484539" r:id="rId48"/>
    <p:sldLayoutId id="2147484540" r:id="rId49"/>
    <p:sldLayoutId id="2147484541" r:id="rId50"/>
    <p:sldLayoutId id="2147484542" r:id="rId51"/>
    <p:sldLayoutId id="2147484543" r:id="rId52"/>
    <p:sldLayoutId id="2147484544" r:id="rId53"/>
    <p:sldLayoutId id="2147484545" r:id="rId54"/>
    <p:sldLayoutId id="2147484546" r:id="rId55"/>
    <p:sldLayoutId id="2147484547" r:id="rId56"/>
    <p:sldLayoutId id="2147484548" r:id="rId57"/>
    <p:sldLayoutId id="2147484549" r:id="rId58"/>
    <p:sldLayoutId id="2147484550" r:id="rId59"/>
    <p:sldLayoutId id="2147484551" r:id="rId60"/>
    <p:sldLayoutId id="2147484552" r:id="rId61"/>
    <p:sldLayoutId id="2147484553" r:id="rId62"/>
    <p:sldLayoutId id="2147484554" r:id="rId63"/>
    <p:sldLayoutId id="2147484555" r:id="rId64"/>
    <p:sldLayoutId id="2147484556" r:id="rId65"/>
    <p:sldLayoutId id="2147484557" r:id="rId66"/>
    <p:sldLayoutId id="2147484558" r:id="rId67"/>
    <p:sldLayoutId id="2147484559" r:id="rId68"/>
    <p:sldLayoutId id="2147484560" r:id="rId69"/>
    <p:sldLayoutId id="2147484561" r:id="rId70"/>
    <p:sldLayoutId id="2147484562" r:id="rId71"/>
    <p:sldLayoutId id="2147484563" r:id="rId72"/>
    <p:sldLayoutId id="2147484564" r:id="rId73"/>
    <p:sldLayoutId id="2147484565" r:id="rId74"/>
    <p:sldLayoutId id="2147484566" r:id="rId75"/>
    <p:sldLayoutId id="2147484567" r:id="rId76"/>
    <p:sldLayoutId id="2147484568" r:id="rId77"/>
    <p:sldLayoutId id="2147484569" r:id="rId78"/>
    <p:sldLayoutId id="2147484570" r:id="rId79"/>
    <p:sldLayoutId id="2147484571" r:id="rId80"/>
    <p:sldLayoutId id="2147484572" r:id="rId81"/>
    <p:sldLayoutId id="2147484573" r:id="rId82"/>
    <p:sldLayoutId id="2147484574" r:id="rId83"/>
    <p:sldLayoutId id="2147484575" r:id="rId84"/>
    <p:sldLayoutId id="2147484576" r:id="rId85"/>
    <p:sldLayoutId id="2147484577" r:id="rId86"/>
    <p:sldLayoutId id="2147484578" r:id="rId8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95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2"/>
            </p:custDataLst>
            <p:extLst>
              <p:ext uri="{D42A27DB-BD31-4B8C-83A1-F6EECF244321}">
                <p14:modId xmlns:p14="http://schemas.microsoft.com/office/powerpoint/2010/main" val="1040175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66" name="Diapositive think-cell" r:id="rId94" imgW="532" imgH="530" progId="TCLayout.ActiveDocument.1">
                  <p:embed/>
                </p:oleObj>
              </mc:Choice>
              <mc:Fallback>
                <p:oleObj name="Diapositive think-cell" r:id="rId94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9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nb-NO" noProof="0"/>
              <a:t>OVERSKRIF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Tekst nivå 1</a:t>
            </a:r>
          </a:p>
          <a:p>
            <a:pPr lvl="2"/>
            <a:r>
              <a:rPr lang="nb-NO" noProof="0"/>
              <a:t>Tekst nivå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nb-NO" noProof="0" smtClean="0"/>
              <a:pPr/>
              <a:t>‹#›</a:t>
            </a:fld>
            <a:r>
              <a:rPr lang="nb-NO" noProof="0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noProof="0" dirty="0"/>
              <a:t>© Ipsos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3208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0" r:id="rId1"/>
    <p:sldLayoutId id="2147484581" r:id="rId2"/>
    <p:sldLayoutId id="2147484582" r:id="rId3"/>
    <p:sldLayoutId id="2147484583" r:id="rId4"/>
    <p:sldLayoutId id="2147484584" r:id="rId5"/>
    <p:sldLayoutId id="2147484585" r:id="rId6"/>
    <p:sldLayoutId id="2147484586" r:id="rId7"/>
    <p:sldLayoutId id="2147484587" r:id="rId8"/>
    <p:sldLayoutId id="2147484588" r:id="rId9"/>
    <p:sldLayoutId id="2147484589" r:id="rId10"/>
    <p:sldLayoutId id="2147484590" r:id="rId11"/>
    <p:sldLayoutId id="2147484591" r:id="rId12"/>
    <p:sldLayoutId id="2147484592" r:id="rId13"/>
    <p:sldLayoutId id="2147484593" r:id="rId14"/>
    <p:sldLayoutId id="2147484594" r:id="rId15"/>
    <p:sldLayoutId id="2147484595" r:id="rId16"/>
    <p:sldLayoutId id="2147484596" r:id="rId17"/>
    <p:sldLayoutId id="2147484597" r:id="rId18"/>
    <p:sldLayoutId id="2147484598" r:id="rId19"/>
    <p:sldLayoutId id="2147484599" r:id="rId20"/>
    <p:sldLayoutId id="2147484600" r:id="rId21"/>
    <p:sldLayoutId id="2147484601" r:id="rId22"/>
    <p:sldLayoutId id="2147484602" r:id="rId23"/>
    <p:sldLayoutId id="2147484603" r:id="rId24"/>
    <p:sldLayoutId id="2147484604" r:id="rId25"/>
    <p:sldLayoutId id="2147484605" r:id="rId26"/>
    <p:sldLayoutId id="2147484606" r:id="rId27"/>
    <p:sldLayoutId id="2147484607" r:id="rId28"/>
    <p:sldLayoutId id="2147484608" r:id="rId29"/>
    <p:sldLayoutId id="2147484609" r:id="rId30"/>
    <p:sldLayoutId id="2147484610" r:id="rId31"/>
    <p:sldLayoutId id="2147484611" r:id="rId32"/>
    <p:sldLayoutId id="2147484612" r:id="rId33"/>
    <p:sldLayoutId id="2147484613" r:id="rId34"/>
    <p:sldLayoutId id="2147484614" r:id="rId35"/>
    <p:sldLayoutId id="2147484615" r:id="rId36"/>
    <p:sldLayoutId id="2147484616" r:id="rId37"/>
    <p:sldLayoutId id="2147484617" r:id="rId38"/>
    <p:sldLayoutId id="2147484618" r:id="rId39"/>
    <p:sldLayoutId id="2147484619" r:id="rId40"/>
    <p:sldLayoutId id="2147484620" r:id="rId41"/>
    <p:sldLayoutId id="2147484621" r:id="rId42"/>
    <p:sldLayoutId id="2147484622" r:id="rId43"/>
    <p:sldLayoutId id="2147484623" r:id="rId44"/>
    <p:sldLayoutId id="2147484624" r:id="rId45"/>
    <p:sldLayoutId id="2147484625" r:id="rId46"/>
    <p:sldLayoutId id="2147484626" r:id="rId47"/>
    <p:sldLayoutId id="2147484627" r:id="rId48"/>
    <p:sldLayoutId id="2147484628" r:id="rId49"/>
    <p:sldLayoutId id="2147484629" r:id="rId50"/>
    <p:sldLayoutId id="2147484630" r:id="rId51"/>
    <p:sldLayoutId id="2147484631" r:id="rId52"/>
    <p:sldLayoutId id="2147484632" r:id="rId53"/>
    <p:sldLayoutId id="2147484633" r:id="rId54"/>
    <p:sldLayoutId id="2147484634" r:id="rId55"/>
    <p:sldLayoutId id="2147484635" r:id="rId56"/>
    <p:sldLayoutId id="2147484636" r:id="rId57"/>
    <p:sldLayoutId id="2147484637" r:id="rId58"/>
    <p:sldLayoutId id="2147484638" r:id="rId59"/>
    <p:sldLayoutId id="2147484639" r:id="rId60"/>
    <p:sldLayoutId id="2147484640" r:id="rId61"/>
    <p:sldLayoutId id="2147484641" r:id="rId62"/>
    <p:sldLayoutId id="2147484642" r:id="rId63"/>
    <p:sldLayoutId id="2147484643" r:id="rId64"/>
    <p:sldLayoutId id="2147484644" r:id="rId65"/>
    <p:sldLayoutId id="2147484645" r:id="rId66"/>
    <p:sldLayoutId id="2147484646" r:id="rId67"/>
    <p:sldLayoutId id="2147484647" r:id="rId68"/>
    <p:sldLayoutId id="2147484648" r:id="rId69"/>
    <p:sldLayoutId id="2147484649" r:id="rId70"/>
    <p:sldLayoutId id="2147484650" r:id="rId71"/>
    <p:sldLayoutId id="2147484651" r:id="rId72"/>
    <p:sldLayoutId id="2147484652" r:id="rId73"/>
    <p:sldLayoutId id="2147484653" r:id="rId74"/>
    <p:sldLayoutId id="2147484654" r:id="rId75"/>
    <p:sldLayoutId id="2147484655" r:id="rId76"/>
    <p:sldLayoutId id="2147484656" r:id="rId77"/>
    <p:sldLayoutId id="2147484657" r:id="rId78"/>
    <p:sldLayoutId id="2147484658" r:id="rId79"/>
    <p:sldLayoutId id="2147484659" r:id="rId80"/>
    <p:sldLayoutId id="2147484660" r:id="rId81"/>
    <p:sldLayoutId id="2147484661" r:id="rId82"/>
    <p:sldLayoutId id="2147484662" r:id="rId83"/>
    <p:sldLayoutId id="2147484663" r:id="rId84"/>
    <p:sldLayoutId id="2147484664" r:id="rId85"/>
    <p:sldLayoutId id="2147484665" r:id="rId86"/>
    <p:sldLayoutId id="2147484666" r:id="rId87"/>
    <p:sldLayoutId id="2147484667" r:id="rId88"/>
    <p:sldLayoutId id="2147484668" r:id="rId89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97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1"/>
            </p:custDataLst>
            <p:extLst>
              <p:ext uri="{D42A27DB-BD31-4B8C-83A1-F6EECF244321}">
                <p14:modId xmlns:p14="http://schemas.microsoft.com/office/powerpoint/2010/main" val="1967662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2242" name="Diapositive think-cell" r:id="rId93" imgW="532" imgH="530" progId="TCLayout.ActiveDocument.1">
                  <p:embed/>
                </p:oleObj>
              </mc:Choice>
              <mc:Fallback>
                <p:oleObj name="Diapositive think-cell" r:id="rId93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9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nb-NO" noProof="0"/>
              <a:t>OVERSKRIF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nb-NO" noProof="0"/>
              <a:t>Click to change the text styles on the slide master</a:t>
            </a:r>
          </a:p>
          <a:p>
            <a:pPr lvl="1"/>
            <a:r>
              <a:rPr lang="nb-NO" noProof="0"/>
              <a:t>Tekst nivå 1</a:t>
            </a:r>
          </a:p>
          <a:p>
            <a:pPr lvl="2"/>
            <a:r>
              <a:rPr lang="nb-NO" noProof="0"/>
              <a:t>Tekst nivå 2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255758" y="6369360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noProof="0" dirty="0"/>
              <a:t>© Ipsos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9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788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0" r:id="rId1"/>
    <p:sldLayoutId id="2147484671" r:id="rId2"/>
    <p:sldLayoutId id="2147484672" r:id="rId3"/>
    <p:sldLayoutId id="2147484673" r:id="rId4"/>
    <p:sldLayoutId id="2147484674" r:id="rId5"/>
    <p:sldLayoutId id="2147484675" r:id="rId6"/>
    <p:sldLayoutId id="2147484676" r:id="rId7"/>
    <p:sldLayoutId id="2147484677" r:id="rId8"/>
    <p:sldLayoutId id="2147484678" r:id="rId9"/>
    <p:sldLayoutId id="2147484679" r:id="rId10"/>
    <p:sldLayoutId id="2147484680" r:id="rId11"/>
    <p:sldLayoutId id="2147484681" r:id="rId12"/>
    <p:sldLayoutId id="2147484682" r:id="rId13"/>
    <p:sldLayoutId id="2147484683" r:id="rId14"/>
    <p:sldLayoutId id="2147484684" r:id="rId15"/>
    <p:sldLayoutId id="2147484685" r:id="rId16"/>
    <p:sldLayoutId id="2147484686" r:id="rId17"/>
    <p:sldLayoutId id="2147484687" r:id="rId18"/>
    <p:sldLayoutId id="2147484688" r:id="rId19"/>
    <p:sldLayoutId id="2147484689" r:id="rId20"/>
    <p:sldLayoutId id="2147484690" r:id="rId21"/>
    <p:sldLayoutId id="2147484691" r:id="rId22"/>
    <p:sldLayoutId id="2147484692" r:id="rId23"/>
    <p:sldLayoutId id="2147484693" r:id="rId24"/>
    <p:sldLayoutId id="2147484694" r:id="rId25"/>
    <p:sldLayoutId id="2147484695" r:id="rId26"/>
    <p:sldLayoutId id="2147484696" r:id="rId27"/>
    <p:sldLayoutId id="2147484697" r:id="rId28"/>
    <p:sldLayoutId id="2147484698" r:id="rId29"/>
    <p:sldLayoutId id="2147484699" r:id="rId30"/>
    <p:sldLayoutId id="2147484700" r:id="rId31"/>
    <p:sldLayoutId id="2147484701" r:id="rId32"/>
    <p:sldLayoutId id="2147484702" r:id="rId33"/>
    <p:sldLayoutId id="2147484703" r:id="rId34"/>
    <p:sldLayoutId id="2147484704" r:id="rId35"/>
    <p:sldLayoutId id="2147484705" r:id="rId36"/>
    <p:sldLayoutId id="2147484706" r:id="rId37"/>
    <p:sldLayoutId id="2147484707" r:id="rId38"/>
    <p:sldLayoutId id="2147484708" r:id="rId39"/>
    <p:sldLayoutId id="2147484709" r:id="rId40"/>
    <p:sldLayoutId id="2147484710" r:id="rId41"/>
    <p:sldLayoutId id="2147484711" r:id="rId42"/>
    <p:sldLayoutId id="2147484712" r:id="rId43"/>
    <p:sldLayoutId id="2147484713" r:id="rId44"/>
    <p:sldLayoutId id="2147484714" r:id="rId45"/>
    <p:sldLayoutId id="2147484715" r:id="rId46"/>
    <p:sldLayoutId id="2147484716" r:id="rId47"/>
    <p:sldLayoutId id="2147484717" r:id="rId48"/>
    <p:sldLayoutId id="2147484718" r:id="rId49"/>
    <p:sldLayoutId id="2147484719" r:id="rId50"/>
    <p:sldLayoutId id="2147484720" r:id="rId51"/>
    <p:sldLayoutId id="2147484721" r:id="rId52"/>
    <p:sldLayoutId id="2147484722" r:id="rId53"/>
    <p:sldLayoutId id="2147484723" r:id="rId54"/>
    <p:sldLayoutId id="2147484724" r:id="rId55"/>
    <p:sldLayoutId id="2147484725" r:id="rId56"/>
    <p:sldLayoutId id="2147484726" r:id="rId57"/>
    <p:sldLayoutId id="2147484727" r:id="rId58"/>
    <p:sldLayoutId id="2147484728" r:id="rId59"/>
    <p:sldLayoutId id="2147484729" r:id="rId60"/>
    <p:sldLayoutId id="2147484730" r:id="rId61"/>
    <p:sldLayoutId id="2147484731" r:id="rId62"/>
    <p:sldLayoutId id="2147484732" r:id="rId63"/>
    <p:sldLayoutId id="2147484733" r:id="rId64"/>
    <p:sldLayoutId id="2147484734" r:id="rId65"/>
    <p:sldLayoutId id="2147484735" r:id="rId66"/>
    <p:sldLayoutId id="2147484736" r:id="rId67"/>
    <p:sldLayoutId id="2147484737" r:id="rId68"/>
    <p:sldLayoutId id="2147484738" r:id="rId69"/>
    <p:sldLayoutId id="2147484739" r:id="rId70"/>
    <p:sldLayoutId id="2147484740" r:id="rId71"/>
    <p:sldLayoutId id="2147484741" r:id="rId72"/>
    <p:sldLayoutId id="2147484742" r:id="rId73"/>
    <p:sldLayoutId id="2147484743" r:id="rId74"/>
    <p:sldLayoutId id="2147484744" r:id="rId75"/>
    <p:sldLayoutId id="2147484745" r:id="rId76"/>
    <p:sldLayoutId id="2147484746" r:id="rId77"/>
    <p:sldLayoutId id="2147484747" r:id="rId78"/>
    <p:sldLayoutId id="2147484748" r:id="rId79"/>
    <p:sldLayoutId id="2147484749" r:id="rId80"/>
    <p:sldLayoutId id="2147484750" r:id="rId81"/>
    <p:sldLayoutId id="2147484751" r:id="rId82"/>
    <p:sldLayoutId id="2147484752" r:id="rId83"/>
    <p:sldLayoutId id="2147484753" r:id="rId84"/>
    <p:sldLayoutId id="2147484754" r:id="rId85"/>
    <p:sldLayoutId id="2147484755" r:id="rId86"/>
    <p:sldLayoutId id="2147484756" r:id="rId87"/>
    <p:sldLayoutId id="2147484757" r:id="rId8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96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.emf"/><Relationship Id="rId4" Type="http://schemas.openxmlformats.org/officeDocument/2006/relationships/image" Target="../media/image3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10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342.xml"/><Relationship Id="rId4" Type="http://schemas.openxmlformats.org/officeDocument/2006/relationships/chart" Target="../charts/chart97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63.xml"/><Relationship Id="rId4" Type="http://schemas.openxmlformats.org/officeDocument/2006/relationships/image" Target="../media/image21.png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8.xm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67.xml"/><Relationship Id="rId5" Type="http://schemas.openxmlformats.org/officeDocument/2006/relationships/image" Target="../media/image125.jpg"/><Relationship Id="rId4" Type="http://schemas.openxmlformats.org/officeDocument/2006/relationships/chart" Target="../charts/chart99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0.xml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67.xml"/><Relationship Id="rId5" Type="http://schemas.openxmlformats.org/officeDocument/2006/relationships/image" Target="../media/image125.jpg"/><Relationship Id="rId4" Type="http://schemas.openxmlformats.org/officeDocument/2006/relationships/chart" Target="../charts/chart101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jpg"/><Relationship Id="rId2" Type="http://schemas.openxmlformats.org/officeDocument/2006/relationships/chart" Target="../charts/chart102.xml"/><Relationship Id="rId1" Type="http://schemas.openxmlformats.org/officeDocument/2006/relationships/slideLayout" Target="../slideLayouts/slideLayout267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jpg"/><Relationship Id="rId2" Type="http://schemas.openxmlformats.org/officeDocument/2006/relationships/chart" Target="../charts/chart103.xml"/><Relationship Id="rId1" Type="http://schemas.openxmlformats.org/officeDocument/2006/relationships/slideLayout" Target="../slideLayouts/slideLayout267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4.xml"/><Relationship Id="rId2" Type="http://schemas.openxmlformats.org/officeDocument/2006/relationships/image" Target="../media/image128.jpg"/><Relationship Id="rId1" Type="http://schemas.openxmlformats.org/officeDocument/2006/relationships/slideLayout" Target="../slideLayouts/slideLayout267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jp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67.xml"/><Relationship Id="rId4" Type="http://schemas.openxmlformats.org/officeDocument/2006/relationships/chart" Target="../charts/chart105.xml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63.xml"/><Relationship Id="rId4" Type="http://schemas.openxmlformats.org/officeDocument/2006/relationships/image" Target="../media/image21.png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6.xml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6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10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7.xml"/><Relationship Id="rId1" Type="http://schemas.openxmlformats.org/officeDocument/2006/relationships/slideLayout" Target="../slideLayouts/slideLayout267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8.xml"/><Relationship Id="rId1" Type="http://schemas.openxmlformats.org/officeDocument/2006/relationships/slideLayout" Target="../slideLayouts/slideLayout267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9.xml"/><Relationship Id="rId1" Type="http://schemas.openxmlformats.org/officeDocument/2006/relationships/slideLayout" Target="../slideLayouts/slideLayout267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1.xml"/><Relationship Id="rId2" Type="http://schemas.openxmlformats.org/officeDocument/2006/relationships/chart" Target="../charts/chart110.xml"/><Relationship Id="rId1" Type="http://schemas.openxmlformats.org/officeDocument/2006/relationships/slideLayout" Target="../slideLayouts/slideLayout267.xml"/><Relationship Id="rId4" Type="http://schemas.openxmlformats.org/officeDocument/2006/relationships/chart" Target="../charts/chart112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jp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63.xml"/><Relationship Id="rId4" Type="http://schemas.openxmlformats.org/officeDocument/2006/relationships/image" Target="../media/image21.png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3.xml"/><Relationship Id="rId1" Type="http://schemas.openxmlformats.org/officeDocument/2006/relationships/slideLayout" Target="../slideLayouts/slideLayout342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4.xml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342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5.xml"/><Relationship Id="rId1" Type="http://schemas.openxmlformats.org/officeDocument/2006/relationships/slideLayout" Target="../slideLayouts/slideLayout342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6.xml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67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7.xml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6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10.xml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8.xml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67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9.xml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67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31.jpg"/><Relationship Id="rId1" Type="http://schemas.openxmlformats.org/officeDocument/2006/relationships/slideLayout" Target="../slideLayouts/slideLayout26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23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87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8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6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jpe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43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10" Type="http://schemas.openxmlformats.org/officeDocument/2006/relationships/image" Target="../media/image56.png"/><Relationship Id="rId4" Type="http://schemas.openxmlformats.org/officeDocument/2006/relationships/image" Target="../media/image50.jpeg"/><Relationship Id="rId9" Type="http://schemas.openxmlformats.org/officeDocument/2006/relationships/image" Target="../media/image5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44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0.jpeg"/><Relationship Id="rId7" Type="http://schemas.openxmlformats.org/officeDocument/2006/relationships/image" Target="../media/image59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444.xml"/><Relationship Id="rId6" Type="http://schemas.openxmlformats.org/officeDocument/2006/relationships/image" Target="../media/image58.png"/><Relationship Id="rId5" Type="http://schemas.openxmlformats.org/officeDocument/2006/relationships/image" Target="../media/image51.jpeg"/><Relationship Id="rId4" Type="http://schemas.openxmlformats.org/officeDocument/2006/relationships/image" Target="../media/image52.jpeg"/><Relationship Id="rId9" Type="http://schemas.openxmlformats.org/officeDocument/2006/relationships/image" Target="../media/image6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7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3.xml"/><Relationship Id="rId6" Type="http://schemas.openxmlformats.org/officeDocument/2006/relationships/image" Target="../media/image52.jpeg"/><Relationship Id="rId5" Type="http://schemas.openxmlformats.org/officeDocument/2006/relationships/image" Target="../media/image49.jpeg"/><Relationship Id="rId4" Type="http://schemas.openxmlformats.org/officeDocument/2006/relationships/image" Target="../media/image51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7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97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7" Type="http://schemas.openxmlformats.org/officeDocument/2006/relationships/image" Target="../media/image66.jpeg"/><Relationship Id="rId2" Type="http://schemas.openxmlformats.org/officeDocument/2006/relationships/slideLayout" Target="../slideLayouts/slideLayout892.xml"/><Relationship Id="rId1" Type="http://schemas.openxmlformats.org/officeDocument/2006/relationships/vmlDrawing" Target="../drawings/vmlDrawing822.vml"/><Relationship Id="rId6" Type="http://schemas.openxmlformats.org/officeDocument/2006/relationships/image" Target="../media/image65.jpeg"/><Relationship Id="rId5" Type="http://schemas.openxmlformats.org/officeDocument/2006/relationships/image" Target="../media/image2.png"/><Relationship Id="rId4" Type="http://schemas.openxmlformats.org/officeDocument/2006/relationships/image" Target="../media/image64.e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9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89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98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80.xml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1600.xml"/><Relationship Id="rId7" Type="http://schemas.openxmlformats.org/officeDocument/2006/relationships/image" Target="../media/image1.emf"/><Relationship Id="rId2" Type="http://schemas.openxmlformats.org/officeDocument/2006/relationships/tags" Target="../tags/tag1599.xml"/><Relationship Id="rId1" Type="http://schemas.openxmlformats.org/officeDocument/2006/relationships/vmlDrawing" Target="../drawings/vmlDrawing823.vml"/><Relationship Id="rId6" Type="http://schemas.openxmlformats.org/officeDocument/2006/relationships/oleObject" Target="../embeddings/oleObject165.bin"/><Relationship Id="rId5" Type="http://schemas.openxmlformats.org/officeDocument/2006/relationships/image" Target="../media/image69.jpeg"/><Relationship Id="rId4" Type="http://schemas.openxmlformats.org/officeDocument/2006/relationships/slideLayout" Target="../slideLayouts/slideLayout34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5.xml"/><Relationship Id="rId4" Type="http://schemas.openxmlformats.org/officeDocument/2006/relationships/chart" Target="../charts/char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28.xml"/><Relationship Id="rId4" Type="http://schemas.openxmlformats.org/officeDocument/2006/relationships/image" Target="../media/image4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7" Type="http://schemas.openxmlformats.org/officeDocument/2006/relationships/image" Target="../media/image75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55.xml"/><Relationship Id="rId6" Type="http://schemas.openxmlformats.org/officeDocument/2006/relationships/image" Target="../media/image74.jpeg"/><Relationship Id="rId5" Type="http://schemas.openxmlformats.org/officeDocument/2006/relationships/image" Target="../media/image73.jpeg"/><Relationship Id="rId4" Type="http://schemas.openxmlformats.org/officeDocument/2006/relationships/image" Target="../media/image72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5.xml"/><Relationship Id="rId4" Type="http://schemas.openxmlformats.org/officeDocument/2006/relationships/image" Target="../media/image7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5.xml"/><Relationship Id="rId4" Type="http://schemas.openxmlformats.org/officeDocument/2006/relationships/image" Target="../media/image7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6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62.xml"/><Relationship Id="rId4" Type="http://schemas.openxmlformats.org/officeDocument/2006/relationships/image" Target="../media/image79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6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62.xml"/><Relationship Id="rId4" Type="http://schemas.openxmlformats.org/officeDocument/2006/relationships/image" Target="../media/image80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62.xml"/><Relationship Id="rId4" Type="http://schemas.openxmlformats.org/officeDocument/2006/relationships/image" Target="../media/image81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6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4.bin"/><Relationship Id="rId3" Type="http://schemas.openxmlformats.org/officeDocument/2006/relationships/tags" Target="../tags/tag1598.xml"/><Relationship Id="rId7" Type="http://schemas.microsoft.com/office/2007/relationships/hdphoto" Target="../media/hdphoto3.wdp"/><Relationship Id="rId2" Type="http://schemas.openxmlformats.org/officeDocument/2006/relationships/tags" Target="../tags/tag1597.xml"/><Relationship Id="rId1" Type="http://schemas.openxmlformats.org/officeDocument/2006/relationships/vmlDrawing" Target="../drawings/vmlDrawing821.vml"/><Relationship Id="rId6" Type="http://schemas.openxmlformats.org/officeDocument/2006/relationships/image" Target="../media/image41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551.xml"/><Relationship Id="rId9" Type="http://schemas.openxmlformats.org/officeDocument/2006/relationships/image" Target="../media/image1.emf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55.xml"/><Relationship Id="rId4" Type="http://schemas.openxmlformats.org/officeDocument/2006/relationships/chart" Target="../charts/chart21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3" Type="http://schemas.openxmlformats.org/officeDocument/2006/relationships/image" Target="../media/image85.png"/><Relationship Id="rId7" Type="http://schemas.openxmlformats.org/officeDocument/2006/relationships/image" Target="../media/image49.jpe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267.xml"/><Relationship Id="rId6" Type="http://schemas.openxmlformats.org/officeDocument/2006/relationships/image" Target="../media/image75.png"/><Relationship Id="rId5" Type="http://schemas.openxmlformats.org/officeDocument/2006/relationships/image" Target="../media/image87.png"/><Relationship Id="rId10" Type="http://schemas.openxmlformats.org/officeDocument/2006/relationships/image" Target="../media/image52.jpeg"/><Relationship Id="rId4" Type="http://schemas.openxmlformats.org/officeDocument/2006/relationships/image" Target="../media/image86.png"/><Relationship Id="rId9" Type="http://schemas.openxmlformats.org/officeDocument/2006/relationships/image" Target="../media/image51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55.xml"/><Relationship Id="rId4" Type="http://schemas.openxmlformats.org/officeDocument/2006/relationships/chart" Target="../charts/chart2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140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40.xml"/><Relationship Id="rId4" Type="http://schemas.openxmlformats.org/officeDocument/2006/relationships/chart" Target="../charts/chart2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140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63.xml"/><Relationship Id="rId4" Type="http://schemas.openxmlformats.org/officeDocument/2006/relationships/image" Target="../media/image21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40.xml"/><Relationship Id="rId4" Type="http://schemas.openxmlformats.org/officeDocument/2006/relationships/chart" Target="../charts/chart2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6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23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6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6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6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6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6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63.xml"/><Relationship Id="rId4" Type="http://schemas.openxmlformats.org/officeDocument/2006/relationships/image" Target="../media/image21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6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6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6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67.xml"/><Relationship Id="rId5" Type="http://schemas.openxmlformats.org/officeDocument/2006/relationships/chart" Target="../charts/chart38.xml"/><Relationship Id="rId4" Type="http://schemas.openxmlformats.org/officeDocument/2006/relationships/chart" Target="../charts/chart3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10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9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67.xml"/><Relationship Id="rId5" Type="http://schemas.openxmlformats.org/officeDocument/2006/relationships/image" Target="../media/image89.jpg"/><Relationship Id="rId4" Type="http://schemas.openxmlformats.org/officeDocument/2006/relationships/chart" Target="../charts/chart40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48.xml"/><Relationship Id="rId6" Type="http://schemas.openxmlformats.org/officeDocument/2006/relationships/image" Target="../media/image71.jpeg"/><Relationship Id="rId5" Type="http://schemas.openxmlformats.org/officeDocument/2006/relationships/image" Target="../media/image72.jpeg"/><Relationship Id="rId4" Type="http://schemas.openxmlformats.org/officeDocument/2006/relationships/image" Target="../media/image73.jpe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2.xml"/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347.xml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4.xml"/><Relationship Id="rId2" Type="http://schemas.openxmlformats.org/officeDocument/2006/relationships/chart" Target="../charts/chart43.xml"/><Relationship Id="rId1" Type="http://schemas.openxmlformats.org/officeDocument/2006/relationships/slideLayout" Target="../slideLayouts/slideLayout347.xml"/><Relationship Id="rId4" Type="http://schemas.openxmlformats.org/officeDocument/2006/relationships/image" Target="../media/image92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6.xml"/><Relationship Id="rId2" Type="http://schemas.openxmlformats.org/officeDocument/2006/relationships/chart" Target="../charts/chart45.xml"/><Relationship Id="rId1" Type="http://schemas.openxmlformats.org/officeDocument/2006/relationships/slideLayout" Target="../slideLayouts/slideLayout347.xml"/><Relationship Id="rId4" Type="http://schemas.openxmlformats.org/officeDocument/2006/relationships/image" Target="../media/image93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8.xml"/><Relationship Id="rId2" Type="http://schemas.openxmlformats.org/officeDocument/2006/relationships/chart" Target="../charts/chart47.xml"/><Relationship Id="rId1" Type="http://schemas.openxmlformats.org/officeDocument/2006/relationships/slideLayout" Target="../slideLayouts/slideLayout347.xml"/><Relationship Id="rId4" Type="http://schemas.openxmlformats.org/officeDocument/2006/relationships/image" Target="../media/image91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0.xml"/><Relationship Id="rId2" Type="http://schemas.openxmlformats.org/officeDocument/2006/relationships/chart" Target="../charts/chart49.xml"/><Relationship Id="rId1" Type="http://schemas.openxmlformats.org/officeDocument/2006/relationships/slideLayout" Target="../slideLayouts/slideLayout347.xml"/><Relationship Id="rId4" Type="http://schemas.openxmlformats.org/officeDocument/2006/relationships/image" Target="../media/image94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1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47.xml"/><Relationship Id="rId5" Type="http://schemas.openxmlformats.org/officeDocument/2006/relationships/image" Target="../media/image95.png"/><Relationship Id="rId4" Type="http://schemas.openxmlformats.org/officeDocument/2006/relationships/chart" Target="../charts/chart5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4.xml"/><Relationship Id="rId2" Type="http://schemas.openxmlformats.org/officeDocument/2006/relationships/chart" Target="../charts/chart53.xml"/><Relationship Id="rId1" Type="http://schemas.openxmlformats.org/officeDocument/2006/relationships/slideLayout" Target="../slideLayouts/slideLayout347.xml"/><Relationship Id="rId4" Type="http://schemas.openxmlformats.org/officeDocument/2006/relationships/image" Target="../media/image96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5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47.xml"/><Relationship Id="rId5" Type="http://schemas.openxmlformats.org/officeDocument/2006/relationships/image" Target="../media/image97.png"/><Relationship Id="rId4" Type="http://schemas.openxmlformats.org/officeDocument/2006/relationships/chart" Target="../charts/chart5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10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8.xml"/><Relationship Id="rId2" Type="http://schemas.openxmlformats.org/officeDocument/2006/relationships/chart" Target="../charts/chart57.xml"/><Relationship Id="rId1" Type="http://schemas.openxmlformats.org/officeDocument/2006/relationships/slideLayout" Target="../slideLayouts/slideLayout347.xml"/><Relationship Id="rId4" Type="http://schemas.openxmlformats.org/officeDocument/2006/relationships/image" Target="../media/image98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9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47.xml"/><Relationship Id="rId5" Type="http://schemas.openxmlformats.org/officeDocument/2006/relationships/chart" Target="../charts/chart60.xml"/><Relationship Id="rId4" Type="http://schemas.openxmlformats.org/officeDocument/2006/relationships/image" Target="../media/image99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1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47.xml"/><Relationship Id="rId5" Type="http://schemas.openxmlformats.org/officeDocument/2006/relationships/image" Target="../media/image100.png"/><Relationship Id="rId4" Type="http://schemas.openxmlformats.org/officeDocument/2006/relationships/chart" Target="../charts/chart6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3.xm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347.xml"/><Relationship Id="rId5" Type="http://schemas.openxmlformats.org/officeDocument/2006/relationships/image" Target="../media/image101.png"/><Relationship Id="rId4" Type="http://schemas.openxmlformats.org/officeDocument/2006/relationships/chart" Target="../charts/chart64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6.xml"/><Relationship Id="rId2" Type="http://schemas.openxmlformats.org/officeDocument/2006/relationships/chart" Target="../charts/chart65.xml"/><Relationship Id="rId1" Type="http://schemas.openxmlformats.org/officeDocument/2006/relationships/slideLayout" Target="../slideLayouts/slideLayout347.xml"/><Relationship Id="rId4" Type="http://schemas.openxmlformats.org/officeDocument/2006/relationships/image" Target="../media/image102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7.xm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347.xml"/><Relationship Id="rId5" Type="http://schemas.openxmlformats.org/officeDocument/2006/relationships/image" Target="../media/image103.png"/><Relationship Id="rId4" Type="http://schemas.openxmlformats.org/officeDocument/2006/relationships/chart" Target="../charts/chart68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9.xm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347.xml"/><Relationship Id="rId5" Type="http://schemas.openxmlformats.org/officeDocument/2006/relationships/image" Target="../media/image104.png"/><Relationship Id="rId4" Type="http://schemas.openxmlformats.org/officeDocument/2006/relationships/chart" Target="../charts/chart70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1.xm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347.xml"/><Relationship Id="rId5" Type="http://schemas.openxmlformats.org/officeDocument/2006/relationships/image" Target="../media/image105.png"/><Relationship Id="rId4" Type="http://schemas.openxmlformats.org/officeDocument/2006/relationships/chart" Target="../charts/chart7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4.xml"/><Relationship Id="rId2" Type="http://schemas.openxmlformats.org/officeDocument/2006/relationships/chart" Target="../charts/chart73.xml"/><Relationship Id="rId1" Type="http://schemas.openxmlformats.org/officeDocument/2006/relationships/slideLayout" Target="../slideLayouts/slideLayout347.xml"/><Relationship Id="rId4" Type="http://schemas.openxmlformats.org/officeDocument/2006/relationships/image" Target="../media/image106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6.xml"/><Relationship Id="rId2" Type="http://schemas.openxmlformats.org/officeDocument/2006/relationships/chart" Target="../charts/chart75.xml"/><Relationship Id="rId1" Type="http://schemas.openxmlformats.org/officeDocument/2006/relationships/slideLayout" Target="../slideLayouts/slideLayout347.xml"/><Relationship Id="rId4" Type="http://schemas.openxmlformats.org/officeDocument/2006/relationships/image" Target="../media/image10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10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7.xm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347.xml"/><Relationship Id="rId5" Type="http://schemas.openxmlformats.org/officeDocument/2006/relationships/image" Target="../media/image108.png"/><Relationship Id="rId4" Type="http://schemas.openxmlformats.org/officeDocument/2006/relationships/chart" Target="../charts/chart78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0.xml"/><Relationship Id="rId2" Type="http://schemas.openxmlformats.org/officeDocument/2006/relationships/chart" Target="../charts/chart79.xml"/><Relationship Id="rId1" Type="http://schemas.openxmlformats.org/officeDocument/2006/relationships/slideLayout" Target="../slideLayouts/slideLayout347.xml"/><Relationship Id="rId4" Type="http://schemas.openxmlformats.org/officeDocument/2006/relationships/image" Target="../media/image109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chart" Target="../charts/chart81.xml"/><Relationship Id="rId1" Type="http://schemas.openxmlformats.org/officeDocument/2006/relationships/slideLayout" Target="../slideLayouts/slideLayout347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chart" Target="../charts/chart82.xml"/><Relationship Id="rId1" Type="http://schemas.openxmlformats.org/officeDocument/2006/relationships/slideLayout" Target="../slideLayouts/slideLayout347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chart" Target="../charts/chart83.xml"/><Relationship Id="rId1" Type="http://schemas.openxmlformats.org/officeDocument/2006/relationships/slideLayout" Target="../slideLayouts/slideLayout347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chart" Target="../charts/chart84.xml"/><Relationship Id="rId1" Type="http://schemas.openxmlformats.org/officeDocument/2006/relationships/slideLayout" Target="../slideLayouts/slideLayout347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chart" Target="../charts/chart85.xml"/><Relationship Id="rId1" Type="http://schemas.openxmlformats.org/officeDocument/2006/relationships/slideLayout" Target="../slideLayouts/slideLayout34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chart" Target="../charts/chart86.xml"/><Relationship Id="rId1" Type="http://schemas.openxmlformats.org/officeDocument/2006/relationships/slideLayout" Target="../slideLayouts/slideLayout347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chart" Target="../charts/chart87.xml"/><Relationship Id="rId1" Type="http://schemas.openxmlformats.org/officeDocument/2006/relationships/slideLayout" Target="../slideLayouts/slideLayout347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chart" Target="../charts/chart88.xml"/><Relationship Id="rId1" Type="http://schemas.openxmlformats.org/officeDocument/2006/relationships/slideLayout" Target="../slideLayouts/slideLayout34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10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63.xml"/><Relationship Id="rId5" Type="http://schemas.openxmlformats.org/officeDocument/2006/relationships/image" Target="../media/image120.png"/><Relationship Id="rId4" Type="http://schemas.openxmlformats.org/officeDocument/2006/relationships/image" Target="../media/image119.jpe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342.xml"/><Relationship Id="rId4" Type="http://schemas.openxmlformats.org/officeDocument/2006/relationships/chart" Target="../charts/chart89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0.xm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342.xml"/><Relationship Id="rId4" Type="http://schemas.openxmlformats.org/officeDocument/2006/relationships/image" Target="../media/image119.jpeg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1.xm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342.xml"/><Relationship Id="rId4" Type="http://schemas.openxmlformats.org/officeDocument/2006/relationships/image" Target="../media/image119.jpe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342.xml"/><Relationship Id="rId4" Type="http://schemas.openxmlformats.org/officeDocument/2006/relationships/chart" Target="../charts/chart92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342.xml"/><Relationship Id="rId4" Type="http://schemas.openxmlformats.org/officeDocument/2006/relationships/chart" Target="../charts/chart93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63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342.xml"/><Relationship Id="rId4" Type="http://schemas.openxmlformats.org/officeDocument/2006/relationships/chart" Target="../charts/chart94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342.xml"/><Relationship Id="rId4" Type="http://schemas.openxmlformats.org/officeDocument/2006/relationships/chart" Target="../charts/chart95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6.xml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342.xml"/><Relationship Id="rId4" Type="http://schemas.openxmlformats.org/officeDocument/2006/relationships/image" Target="../media/image1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EE5F1FEB-A5F3-4D33-A887-731ADC3A30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54131" y="5076825"/>
            <a:ext cx="4340723" cy="461665"/>
          </a:xfrm>
        </p:spPr>
        <p:txBody>
          <a:bodyPr/>
          <a:lstStyle/>
          <a:p>
            <a:r>
              <a:rPr lang="nb-NO" dirty="0"/>
              <a:t>NORSK MONITO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4FFDBE-F651-4326-95BE-4DF8CB876D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92606" y="5076825"/>
            <a:ext cx="795140" cy="461665"/>
          </a:xfrm>
        </p:spPr>
        <p:txBody>
          <a:bodyPr/>
          <a:lstStyle/>
          <a:p>
            <a:r>
              <a:rPr lang="nb-NO" sz="2400" b="1" dirty="0"/>
              <a:t>2020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8660174-1759-4B62-95CC-8080DE87F131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570015" y="5054041"/>
            <a:ext cx="783846" cy="994746"/>
          </a:xfrm>
          <a:prstGeom prst="rect">
            <a:avLst/>
          </a:prstGeom>
        </p:spPr>
      </p:pic>
      <p:sp>
        <p:nvSpPr>
          <p:cNvPr id="10" name="Text Placeholder 28">
            <a:extLst>
              <a:ext uri="{FF2B5EF4-FFF2-40B4-BE49-F238E27FC236}">
                <a16:creationId xmlns:a16="http://schemas.microsoft.com/office/drawing/2014/main" id="{03E540D3-8B3E-41CF-9387-8D2BCFD61C74}"/>
              </a:ext>
            </a:extLst>
          </p:cNvPr>
          <p:cNvSpPr txBox="1">
            <a:spLocks/>
          </p:cNvSpPr>
          <p:nvPr/>
        </p:nvSpPr>
        <p:spPr>
          <a:xfrm>
            <a:off x="1881567" y="903831"/>
            <a:ext cx="9110284" cy="1810794"/>
          </a:xfrm>
          <a:prstGeom prst="rect">
            <a:avLst/>
          </a:prstGeom>
          <a:noFill/>
        </p:spPr>
        <p:txBody>
          <a:bodyPr/>
          <a:lstStyle>
            <a:lvl1pPr marL="85725" indent="-85725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Char char=" 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tvikling av fysisk aktivitet </a:t>
            </a:r>
          </a:p>
          <a:p>
            <a:pPr algn="ctr"/>
            <a:r>
              <a:rPr lang="nb-NO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lant voksne, ungdom og barn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5BAD24B8-3788-4D07-A662-A01894762B0A}"/>
              </a:ext>
            </a:extLst>
          </p:cNvPr>
          <p:cNvSpPr txBox="1"/>
          <p:nvPr/>
        </p:nvSpPr>
        <p:spPr>
          <a:xfrm>
            <a:off x="1654131" y="4054978"/>
            <a:ext cx="24801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Norges Idrettsforbund </a:t>
            </a:r>
          </a:p>
          <a:p>
            <a:r>
              <a:rPr lang="nb-NO" dirty="0">
                <a:solidFill>
                  <a:schemeClr val="bg1"/>
                </a:solidFill>
              </a:rPr>
              <a:t>29. august 2020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2A551516-CBC8-47AA-B2E4-B41D9D0905DD}"/>
              </a:ext>
            </a:extLst>
          </p:cNvPr>
          <p:cNvSpPr txBox="1"/>
          <p:nvPr/>
        </p:nvSpPr>
        <p:spPr>
          <a:xfrm>
            <a:off x="1654131" y="5672330"/>
            <a:ext cx="27911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John.spilling@ipsos.com</a:t>
            </a:r>
          </a:p>
        </p:txBody>
      </p:sp>
    </p:spTree>
    <p:extLst>
      <p:ext uri="{BB962C8B-B14F-4D97-AF65-F5344CB8AC3E}">
        <p14:creationId xmlns:p14="http://schemas.microsoft.com/office/powerpoint/2010/main" val="31175271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5288CFCD-6271-4DB8-B479-AC0D81A9E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358" y="271106"/>
            <a:ext cx="11382428" cy="424732"/>
          </a:xfrm>
        </p:spPr>
        <p:txBody>
          <a:bodyPr/>
          <a:lstStyle/>
          <a:p>
            <a:r>
              <a:rPr lang="nb-NO" sz="2400" dirty="0"/>
              <a:t>Stigende tilfredshet med egen økonomisk situasjon</a:t>
            </a: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A4DD065A-003A-433D-8BD5-B30CB49540EA}"/>
              </a:ext>
            </a:extLst>
          </p:cNvPr>
          <p:cNvSpPr/>
          <p:nvPr/>
        </p:nvSpPr>
        <p:spPr>
          <a:xfrm>
            <a:off x="114369" y="608547"/>
            <a:ext cx="66480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Overvekt av positive over negative vurderinger. Prosentpoeng)</a:t>
            </a:r>
          </a:p>
        </p:txBody>
      </p:sp>
      <p:graphicFrame>
        <p:nvGraphicFramePr>
          <p:cNvPr id="8" name="Content Placeholder 6">
            <a:extLst>
              <a:ext uri="{FF2B5EF4-FFF2-40B4-BE49-F238E27FC236}">
                <a16:creationId xmlns:a16="http://schemas.microsoft.com/office/drawing/2014/main" id="{0DAA5123-F643-46AE-BA4E-6DFDC5CC770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54016" y="1359043"/>
          <a:ext cx="11578989" cy="5369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8DC7C479-B9E6-483D-8432-45C6BD0C79D3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421956866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C2AF85D0-C810-4F75-BAC1-75CE81173D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243838" y="2151678"/>
            <a:ext cx="2342607" cy="322652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75361" y="1445623"/>
            <a:ext cx="10432868" cy="412477"/>
          </a:xfrm>
        </p:spPr>
        <p:txBody>
          <a:bodyPr>
            <a:normAutofit fontScale="77500" lnSpcReduction="20000"/>
          </a:bodyPr>
          <a:lstStyle/>
          <a:p>
            <a:pPr algn="ctr"/>
            <a:r>
              <a:rPr lang="nb-NO" sz="1600" b="1" dirty="0">
                <a:solidFill>
                  <a:schemeClr val="tx1"/>
                </a:solidFill>
              </a:rPr>
              <a:t>Hvor stor betydning har hver av følgende grunner for at du ikke driver trening/ mosjon. eller at du driver mindre enn du gjerne ville?                        Andeler som svarer meget stor + en viss betydning.  Base: Alle spurte</a:t>
            </a:r>
            <a:endParaRPr lang="nb-NO" sz="1600" dirty="0">
              <a:solidFill>
                <a:schemeClr val="tx1"/>
              </a:solidFill>
            </a:endParaRPr>
          </a:p>
        </p:txBody>
      </p:sp>
      <p:graphicFrame>
        <p:nvGraphicFramePr>
          <p:cNvPr id="4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66798702"/>
              </p:ext>
            </p:extLst>
          </p:nvPr>
        </p:nvGraphicFramePr>
        <p:xfrm>
          <a:off x="2027275" y="1924595"/>
          <a:ext cx="8897144" cy="4576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87118CA1-F5CB-4AD9-9112-0FDCFE96C6E4}"/>
              </a:ext>
            </a:extLst>
          </p:cNvPr>
          <p:cNvSpPr txBox="1"/>
          <p:nvPr/>
        </p:nvSpPr>
        <p:spPr>
          <a:xfrm>
            <a:off x="783772" y="388919"/>
            <a:ext cx="9823267" cy="747500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r>
              <a:rPr lang="nb-NO" sz="2000" dirty="0"/>
              <a:t>For aldersgruppe 15-25 år er barrierer som «for dyrt» «mangler utstyr» og   «vanskelig å komme til treningsanlegg» større hindre enn for befolkningen forøvrig</a:t>
            </a:r>
            <a:endParaRPr lang="nb-NO" sz="2000" i="1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8931959-36BD-4E7A-AA95-FB12EEBC0C0B}"/>
              </a:ext>
            </a:extLst>
          </p:cNvPr>
          <p:cNvSpPr/>
          <p:nvPr/>
        </p:nvSpPr>
        <p:spPr>
          <a:xfrm>
            <a:off x="9182911" y="1924595"/>
            <a:ext cx="2538826" cy="2000548"/>
          </a:xfrm>
          <a:prstGeom prst="rect">
            <a:avLst/>
          </a:prstGeom>
          <a:solidFill>
            <a:srgbClr val="E2E2E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400" dirty="0">
                <a:solidFill>
                  <a:prstClr val="black">
                    <a:lumMod val="90000"/>
                    <a:lumOff val="10000"/>
                  </a:prstClr>
                </a:solidFill>
                <a:latin typeface="Arial"/>
              </a:rPr>
              <a:t>Men det er også i denne aldersgruppen barrieren «slitsomt» som økte over tid, fra 41% i 2011 til 51% i 2019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400" dirty="0">
              <a:solidFill>
                <a:prstClr val="black">
                  <a:lumMod val="90000"/>
                  <a:lumOff val="10000"/>
                </a:prstClr>
              </a:solidFill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400" dirty="0">
                <a:solidFill>
                  <a:prstClr val="black">
                    <a:lumMod val="90000"/>
                    <a:lumOff val="10000"/>
                  </a:prstClr>
                </a:solidFill>
                <a:latin typeface="Arial"/>
              </a:rPr>
              <a:t>De andre barrierene er for           15 – 24 åringer på samme nivå i 2019 som de var i 2011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691A65E6-2D8A-4C02-8088-8B3C4866BFE6}"/>
              </a:ext>
            </a:extLst>
          </p:cNvPr>
          <p:cNvSpPr/>
          <p:nvPr/>
        </p:nvSpPr>
        <p:spPr>
          <a:xfrm>
            <a:off x="9182911" y="4499417"/>
            <a:ext cx="2538826" cy="1600438"/>
          </a:xfrm>
          <a:prstGeom prst="rect">
            <a:avLst/>
          </a:prstGeom>
          <a:solidFill>
            <a:srgbClr val="E2E2E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nb-NO" sz="1400" dirty="0">
                <a:latin typeface="Arial" panose="020B0604020202020204" pitchFamily="34" charset="0"/>
                <a:cs typeface="Arial" panose="020B0604020202020204" pitchFamily="34" charset="0"/>
              </a:rPr>
              <a:t>Pappa/mamma betaler medlemskap på </a:t>
            </a:r>
          </a:p>
          <a:p>
            <a:pPr lvl="0" algn="ctr">
              <a:defRPr/>
            </a:pPr>
            <a:r>
              <a:rPr lang="nb-NO" sz="1400" dirty="0">
                <a:latin typeface="Arial" panose="020B0604020202020204" pitchFamily="34" charset="0"/>
                <a:cs typeface="Arial" panose="020B0604020202020204" pitchFamily="34" charset="0"/>
              </a:rPr>
              <a:t>private treningssentre for mange tenåringsbarn</a:t>
            </a:r>
          </a:p>
          <a:p>
            <a:pPr lvl="0" algn="ctr">
              <a:defRPr/>
            </a:pPr>
            <a:r>
              <a:rPr lang="nb-NO" sz="1400" dirty="0">
                <a:latin typeface="Arial" panose="020B0604020202020204" pitchFamily="34" charset="0"/>
                <a:cs typeface="Arial" panose="020B0604020202020204" pitchFamily="34" charset="0"/>
              </a:rPr>
              <a:t>Da blir trening  lavterskeltilbud, mht. personlig forpliktelse 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8ACAAB44-8DAA-4512-8176-A6241AE449DA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641615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D07387B9-E236-427D-B695-E0EFC9ED9559}"/>
              </a:ext>
            </a:extLst>
          </p:cNvPr>
          <p:cNvSpPr/>
          <p:nvPr/>
        </p:nvSpPr>
        <p:spPr bwMode="gray">
          <a:xfrm>
            <a:off x="109275" y="160201"/>
            <a:ext cx="2442538" cy="65652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</a:pPr>
            <a:endParaRPr lang="nb-NO" sz="2667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8A5A0DA0-9FB7-4E2B-8F1B-3897E006E10A}"/>
              </a:ext>
            </a:extLst>
          </p:cNvPr>
          <p:cNvSpPr/>
          <p:nvPr/>
        </p:nvSpPr>
        <p:spPr bwMode="gray">
          <a:xfrm>
            <a:off x="9528092" y="132595"/>
            <a:ext cx="2554633" cy="65652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</a:pPr>
            <a:endParaRPr lang="nb-NO" sz="2667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EC733E81-BCCC-4EA4-9CD3-F83834186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7736" y="132596"/>
            <a:ext cx="9828147" cy="6565201"/>
          </a:xfrm>
          <a:prstGeom prst="rect">
            <a:avLst/>
          </a:prstGeom>
        </p:spPr>
      </p:pic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D476108-4917-4C9A-B862-29631532D5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69417" y="4020361"/>
            <a:ext cx="8043017" cy="1554272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r>
              <a:rPr lang="nb-NO" sz="4800" dirty="0"/>
              <a:t>Hvilke aktiviteter driver </a:t>
            </a:r>
          </a:p>
          <a:p>
            <a:r>
              <a:rPr lang="nb-NO" sz="4800" dirty="0"/>
              <a:t>våre barn med?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565" y="5753005"/>
            <a:ext cx="445856" cy="359168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AEF15AB6-BAB0-4DE9-804B-93B0433B0A89}"/>
              </a:ext>
            </a:extLst>
          </p:cNvPr>
          <p:cNvSpPr txBox="1"/>
          <p:nvPr/>
        </p:nvSpPr>
        <p:spPr>
          <a:xfrm>
            <a:off x="9687746" y="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522310584"/>
      </p:ext>
    </p:extLst>
  </p:cSld>
  <p:clrMapOvr>
    <a:masterClrMapping/>
  </p:clrMapOvr>
  <p:transition>
    <p:fade/>
  </p:transition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FD566B6F-3945-43FE-B656-98CF6363ED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96085917"/>
              </p:ext>
            </p:extLst>
          </p:nvPr>
        </p:nvGraphicFramePr>
        <p:xfrm>
          <a:off x="6313023" y="1090179"/>
          <a:ext cx="5919713" cy="5704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itle 2">
            <a:extLst>
              <a:ext uri="{FF2B5EF4-FFF2-40B4-BE49-F238E27FC236}">
                <a16:creationId xmlns:a16="http://schemas.microsoft.com/office/drawing/2014/main" id="{497CBDDB-50AB-4822-886A-F964CB698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4942" y="554329"/>
            <a:ext cx="8587955" cy="563563"/>
          </a:xfrm>
        </p:spPr>
        <p:txBody>
          <a:bodyPr>
            <a:noAutofit/>
          </a:bodyPr>
          <a:lstStyle/>
          <a:p>
            <a:pPr algn="ctr"/>
            <a:r>
              <a:rPr lang="nb-NO" sz="1600" cap="none" dirty="0">
                <a:latin typeface="Calibri" panose="020F0502020204030204" pitchFamily="34" charset="0"/>
                <a:cs typeface="Arial" pitchFamily="34" charset="0"/>
              </a:rPr>
              <a:t>Hvilke fysiske aktiviteter driver barna dine med på fritiden minst en gang i uka i sesongen?</a:t>
            </a:r>
            <a:br>
              <a:rPr lang="nb-NO" sz="1600" cap="none" dirty="0">
                <a:latin typeface="Calibri" panose="020F0502020204030204" pitchFamily="34" charset="0"/>
                <a:cs typeface="Arial" pitchFamily="34" charset="0"/>
              </a:rPr>
            </a:br>
            <a:r>
              <a:rPr lang="nb-NO" sz="1333" cap="none" dirty="0">
                <a:latin typeface="Calibri" panose="020F0502020204030204" pitchFamily="34" charset="0"/>
                <a:cs typeface="Arial" pitchFamily="34" charset="0"/>
              </a:rPr>
              <a:t>Husstander med hjemmeboende barn under 18 år</a:t>
            </a:r>
            <a:endParaRPr lang="nb-NO" sz="1333" b="1" cap="none" dirty="0">
              <a:latin typeface="Calibri" panose="020F0502020204030204" pitchFamily="34" charset="0"/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21CCFF7F-E184-4F85-968E-70D12763D5BD}"/>
              </a:ext>
            </a:extLst>
          </p:cNvPr>
          <p:cNvSpPr txBox="1"/>
          <p:nvPr/>
        </p:nvSpPr>
        <p:spPr>
          <a:xfrm>
            <a:off x="0" y="184125"/>
            <a:ext cx="11022625" cy="471335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  <a:tabLst>
                <a:tab pos="3348483" algn="l"/>
              </a:tabLst>
            </a:pPr>
            <a:r>
              <a:rPr lang="nb-NO" sz="2400" dirty="0">
                <a:solidFill>
                  <a:srgbClr val="222223"/>
                </a:solidFill>
                <a:latin typeface="Segoe UI"/>
              </a:rPr>
              <a:t>Barna fordeler sine aktiviteter på en rekke ulike aktiviteter – fotball er klart størst</a:t>
            </a:r>
            <a:endParaRPr lang="nb-NO" sz="2400" u="sng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3AE40544-D2B4-4EC0-9CF8-585EDCB173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57503383"/>
              </p:ext>
            </p:extLst>
          </p:nvPr>
        </p:nvGraphicFramePr>
        <p:xfrm>
          <a:off x="727128" y="1061350"/>
          <a:ext cx="6395963" cy="5704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955C62DE-9C56-44FB-B7DB-EAC6652685B6}"/>
              </a:ext>
            </a:extLst>
          </p:cNvPr>
          <p:cNvSpPr/>
          <p:nvPr/>
        </p:nvSpPr>
        <p:spPr bwMode="gray">
          <a:xfrm>
            <a:off x="6780191" y="1314450"/>
            <a:ext cx="342900" cy="5295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nb-NO" sz="2000" dirty="0">
              <a:solidFill>
                <a:schemeClr val="bg1"/>
              </a:solidFill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91005A2-4B29-4024-A864-6A455C84C77B}"/>
              </a:ext>
            </a:extLst>
          </p:cNvPr>
          <p:cNvSpPr/>
          <p:nvPr/>
        </p:nvSpPr>
        <p:spPr bwMode="gray">
          <a:xfrm>
            <a:off x="11121438" y="1314450"/>
            <a:ext cx="342900" cy="5295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nb-NO" sz="2000" dirty="0">
              <a:solidFill>
                <a:schemeClr val="bg1"/>
              </a:solidFill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6D52550C-DC89-43FC-80D2-A5D7DBC5A7BA}"/>
              </a:ext>
            </a:extLst>
          </p:cNvPr>
          <p:cNvSpPr txBox="1"/>
          <p:nvPr/>
        </p:nvSpPr>
        <p:spPr>
          <a:xfrm>
            <a:off x="9832877" y="5013238"/>
            <a:ext cx="2140039" cy="893502"/>
          </a:xfrm>
          <a:prstGeom prst="rect">
            <a:avLst/>
          </a:prstGeom>
          <a:solidFill>
            <a:schemeClr val="bg1"/>
          </a:solidFill>
        </p:spPr>
        <p:txBody>
          <a:bodyPr wrap="squar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</a:pPr>
            <a:r>
              <a:rPr lang="nb-NO" sz="1200" dirty="0">
                <a:solidFill>
                  <a:srgbClr val="222223"/>
                </a:solidFill>
                <a:latin typeface="Segoe UI"/>
              </a:rPr>
              <a:t>NB! Spørsmålet er stillet på husstandsnivå. Dvs. det spørres om minst ett barn i husstanden driver med dette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00FF7657-E834-4C3E-8A53-2495104A94C9}"/>
              </a:ext>
            </a:extLst>
          </p:cNvPr>
          <p:cNvSpPr txBox="1"/>
          <p:nvPr/>
        </p:nvSpPr>
        <p:spPr>
          <a:xfrm>
            <a:off x="9715195" y="-2577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066E4239-7AEE-43A5-9471-7EE48E14120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0" y="580705"/>
            <a:ext cx="1524000" cy="101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897582"/>
      </p:ext>
    </p:extLst>
  </p:cSld>
  <p:clrMapOvr>
    <a:masterClrMapping/>
  </p:clrMapOvr>
  <p:transition>
    <p:fade/>
  </p:transition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id="{497CBDDB-50AB-4822-886A-F964CB698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14942" y="554329"/>
            <a:ext cx="8587955" cy="563563"/>
          </a:xfrm>
        </p:spPr>
        <p:txBody>
          <a:bodyPr>
            <a:noAutofit/>
          </a:bodyPr>
          <a:lstStyle/>
          <a:p>
            <a:pPr algn="ctr"/>
            <a:r>
              <a:rPr lang="nb-NO" sz="1600" cap="none" dirty="0">
                <a:latin typeface="Calibri" panose="020F0502020204030204" pitchFamily="34" charset="0"/>
                <a:cs typeface="Arial" pitchFamily="34" charset="0"/>
              </a:rPr>
              <a:t>Hvilke fysiske aktiviteter driver barna dine med på fritiden minst en gang i uka i sesongen?</a:t>
            </a:r>
            <a:br>
              <a:rPr lang="nb-NO" sz="1600" cap="none" dirty="0">
                <a:latin typeface="Calibri" panose="020F0502020204030204" pitchFamily="34" charset="0"/>
                <a:cs typeface="Arial" pitchFamily="34" charset="0"/>
              </a:rPr>
            </a:br>
            <a:r>
              <a:rPr lang="nb-NO" sz="1333" cap="none" dirty="0">
                <a:latin typeface="Calibri" panose="020F0502020204030204" pitchFamily="34" charset="0"/>
                <a:cs typeface="Arial" pitchFamily="34" charset="0"/>
              </a:rPr>
              <a:t>Husstander med hjemmeboende barn under 18 år</a:t>
            </a:r>
            <a:endParaRPr lang="nb-NO" sz="1333" b="1" cap="none" dirty="0">
              <a:latin typeface="Calibri" panose="020F0502020204030204" pitchFamily="34" charset="0"/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21CCFF7F-E184-4F85-968E-70D12763D5BD}"/>
              </a:ext>
            </a:extLst>
          </p:cNvPr>
          <p:cNvSpPr txBox="1"/>
          <p:nvPr/>
        </p:nvSpPr>
        <p:spPr>
          <a:xfrm>
            <a:off x="826475" y="58504"/>
            <a:ext cx="11022625" cy="471335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>
                <a:tab pos="3348483" algn="l"/>
              </a:tabLst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ndring </a:t>
            </a:r>
            <a:r>
              <a:rPr lang="nb-NO" sz="2400" dirty="0">
                <a:solidFill>
                  <a:srgbClr val="222223"/>
                </a:solidFill>
                <a:latin typeface="Segoe UI"/>
              </a:rPr>
              <a:t>i oppslutning om barnas aktiviteter fra 2017 - 2019</a:t>
            </a:r>
            <a:endParaRPr kumimoji="0" lang="nb-NO" sz="2400" b="0" i="0" u="sng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955C62DE-9C56-44FB-B7DB-EAC6652685B6}"/>
              </a:ext>
            </a:extLst>
          </p:cNvPr>
          <p:cNvSpPr/>
          <p:nvPr/>
        </p:nvSpPr>
        <p:spPr bwMode="gray">
          <a:xfrm>
            <a:off x="6780191" y="1314450"/>
            <a:ext cx="342900" cy="5295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91005A2-4B29-4024-A864-6A455C84C77B}"/>
              </a:ext>
            </a:extLst>
          </p:cNvPr>
          <p:cNvSpPr/>
          <p:nvPr/>
        </p:nvSpPr>
        <p:spPr bwMode="gray">
          <a:xfrm>
            <a:off x="11121438" y="1265426"/>
            <a:ext cx="342900" cy="5295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6D52550C-DC89-43FC-80D2-A5D7DBC5A7BA}"/>
              </a:ext>
            </a:extLst>
          </p:cNvPr>
          <p:cNvSpPr txBox="1"/>
          <p:nvPr/>
        </p:nvSpPr>
        <p:spPr>
          <a:xfrm>
            <a:off x="10051961" y="3089188"/>
            <a:ext cx="2140039" cy="893502"/>
          </a:xfrm>
          <a:prstGeom prst="rect">
            <a:avLst/>
          </a:prstGeom>
          <a:solidFill>
            <a:schemeClr val="bg1"/>
          </a:solidFill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B! Spørsmålet er stillet på husstandsnivå. Dvs. det spørres om minst ett barn i husstanden driver med dette</a:t>
            </a: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5F73607F-0C3B-4DAF-B82C-55EA9FC308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7224743"/>
              </p:ext>
            </p:extLst>
          </p:nvPr>
        </p:nvGraphicFramePr>
        <p:xfrm>
          <a:off x="5680128" y="1105485"/>
          <a:ext cx="6395963" cy="5704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3AE40544-D2B4-4EC0-9CF8-585EDCB173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1522080"/>
              </p:ext>
            </p:extLst>
          </p:nvPr>
        </p:nvGraphicFramePr>
        <p:xfrm>
          <a:off x="727128" y="1061350"/>
          <a:ext cx="6395963" cy="5704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kstSylinder 11">
            <a:extLst>
              <a:ext uri="{FF2B5EF4-FFF2-40B4-BE49-F238E27FC236}">
                <a16:creationId xmlns:a16="http://schemas.microsoft.com/office/drawing/2014/main" id="{E8D03AA8-6255-4B59-93C1-628944444D52}"/>
              </a:ext>
            </a:extLst>
          </p:cNvPr>
          <p:cNvSpPr txBox="1"/>
          <p:nvPr/>
        </p:nvSpPr>
        <p:spPr>
          <a:xfrm>
            <a:off x="9709061" y="5305764"/>
            <a:ext cx="2140039" cy="893502"/>
          </a:xfrm>
          <a:prstGeom prst="rect">
            <a:avLst/>
          </a:prstGeom>
          <a:solidFill>
            <a:schemeClr val="bg1"/>
          </a:solidFill>
        </p:spPr>
        <p:txBody>
          <a:bodyPr wrap="squar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</a:pPr>
            <a:r>
              <a:rPr lang="nb-NO" sz="1200" dirty="0">
                <a:solidFill>
                  <a:srgbClr val="222223"/>
                </a:solidFill>
                <a:latin typeface="Segoe UI"/>
              </a:rPr>
              <a:t>NB! «Fotturer i skog og mark, på fjell og vidde» samt «all idrett» ble ikke målt i 2017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8F08D390-7966-4FCC-92BE-2B4604639690}"/>
              </a:ext>
            </a:extLst>
          </p:cNvPr>
          <p:cNvSpPr txBox="1"/>
          <p:nvPr/>
        </p:nvSpPr>
        <p:spPr>
          <a:xfrm>
            <a:off x="9715195" y="-2577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  <p:pic>
        <p:nvPicPr>
          <p:cNvPr id="15" name="Bilde 14">
            <a:extLst>
              <a:ext uri="{FF2B5EF4-FFF2-40B4-BE49-F238E27FC236}">
                <a16:creationId xmlns:a16="http://schemas.microsoft.com/office/drawing/2014/main" id="{1BC20D20-C43C-44BD-938E-140B9DD4B1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0" y="580705"/>
            <a:ext cx="1524000" cy="101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304089"/>
      </p:ext>
    </p:extLst>
  </p:cSld>
  <p:clrMapOvr>
    <a:masterClrMapping/>
  </p:clrMapOvr>
  <p:transition>
    <p:fade/>
  </p:transition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3AE40544-D2B4-4EC0-9CF8-585EDCB173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2098062"/>
              </p:ext>
            </p:extLst>
          </p:nvPr>
        </p:nvGraphicFramePr>
        <p:xfrm>
          <a:off x="3720957" y="1843159"/>
          <a:ext cx="8340283" cy="4901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33429D42-0E6F-4FC2-A541-23D8A6B7EDB0}"/>
              </a:ext>
            </a:extLst>
          </p:cNvPr>
          <p:cNvSpPr txBox="1">
            <a:spLocks/>
          </p:cNvSpPr>
          <p:nvPr/>
        </p:nvSpPr>
        <p:spPr bwMode="gray">
          <a:xfrm>
            <a:off x="3135679" y="1228875"/>
            <a:ext cx="8587955" cy="614284"/>
          </a:xfrm>
          <a:prstGeom prst="rect">
            <a:avLst/>
          </a:prstGeom>
          <a:noFill/>
        </p:spPr>
        <p:txBody>
          <a:bodyPr wrap="none" lIns="110425" tIns="0" rIns="110425" bIns="0" rtlCol="0" anchor="ctr">
            <a:no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algn="ctr" defTabSz="953891"/>
            <a:r>
              <a:rPr lang="nb-NO" sz="1600" cap="none" dirty="0">
                <a:solidFill>
                  <a:srgbClr val="222223"/>
                </a:solidFill>
                <a:latin typeface="Calibri" panose="020F0502020204030204" pitchFamily="34" charset="0"/>
                <a:cs typeface="Arial" pitchFamily="34" charset="0"/>
              </a:rPr>
              <a:t>Hvilke fysiske aktiviteter driver barna dine med på fritiden minst en gang i uka i sesongen?</a:t>
            </a:r>
            <a:br>
              <a:rPr lang="nb-NO" sz="1600" cap="none" dirty="0">
                <a:solidFill>
                  <a:srgbClr val="222223"/>
                </a:solidFill>
                <a:latin typeface="Calibri" panose="020F0502020204030204" pitchFamily="34" charset="0"/>
                <a:cs typeface="Arial" pitchFamily="34" charset="0"/>
              </a:rPr>
            </a:br>
            <a:r>
              <a:rPr lang="nb-NO" sz="1600" cap="none" dirty="0">
                <a:solidFill>
                  <a:srgbClr val="222223"/>
                </a:solidFill>
                <a:latin typeface="Calibri" panose="020F0502020204030204" pitchFamily="34" charset="0"/>
                <a:cs typeface="Arial" pitchFamily="34" charset="0"/>
              </a:rPr>
              <a:t>Husstander (kun) med hjemmeboende barn 0-5 år  2019</a:t>
            </a:r>
            <a:endParaRPr lang="nb-NO" sz="1600" b="1" cap="none" dirty="0">
              <a:solidFill>
                <a:srgbClr val="222223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0ADCCE3F-21F5-4CF9-A6D3-CB52CE79FEF4}"/>
              </a:ext>
            </a:extLst>
          </p:cNvPr>
          <p:cNvSpPr txBox="1"/>
          <p:nvPr/>
        </p:nvSpPr>
        <p:spPr>
          <a:xfrm>
            <a:off x="1306286" y="301407"/>
            <a:ext cx="9734247" cy="704220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  <a:tabLst>
                <a:tab pos="3348483" algn="l"/>
              </a:tabLst>
            </a:pPr>
            <a:r>
              <a:rPr lang="nb-NO" sz="1867" dirty="0">
                <a:solidFill>
                  <a:srgbClr val="222223"/>
                </a:solidFill>
                <a:latin typeface="Segoe UI"/>
              </a:rPr>
              <a:t>De aller yngste barna blant de i alder </a:t>
            </a:r>
            <a:r>
              <a:rPr lang="nb-NO" sz="1867" b="1" dirty="0">
                <a:solidFill>
                  <a:srgbClr val="222223"/>
                </a:solidFill>
                <a:latin typeface="Segoe UI"/>
              </a:rPr>
              <a:t>0-5 år </a:t>
            </a:r>
            <a:r>
              <a:rPr lang="nb-NO" sz="1867" dirty="0">
                <a:solidFill>
                  <a:srgbClr val="222223"/>
                </a:solidFill>
                <a:latin typeface="Segoe UI"/>
              </a:rPr>
              <a:t>har ikke kommet i gang med aktiviteter enda. Men etter hvert blir det fotturer, svømming, turn, sykling, dans/gymnastikk m.m.</a:t>
            </a:r>
            <a:endParaRPr lang="nb-NO" sz="2400" u="sng" dirty="0">
              <a:solidFill>
                <a:srgbClr val="222223"/>
              </a:solidFill>
              <a:latin typeface="Segoe UI"/>
            </a:endParaRP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E92C23C5-9F04-4B45-A0DF-2F2F0473CC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16469"/>
            <a:ext cx="3961039" cy="2645973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47352425-D562-4A0D-89FC-3DC2302A2DEE}"/>
              </a:ext>
            </a:extLst>
          </p:cNvPr>
          <p:cNvSpPr txBox="1"/>
          <p:nvPr/>
        </p:nvSpPr>
        <p:spPr>
          <a:xfrm>
            <a:off x="9715195" y="-2577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864395473"/>
      </p:ext>
    </p:extLst>
  </p:cSld>
  <p:clrMapOvr>
    <a:masterClrMapping/>
  </p:clrMapOvr>
  <p:transition>
    <p:fade/>
  </p:transition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3AE40544-D2B4-4EC0-9CF8-585EDCB173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7600384"/>
              </p:ext>
            </p:extLst>
          </p:nvPr>
        </p:nvGraphicFramePr>
        <p:xfrm>
          <a:off x="3720957" y="1843159"/>
          <a:ext cx="8340283" cy="4901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33429D42-0E6F-4FC2-A541-23D8A6B7EDB0}"/>
              </a:ext>
            </a:extLst>
          </p:cNvPr>
          <p:cNvSpPr txBox="1">
            <a:spLocks/>
          </p:cNvSpPr>
          <p:nvPr/>
        </p:nvSpPr>
        <p:spPr bwMode="gray">
          <a:xfrm>
            <a:off x="3135679" y="1228875"/>
            <a:ext cx="8587955" cy="614284"/>
          </a:xfrm>
          <a:prstGeom prst="rect">
            <a:avLst/>
          </a:prstGeom>
          <a:noFill/>
        </p:spPr>
        <p:txBody>
          <a:bodyPr wrap="none" lIns="110425" tIns="0" rIns="110425" bIns="0" rtlCol="0" anchor="ctr">
            <a:no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ctr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Hvilke fysiske aktiviteter driver barna dine med på fritiden minst en gang i uka i sesongen?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Husstander (kun) med hjemmeboende barn 6-12 år  2019</a:t>
            </a:r>
            <a:endParaRPr kumimoji="0" lang="nb-NO" sz="1600" b="1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0DF6448A-2594-4C92-884E-A4E6E216A4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66988"/>
            <a:ext cx="4267200" cy="2551785"/>
          </a:xfrm>
          <a:prstGeom prst="rect">
            <a:avLst/>
          </a:prstGeo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E68FB585-67C9-49D9-AABD-FAFED2B9275C}"/>
              </a:ext>
            </a:extLst>
          </p:cNvPr>
          <p:cNvSpPr txBox="1"/>
          <p:nvPr/>
        </p:nvSpPr>
        <p:spPr>
          <a:xfrm>
            <a:off x="474133" y="295405"/>
            <a:ext cx="11441641" cy="1020267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  <a:tabLst>
                <a:tab pos="3348483" algn="l"/>
              </a:tabLst>
            </a:pPr>
            <a:r>
              <a:rPr lang="nb-NO" sz="1867" dirty="0">
                <a:solidFill>
                  <a:srgbClr val="222223"/>
                </a:solidFill>
                <a:latin typeface="Segoe UI"/>
              </a:rPr>
              <a:t>I husstander med barn i alder </a:t>
            </a:r>
            <a:r>
              <a:rPr lang="nb-NO" sz="1867" b="1" dirty="0">
                <a:solidFill>
                  <a:srgbClr val="222223"/>
                </a:solidFill>
                <a:latin typeface="Segoe UI"/>
              </a:rPr>
              <a:t>6 – 12 år </a:t>
            </a:r>
            <a:r>
              <a:rPr lang="nb-NO" sz="1867" dirty="0">
                <a:solidFill>
                  <a:srgbClr val="222223"/>
                </a:solidFill>
                <a:latin typeface="Segoe UI"/>
              </a:rPr>
              <a:t>har barna meget høyt sportslig aktivitetsnivå.                             Halvparten av husstandene har minst ett fotballspillende barn, men mange husstander har også svømmere eller håndballspillere eller skiløpere</a:t>
            </a:r>
            <a:endParaRPr lang="nb-NO" sz="2400" u="sng" dirty="0">
              <a:solidFill>
                <a:srgbClr val="222223"/>
              </a:solidFill>
              <a:latin typeface="Segoe UI"/>
            </a:endParaRP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AF711883-EC95-4316-80EA-25B6486CCB18}"/>
              </a:ext>
            </a:extLst>
          </p:cNvPr>
          <p:cNvSpPr txBox="1"/>
          <p:nvPr/>
        </p:nvSpPr>
        <p:spPr>
          <a:xfrm>
            <a:off x="9715195" y="-2577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226198220"/>
      </p:ext>
    </p:extLst>
  </p:cSld>
  <p:clrMapOvr>
    <a:masterClrMapping/>
  </p:clrMapOvr>
  <p:transition>
    <p:fade/>
  </p:transition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65902820-378B-4BF5-8FB3-31BEC748F8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042599"/>
            <a:ext cx="4353908" cy="2908411"/>
          </a:xfrm>
          <a:prstGeom prst="rect">
            <a:avLst/>
          </a:prstGeom>
        </p:spPr>
      </p:pic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3AE40544-D2B4-4EC0-9CF8-585EDCB173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401017"/>
              </p:ext>
            </p:extLst>
          </p:nvPr>
        </p:nvGraphicFramePr>
        <p:xfrm>
          <a:off x="3568557" y="1828943"/>
          <a:ext cx="8340283" cy="49010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33429D42-0E6F-4FC2-A541-23D8A6B7EDB0}"/>
              </a:ext>
            </a:extLst>
          </p:cNvPr>
          <p:cNvSpPr txBox="1">
            <a:spLocks/>
          </p:cNvSpPr>
          <p:nvPr/>
        </p:nvSpPr>
        <p:spPr bwMode="gray">
          <a:xfrm>
            <a:off x="3135679" y="1228875"/>
            <a:ext cx="8587955" cy="614284"/>
          </a:xfrm>
          <a:prstGeom prst="rect">
            <a:avLst/>
          </a:prstGeom>
          <a:noFill/>
        </p:spPr>
        <p:txBody>
          <a:bodyPr wrap="none" lIns="110425" tIns="0" rIns="110425" bIns="0" rtlCol="0" anchor="ctr">
            <a:no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ctr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Hvilke fysiske aktiviteter driver barna dine med på fritiden minst en gang i uka i sesongen?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Husstander (kun) med hjemmeboende barn 0-5 år  2019</a:t>
            </a:r>
            <a:endParaRPr kumimoji="0" lang="nb-NO" sz="1600" b="1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D9003052-6B1D-4CA6-9F2C-0B686BEE17D1}"/>
              </a:ext>
            </a:extLst>
          </p:cNvPr>
          <p:cNvSpPr txBox="1"/>
          <p:nvPr/>
        </p:nvSpPr>
        <p:spPr>
          <a:xfrm>
            <a:off x="105452" y="446736"/>
            <a:ext cx="12113997" cy="682419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  <a:tabLst>
                <a:tab pos="3348483" algn="l"/>
              </a:tabLst>
            </a:pPr>
            <a:r>
              <a:rPr lang="nb-NO" dirty="0">
                <a:solidFill>
                  <a:srgbClr val="222223"/>
                </a:solidFill>
                <a:latin typeface="Segoe UI"/>
              </a:rPr>
              <a:t>Barn i husstander der barna er </a:t>
            </a:r>
            <a:r>
              <a:rPr lang="nb-NO" b="1" dirty="0">
                <a:solidFill>
                  <a:srgbClr val="222223"/>
                </a:solidFill>
                <a:latin typeface="Segoe UI"/>
              </a:rPr>
              <a:t>13 – 17 år </a:t>
            </a:r>
            <a:r>
              <a:rPr lang="nb-NO" dirty="0">
                <a:solidFill>
                  <a:srgbClr val="222223"/>
                </a:solidFill>
                <a:latin typeface="Segoe UI"/>
              </a:rPr>
              <a:t>har flyttet fokus til individuell trening og særlig da til styrketrening.                              NB! </a:t>
            </a:r>
            <a:r>
              <a:rPr lang="nb-NO" sz="1400" dirty="0">
                <a:solidFill>
                  <a:srgbClr val="222223"/>
                </a:solidFill>
                <a:latin typeface="Segoe UI"/>
              </a:rPr>
              <a:t>Styrketrening var større enn fotball også 2017 men forskjellen har nå øket fra 4% i 2017 til 11% i 2019 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339D5B85-28E8-4E42-9574-6DE4AB2C1FB5}"/>
              </a:ext>
            </a:extLst>
          </p:cNvPr>
          <p:cNvSpPr txBox="1"/>
          <p:nvPr/>
        </p:nvSpPr>
        <p:spPr>
          <a:xfrm>
            <a:off x="9715195" y="-2577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445010128"/>
      </p:ext>
    </p:extLst>
  </p:cSld>
  <p:clrMapOvr>
    <a:masterClrMapping/>
  </p:clrMapOvr>
  <p:transition>
    <p:fade/>
  </p:transition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CAFC3618-24C5-4A04-8EB2-60F039AB14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042599"/>
            <a:ext cx="4353908" cy="2908411"/>
          </a:xfrm>
          <a:prstGeom prst="rect">
            <a:avLst/>
          </a:prstGeom>
        </p:spPr>
      </p:pic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3AE40544-D2B4-4EC0-9CF8-585EDCB173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1606028"/>
              </p:ext>
            </p:extLst>
          </p:nvPr>
        </p:nvGraphicFramePr>
        <p:xfrm>
          <a:off x="3757531" y="1838477"/>
          <a:ext cx="8161123" cy="50195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4073A466-F84A-4D56-A289-A789106D618F}"/>
              </a:ext>
            </a:extLst>
          </p:cNvPr>
          <p:cNvSpPr txBox="1">
            <a:spLocks/>
          </p:cNvSpPr>
          <p:nvPr/>
        </p:nvSpPr>
        <p:spPr bwMode="gray">
          <a:xfrm>
            <a:off x="4557487" y="1240804"/>
            <a:ext cx="7398376" cy="597673"/>
          </a:xfrm>
          <a:prstGeom prst="rect">
            <a:avLst/>
          </a:prstGeom>
          <a:noFill/>
        </p:spPr>
        <p:txBody>
          <a:bodyPr wrap="none" lIns="110425" tIns="0" rIns="110425" bIns="0" rtlCol="0" anchor="ctr">
            <a:no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algn="ctr" defTabSz="953891"/>
            <a:r>
              <a:rPr lang="nb-NO" sz="1467" cap="none" dirty="0">
                <a:solidFill>
                  <a:srgbClr val="222223"/>
                </a:solidFill>
                <a:latin typeface="Calibri" panose="020F0502020204030204" pitchFamily="34" charset="0"/>
                <a:cs typeface="Arial" pitchFamily="34" charset="0"/>
              </a:rPr>
              <a:t>Hvilke fysiske aktiviteter driver barna dine med på fritiden minst en gang i uka i sesongen?</a:t>
            </a:r>
            <a:br>
              <a:rPr lang="nb-NO" sz="1467" cap="none" dirty="0">
                <a:solidFill>
                  <a:srgbClr val="222223"/>
                </a:solidFill>
                <a:latin typeface="Calibri" panose="020F0502020204030204" pitchFamily="34" charset="0"/>
                <a:cs typeface="Arial" pitchFamily="34" charset="0"/>
              </a:rPr>
            </a:br>
            <a:r>
              <a:rPr lang="nb-NO" sz="1467" cap="none" dirty="0">
                <a:solidFill>
                  <a:srgbClr val="222223"/>
                </a:solidFill>
                <a:latin typeface="Calibri" panose="020F0502020204030204" pitchFamily="34" charset="0"/>
                <a:cs typeface="Arial" pitchFamily="34" charset="0"/>
              </a:rPr>
              <a:t>Husstander (kun) med hjemmeboende barn mellom 13 og 17 år</a:t>
            </a:r>
            <a:endParaRPr lang="nb-NO" sz="1467" b="1" cap="none" dirty="0">
              <a:solidFill>
                <a:srgbClr val="222223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7888913C-89A1-4410-ACF0-1132DC96F4CB}"/>
              </a:ext>
            </a:extLst>
          </p:cNvPr>
          <p:cNvSpPr txBox="1"/>
          <p:nvPr/>
        </p:nvSpPr>
        <p:spPr>
          <a:xfrm>
            <a:off x="5562601" y="498732"/>
            <a:ext cx="4305300" cy="377720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  <a:tabLst>
                <a:tab pos="3348483" algn="l"/>
              </a:tabLst>
            </a:pPr>
            <a:r>
              <a:rPr lang="nb-NO" b="1" dirty="0">
                <a:solidFill>
                  <a:srgbClr val="222223"/>
                </a:solidFill>
                <a:latin typeface="Segoe UI"/>
              </a:rPr>
              <a:t>Ulike aktiviteter 13 – 17 år  i 2017</a:t>
            </a:r>
            <a:endParaRPr lang="nb-NO" u="sng" dirty="0">
              <a:solidFill>
                <a:srgbClr val="222223"/>
              </a:solidFill>
              <a:latin typeface="Segoe UI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A1C2D64D-CDBC-4816-804C-7DD8BCA9E1EF}"/>
              </a:ext>
            </a:extLst>
          </p:cNvPr>
          <p:cNvSpPr txBox="1"/>
          <p:nvPr/>
        </p:nvSpPr>
        <p:spPr>
          <a:xfrm>
            <a:off x="9715195" y="-2577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18</a:t>
            </a:r>
          </a:p>
        </p:txBody>
      </p:sp>
    </p:spTree>
    <p:extLst>
      <p:ext uri="{BB962C8B-B14F-4D97-AF65-F5344CB8AC3E}">
        <p14:creationId xmlns:p14="http://schemas.microsoft.com/office/powerpoint/2010/main" val="3506133900"/>
      </p:ext>
    </p:extLst>
  </p:cSld>
  <p:clrMapOvr>
    <a:masterClrMapping/>
  </p:clrMapOvr>
  <p:transition>
    <p:fade/>
  </p:transition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A0AB4998-74A3-4DF0-A187-A773599447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459" y="160203"/>
            <a:ext cx="11859085" cy="6546261"/>
          </a:xfrm>
          <a:prstGeom prst="rect">
            <a:avLst/>
          </a:prstGeom>
        </p:spPr>
      </p:pic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D476108-4917-4C9A-B862-29631532D5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72117" y="4508326"/>
            <a:ext cx="9424741" cy="1554272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r>
              <a:rPr lang="nb-NO" sz="4800" dirty="0"/>
              <a:t>Hvor mye betaler vi for våre </a:t>
            </a:r>
          </a:p>
          <a:p>
            <a:r>
              <a:rPr lang="nb-NO" sz="4800" dirty="0"/>
              <a:t>barns aktiviteter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565" y="5753005"/>
            <a:ext cx="445856" cy="359168"/>
          </a:xfrm>
          <a:prstGeom prst="rect">
            <a:avLst/>
          </a:prstGeom>
        </p:spPr>
      </p:pic>
      <p:sp>
        <p:nvSpPr>
          <p:cNvPr id="14" name="Footer Placeholder 10"/>
          <p:cNvSpPr txBox="1">
            <a:spLocks/>
          </p:cNvSpPr>
          <p:nvPr/>
        </p:nvSpPr>
        <p:spPr>
          <a:xfrm>
            <a:off x="10066225" y="6171885"/>
            <a:ext cx="1959319" cy="5259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51802" rtl="0" eaLnBrk="1" latinLnBrk="0" hangingPunct="1">
              <a:defRPr sz="1000" kern="1200">
                <a:solidFill>
                  <a:schemeClr val="accent4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259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704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606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507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408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310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211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© 2018 Ipsos.  All rights reserved. Contains Ipsos' Confidential and Proprietary information and may not be disclosed or reproduced without the prior written consent of Ipsos</a:t>
            </a:r>
            <a:r>
              <a:rPr kumimoji="0" lang="en-US" sz="81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.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EB3222EA-DFDA-4FB6-B6BA-45E1BDB6D060}"/>
              </a:ext>
            </a:extLst>
          </p:cNvPr>
          <p:cNvSpPr txBox="1"/>
          <p:nvPr/>
        </p:nvSpPr>
        <p:spPr>
          <a:xfrm>
            <a:off x="9538637" y="151536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81475067"/>
      </p:ext>
    </p:extLst>
  </p:cSld>
  <p:clrMapOvr>
    <a:masterClrMapping/>
  </p:clrMapOvr>
  <p:transition>
    <p:fade/>
  </p:transition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99116B0B-C5A8-46D8-AE43-EE1473D5EED7}"/>
              </a:ext>
            </a:extLst>
          </p:cNvPr>
          <p:cNvGraphicFramePr/>
          <p:nvPr/>
        </p:nvGraphicFramePr>
        <p:xfrm>
          <a:off x="1119963" y="2142321"/>
          <a:ext cx="8383960" cy="3918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60C6390F-2A79-4CDE-8938-DD76B47AC13B}"/>
              </a:ext>
            </a:extLst>
          </p:cNvPr>
          <p:cNvSpPr txBox="1">
            <a:spLocks/>
          </p:cNvSpPr>
          <p:nvPr/>
        </p:nvSpPr>
        <p:spPr bwMode="gray">
          <a:xfrm>
            <a:off x="1550443" y="1539693"/>
            <a:ext cx="8587955" cy="1037696"/>
          </a:xfrm>
          <a:prstGeom prst="rect">
            <a:avLst/>
          </a:prstGeom>
          <a:noFill/>
        </p:spPr>
        <p:txBody>
          <a:bodyPr wrap="none" lIns="110425" tIns="0" rIns="110425" bIns="0" rtlCol="0" anchor="ctr">
            <a:no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ctr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vor store kostnader/ytelser bidrar du/dere med til barnas idrettsaktiviteter når det gjelder...?: </a:t>
            </a:r>
          </a:p>
          <a:p>
            <a:pPr marL="0" marR="0" lvl="0" indent="0" algn="ctr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ase: Har hjemmeboende barn under 18 år</a:t>
            </a: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2136C080-372A-4596-A0AF-7783D605F43B}"/>
              </a:ext>
            </a:extLst>
          </p:cNvPr>
          <p:cNvSpPr txBox="1"/>
          <p:nvPr/>
        </p:nvSpPr>
        <p:spPr>
          <a:xfrm>
            <a:off x="576801" y="233239"/>
            <a:ext cx="8722842" cy="877600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>
                <a:tab pos="3348483" algn="l"/>
              </a:tabLst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 fleste foreldre anser ulike typer utgifter til barns idrettsaktiviteter som moderate  		</a:t>
            </a: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B60FEDB2-5157-41ED-BF5C-9B3E21C6AA3D}"/>
              </a:ext>
            </a:extLst>
          </p:cNvPr>
          <p:cNvSpPr/>
          <p:nvPr/>
        </p:nvSpPr>
        <p:spPr>
          <a:xfrm>
            <a:off x="9715499" y="3180017"/>
            <a:ext cx="2210517" cy="1569660"/>
          </a:xfrm>
          <a:prstGeom prst="rect">
            <a:avLst/>
          </a:prstGeom>
          <a:solidFill>
            <a:srgbClr val="E2E2E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 Oslo mener imidlertid så mange som 29% av foreldrene at kostnadene til medlemskontingenter etc. er store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49694BD8-3246-4854-901C-AF243AB3E724}"/>
              </a:ext>
            </a:extLst>
          </p:cNvPr>
          <p:cNvSpPr txBox="1"/>
          <p:nvPr/>
        </p:nvSpPr>
        <p:spPr>
          <a:xfrm>
            <a:off x="9687746" y="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64855963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5288CFCD-6271-4DB8-B479-AC0D81A9E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318" y="297642"/>
            <a:ext cx="11754359" cy="757130"/>
          </a:xfrm>
        </p:spPr>
        <p:txBody>
          <a:bodyPr/>
          <a:lstStyle/>
          <a:p>
            <a:r>
              <a:rPr lang="nb-NO" sz="2400" dirty="0"/>
              <a:t>Fallende støtte til konservative standpunkter </a:t>
            </a:r>
            <a:br>
              <a:rPr lang="nb-NO" sz="2400" dirty="0"/>
            </a:br>
            <a:r>
              <a:rPr lang="nb-NO" sz="2400" dirty="0"/>
              <a:t>siden tusenårsskiftet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4BADFABF-96BA-44A5-AFF9-4219609A314A}"/>
              </a:ext>
            </a:extLst>
          </p:cNvPr>
          <p:cNvSpPr/>
          <p:nvPr/>
        </p:nvSpPr>
        <p:spPr>
          <a:xfrm>
            <a:off x="263857" y="1029353"/>
            <a:ext cx="781561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vekt konservativt minus radikalt standpunkt (prosentpoeng)</a:t>
            </a:r>
          </a:p>
        </p:txBody>
      </p:sp>
      <p:graphicFrame>
        <p:nvGraphicFramePr>
          <p:cNvPr id="8" name="Content Placeholder 6">
            <a:extLst>
              <a:ext uri="{FF2B5EF4-FFF2-40B4-BE49-F238E27FC236}">
                <a16:creationId xmlns:a16="http://schemas.microsoft.com/office/drawing/2014/main" id="{708B3002-D837-4BB5-8711-5F68C509D55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0" y="1541715"/>
          <a:ext cx="11898757" cy="5089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B0EBCB02-4EDF-4632-9BAF-74228F7E9890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075338574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B304C12A-27C5-4FDB-83A8-B6D65B085A3C}"/>
              </a:ext>
            </a:extLst>
          </p:cNvPr>
          <p:cNvGraphicFramePr/>
          <p:nvPr/>
        </p:nvGraphicFramePr>
        <p:xfrm>
          <a:off x="4046655" y="2405880"/>
          <a:ext cx="4894053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kstSylinder 3">
            <a:extLst>
              <a:ext uri="{FF2B5EF4-FFF2-40B4-BE49-F238E27FC236}">
                <a16:creationId xmlns:a16="http://schemas.microsoft.com/office/drawing/2014/main" id="{4165C7FA-F532-4070-B88B-9B19A28A2733}"/>
              </a:ext>
            </a:extLst>
          </p:cNvPr>
          <p:cNvSpPr txBox="1"/>
          <p:nvPr/>
        </p:nvSpPr>
        <p:spPr>
          <a:xfrm>
            <a:off x="672496" y="462377"/>
            <a:ext cx="10470427" cy="877600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>
                <a:tab pos="3348483" algn="l"/>
              </a:tabLst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42%  av husstander med barn 0-18 år oppgir at de bruker under kr 5.000.- per år på barnas fysiske aktiviteter. </a:t>
            </a:r>
            <a:endParaRPr kumimoji="0" lang="nb-NO" sz="2400" b="0" i="0" u="sng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F3AD703D-B476-43A0-84EE-380798D5167B}"/>
              </a:ext>
            </a:extLst>
          </p:cNvPr>
          <p:cNvSpPr txBox="1">
            <a:spLocks/>
          </p:cNvSpPr>
          <p:nvPr/>
        </p:nvSpPr>
        <p:spPr bwMode="gray">
          <a:xfrm>
            <a:off x="1550443" y="1539693"/>
            <a:ext cx="8587955" cy="1037696"/>
          </a:xfrm>
          <a:prstGeom prst="rect">
            <a:avLst/>
          </a:prstGeom>
          <a:noFill/>
        </p:spPr>
        <p:txBody>
          <a:bodyPr wrap="none" lIns="110425" tIns="0" rIns="110425" bIns="0" rtlCol="0" anchor="ctr">
            <a:no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ctr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Samlet sett, omtrent hvor mye penger bruker du /dere i året på barnas fysiske aktiviteter?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Husstander med hjemmeværende barn</a:t>
            </a:r>
            <a:endParaRPr kumimoji="0" lang="nb-NO" sz="1600" b="1" i="0" u="none" strike="noStrike" kern="1200" cap="all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CA97C2EA-D2D6-491B-BA6C-3512B0D9AC50}"/>
              </a:ext>
            </a:extLst>
          </p:cNvPr>
          <p:cNvSpPr txBox="1"/>
          <p:nvPr/>
        </p:nvSpPr>
        <p:spPr>
          <a:xfrm>
            <a:off x="9687746" y="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870149714"/>
      </p:ext>
    </p:extLst>
  </p:cSld>
  <p:clrMapOvr>
    <a:masterClrMapping/>
  </p:clrMapOvr>
  <p:transition>
    <p:fade/>
  </p:transition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99116B0B-C5A8-46D8-AE43-EE1473D5EED7}"/>
              </a:ext>
            </a:extLst>
          </p:cNvPr>
          <p:cNvGraphicFramePr/>
          <p:nvPr/>
        </p:nvGraphicFramePr>
        <p:xfrm>
          <a:off x="672495" y="2142320"/>
          <a:ext cx="8960152" cy="4253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60C6390F-2A79-4CDE-8938-DD76B47AC13B}"/>
              </a:ext>
            </a:extLst>
          </p:cNvPr>
          <p:cNvSpPr txBox="1">
            <a:spLocks/>
          </p:cNvSpPr>
          <p:nvPr/>
        </p:nvSpPr>
        <p:spPr bwMode="gray">
          <a:xfrm>
            <a:off x="1550442" y="1452144"/>
            <a:ext cx="8587955" cy="1037696"/>
          </a:xfrm>
          <a:prstGeom prst="rect">
            <a:avLst/>
          </a:prstGeom>
          <a:noFill/>
        </p:spPr>
        <p:txBody>
          <a:bodyPr wrap="none" lIns="110425" tIns="0" rIns="110425" bIns="0" rtlCol="0" anchor="ctr">
            <a:no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ctr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Samlet sett, omtrent hvor mye penger bruker du /dere i året på barnas fysiske aktiviteter?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Husstander med hjemmeværende barn</a:t>
            </a:r>
            <a:endParaRPr kumimoji="0" lang="nb-NO" sz="1600" b="1" i="0" u="none" strike="noStrike" kern="1200" cap="all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2136C080-372A-4596-A0AF-7783D605F43B}"/>
              </a:ext>
            </a:extLst>
          </p:cNvPr>
          <p:cNvSpPr txBox="1"/>
          <p:nvPr/>
        </p:nvSpPr>
        <p:spPr>
          <a:xfrm>
            <a:off x="672495" y="462377"/>
            <a:ext cx="11248572" cy="471335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>
                <a:tab pos="3348483" algn="l"/>
              </a:tabLst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tgiftene til barns idrett øker og mange bruker mer enn kr 5000 på dette</a:t>
            </a:r>
            <a:endParaRPr kumimoji="0" lang="nb-NO" sz="2400" b="0" i="0" u="sng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DE5746FA-F0E7-4CCE-BF3A-ACF81741658C}"/>
              </a:ext>
            </a:extLst>
          </p:cNvPr>
          <p:cNvSpPr txBox="1"/>
          <p:nvPr/>
        </p:nvSpPr>
        <p:spPr>
          <a:xfrm>
            <a:off x="7946796" y="5645384"/>
            <a:ext cx="3855563" cy="1072400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B! Flere detaljspørsmål om kostnader ved barns idrett  ble lagt til spørreskjemaet i 2019 runden før de fikk dette oppsummeringsspørsmålet og disse har nok bidratt til at flere foreldre nå ser klarere for seg hva dette koster 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6F66AC06-FFDB-4BA5-A617-E98ED4095142}"/>
              </a:ext>
            </a:extLst>
          </p:cNvPr>
          <p:cNvSpPr txBox="1"/>
          <p:nvPr/>
        </p:nvSpPr>
        <p:spPr>
          <a:xfrm>
            <a:off x="9687746" y="-29061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CB4C9546-DE9C-4579-8114-B5142199EB2B}"/>
              </a:ext>
            </a:extLst>
          </p:cNvPr>
          <p:cNvSpPr txBox="1"/>
          <p:nvPr/>
        </p:nvSpPr>
        <p:spPr>
          <a:xfrm>
            <a:off x="1336839" y="6383491"/>
            <a:ext cx="6320558" cy="259870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B!  SUM ER MINDRE ENN 100 FORDI IKKE ALDRE FORELDRE HAR BESVART SPØRSMÅLET </a:t>
            </a:r>
          </a:p>
        </p:txBody>
      </p:sp>
    </p:spTree>
    <p:extLst>
      <p:ext uri="{BB962C8B-B14F-4D97-AF65-F5344CB8AC3E}">
        <p14:creationId xmlns:p14="http://schemas.microsoft.com/office/powerpoint/2010/main" val="3157631272"/>
      </p:ext>
    </p:extLst>
  </p:cSld>
  <p:clrMapOvr>
    <a:masterClrMapping/>
  </p:clrMapOvr>
  <p:transition>
    <p:fade/>
  </p:transition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99116B0B-C5A8-46D8-AE43-EE1473D5EED7}"/>
              </a:ext>
            </a:extLst>
          </p:cNvPr>
          <p:cNvGraphicFramePr/>
          <p:nvPr/>
        </p:nvGraphicFramePr>
        <p:xfrm>
          <a:off x="2053603" y="2158986"/>
          <a:ext cx="8960152" cy="4253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itle 2">
            <a:extLst>
              <a:ext uri="{FF2B5EF4-FFF2-40B4-BE49-F238E27FC236}">
                <a16:creationId xmlns:a16="http://schemas.microsoft.com/office/drawing/2014/main" id="{60C6390F-2A79-4CDE-8938-DD76B47AC13B}"/>
              </a:ext>
            </a:extLst>
          </p:cNvPr>
          <p:cNvSpPr txBox="1">
            <a:spLocks/>
          </p:cNvSpPr>
          <p:nvPr/>
        </p:nvSpPr>
        <p:spPr bwMode="gray">
          <a:xfrm>
            <a:off x="1550443" y="1539693"/>
            <a:ext cx="8587955" cy="1037696"/>
          </a:xfrm>
          <a:prstGeom prst="rect">
            <a:avLst/>
          </a:prstGeom>
          <a:noFill/>
        </p:spPr>
        <p:txBody>
          <a:bodyPr wrap="none" lIns="110425" tIns="0" rIns="110425" bIns="0" rtlCol="0" anchor="ctr">
            <a:no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ctr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Samlet sett, omtrent hvor mye penger bruker du /dere i året på barnas fysiske aktiviteter?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Husstander med hjemmeværende barn</a:t>
            </a:r>
            <a:endParaRPr kumimoji="0" lang="nb-NO" sz="1600" b="1" i="0" u="none" strike="noStrike" kern="1200" cap="all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2136C080-372A-4596-A0AF-7783D605F43B}"/>
              </a:ext>
            </a:extLst>
          </p:cNvPr>
          <p:cNvSpPr txBox="1"/>
          <p:nvPr/>
        </p:nvSpPr>
        <p:spPr>
          <a:xfrm>
            <a:off x="681921" y="445711"/>
            <a:ext cx="10196611" cy="815211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>
                <a:tab pos="3348483" algn="l"/>
              </a:tabLst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arnefamilier i Oslo bruker klart mest penger på barnas fysiske aktiviteter </a:t>
            </a: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 av 5 i Oslo bruker 15 000 kr eller mer 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EF9DF950-2F4F-4580-8688-3D2D79861630}"/>
              </a:ext>
            </a:extLst>
          </p:cNvPr>
          <p:cNvSpPr txBox="1"/>
          <p:nvPr/>
        </p:nvSpPr>
        <p:spPr>
          <a:xfrm>
            <a:off x="9687746" y="-29061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239356516"/>
      </p:ext>
    </p:extLst>
  </p:cSld>
  <p:clrMapOvr>
    <a:masterClrMapping/>
  </p:clrMapOvr>
  <p:transition>
    <p:fade/>
  </p:transition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B304C12A-27C5-4FDB-83A8-B6D65B085A3C}"/>
              </a:ext>
            </a:extLst>
          </p:cNvPr>
          <p:cNvGraphicFramePr/>
          <p:nvPr/>
        </p:nvGraphicFramePr>
        <p:xfrm>
          <a:off x="446907" y="2128459"/>
          <a:ext cx="3515831" cy="46067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kstSylinder 3">
            <a:extLst>
              <a:ext uri="{FF2B5EF4-FFF2-40B4-BE49-F238E27FC236}">
                <a16:creationId xmlns:a16="http://schemas.microsoft.com/office/drawing/2014/main" id="{4165C7FA-F532-4070-B88B-9B19A28A2733}"/>
              </a:ext>
            </a:extLst>
          </p:cNvPr>
          <p:cNvSpPr txBox="1"/>
          <p:nvPr/>
        </p:nvSpPr>
        <p:spPr>
          <a:xfrm>
            <a:off x="1474382" y="462376"/>
            <a:ext cx="9668541" cy="471335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>
                <a:tab pos="3348483" algn="l"/>
              </a:tabLst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ngebruk på barnas fysiske aktiviteter – etter barnas alder</a:t>
            </a:r>
            <a:endParaRPr kumimoji="0" lang="nb-NO" sz="2400" b="0" i="0" u="sng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F3AD703D-B476-43A0-84EE-380798D5167B}"/>
              </a:ext>
            </a:extLst>
          </p:cNvPr>
          <p:cNvSpPr txBox="1">
            <a:spLocks/>
          </p:cNvSpPr>
          <p:nvPr/>
        </p:nvSpPr>
        <p:spPr bwMode="gray">
          <a:xfrm>
            <a:off x="1021693" y="993023"/>
            <a:ext cx="9890191" cy="877579"/>
          </a:xfrm>
          <a:prstGeom prst="rect">
            <a:avLst/>
          </a:prstGeom>
          <a:noFill/>
        </p:spPr>
        <p:txBody>
          <a:bodyPr wrap="none" lIns="110425" tIns="0" rIns="110425" bIns="0" rtlCol="0" anchor="ctr">
            <a:no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ctr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Samlet sett, omtrent hvor mye penger bruker du /dere i året på barnas fysiske aktiviteter?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Husstander med hjemmeværende barn</a:t>
            </a:r>
            <a:endParaRPr kumimoji="0" lang="nb-NO" sz="1600" b="1" i="0" u="none" strike="noStrike" kern="1200" cap="all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FFBD97F4-2EC0-4407-9D3C-38E04136B909}"/>
              </a:ext>
            </a:extLst>
          </p:cNvPr>
          <p:cNvGraphicFramePr/>
          <p:nvPr/>
        </p:nvGraphicFramePr>
        <p:xfrm>
          <a:off x="7524647" y="2128459"/>
          <a:ext cx="4191141" cy="4619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D04C0C85-0C50-4C41-9C6A-7B1C71E2CDB4}"/>
              </a:ext>
            </a:extLst>
          </p:cNvPr>
          <p:cNvGraphicFramePr/>
          <p:nvPr/>
        </p:nvGraphicFramePr>
        <p:xfrm>
          <a:off x="3648122" y="2128459"/>
          <a:ext cx="4191141" cy="4619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kstSylinder 2">
            <a:extLst>
              <a:ext uri="{FF2B5EF4-FFF2-40B4-BE49-F238E27FC236}">
                <a16:creationId xmlns:a16="http://schemas.microsoft.com/office/drawing/2014/main" id="{4307F16E-A59F-4BDD-BE5E-9B7B12CC3A4E}"/>
              </a:ext>
            </a:extLst>
          </p:cNvPr>
          <p:cNvSpPr txBox="1"/>
          <p:nvPr/>
        </p:nvSpPr>
        <p:spPr>
          <a:xfrm>
            <a:off x="1647825" y="1867623"/>
            <a:ext cx="951717" cy="447101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-5 år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10999E07-5182-474C-9E06-E9A5179AE0BD}"/>
              </a:ext>
            </a:extLst>
          </p:cNvPr>
          <p:cNvSpPr txBox="1"/>
          <p:nvPr/>
        </p:nvSpPr>
        <p:spPr>
          <a:xfrm>
            <a:off x="5015071" y="1867623"/>
            <a:ext cx="1118430" cy="447101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6-12 år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29E40BFE-DDDA-47A9-9EA9-7AABBDAA686D}"/>
              </a:ext>
            </a:extLst>
          </p:cNvPr>
          <p:cNvSpPr txBox="1"/>
          <p:nvPr/>
        </p:nvSpPr>
        <p:spPr>
          <a:xfrm>
            <a:off x="9144358" y="1867623"/>
            <a:ext cx="1285142" cy="447101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3-17 år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3EBC1574-856A-4308-89FD-2D06EC8E8B9B}"/>
              </a:ext>
            </a:extLst>
          </p:cNvPr>
          <p:cNvSpPr txBox="1"/>
          <p:nvPr/>
        </p:nvSpPr>
        <p:spPr>
          <a:xfrm>
            <a:off x="9687746" y="-29061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524015573"/>
      </p:ext>
    </p:extLst>
  </p:cSld>
  <p:clrMapOvr>
    <a:masterClrMapping/>
  </p:clrMapOvr>
  <p:transition>
    <p:fade/>
  </p:transition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55927DCF-848C-4A62-8C2D-459AE50109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771" y="160203"/>
            <a:ext cx="11883773" cy="6318569"/>
          </a:xfrm>
          <a:prstGeom prst="rect">
            <a:avLst/>
          </a:prstGeom>
        </p:spPr>
      </p:pic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D476108-4917-4C9A-B862-29631532D5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51313" y="4747649"/>
            <a:ext cx="8696080" cy="1184940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r>
              <a:rPr lang="nb-NO" sz="3600" dirty="0"/>
              <a:t>Hvor frivillige og idealistiske er vi </a:t>
            </a:r>
          </a:p>
          <a:p>
            <a:r>
              <a:rPr lang="nb-NO" sz="3600" dirty="0"/>
              <a:t>Når det gjelder våre barns idrett?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565" y="5753005"/>
            <a:ext cx="445856" cy="359168"/>
          </a:xfrm>
          <a:prstGeom prst="rect">
            <a:avLst/>
          </a:prstGeom>
        </p:spPr>
      </p:pic>
      <p:sp>
        <p:nvSpPr>
          <p:cNvPr id="14" name="Footer Placeholder 10"/>
          <p:cNvSpPr txBox="1">
            <a:spLocks/>
          </p:cNvSpPr>
          <p:nvPr/>
        </p:nvSpPr>
        <p:spPr>
          <a:xfrm>
            <a:off x="10066225" y="6171885"/>
            <a:ext cx="1959319" cy="5259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51802" rtl="0" eaLnBrk="1" latinLnBrk="0" hangingPunct="1">
              <a:defRPr sz="1000" kern="1200">
                <a:solidFill>
                  <a:schemeClr val="accent4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259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704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606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507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408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310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211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© 2018 Ipsos.  All rights reserved. Contains Ipsos' Confidential and Proprietary information and may not be disclosed or reproduced without the prior written consent of Ipsos</a:t>
            </a:r>
            <a:r>
              <a:rPr kumimoji="0" lang="en-US" sz="81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.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CB6E964A-2643-4DC2-A264-934A73627801}"/>
              </a:ext>
            </a:extLst>
          </p:cNvPr>
          <p:cNvSpPr txBox="1"/>
          <p:nvPr/>
        </p:nvSpPr>
        <p:spPr>
          <a:xfrm>
            <a:off x="9521290" y="1602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4276765486"/>
      </p:ext>
    </p:extLst>
  </p:cSld>
  <p:clrMapOvr>
    <a:masterClrMapping/>
  </p:clrMapOvr>
  <p:transition>
    <p:fade/>
  </p:transition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64832A22-3763-49CB-8E6D-1A677E2BB0B5}"/>
              </a:ext>
            </a:extLst>
          </p:cNvPr>
          <p:cNvGraphicFramePr/>
          <p:nvPr/>
        </p:nvGraphicFramePr>
        <p:xfrm>
          <a:off x="909562" y="1112920"/>
          <a:ext cx="10911129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Høyre klammeparentes 7">
            <a:extLst>
              <a:ext uri="{FF2B5EF4-FFF2-40B4-BE49-F238E27FC236}">
                <a16:creationId xmlns:a16="http://schemas.microsoft.com/office/drawing/2014/main" id="{B93E8D44-EC17-449A-9C2B-5B56AF0DE5D0}"/>
              </a:ext>
            </a:extLst>
          </p:cNvPr>
          <p:cNvSpPr/>
          <p:nvPr/>
        </p:nvSpPr>
        <p:spPr>
          <a:xfrm>
            <a:off x="7613698" y="5784529"/>
            <a:ext cx="304025" cy="238716"/>
          </a:xfrm>
          <a:prstGeom prst="rightBrac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Høyre klammeparentes 8">
            <a:extLst>
              <a:ext uri="{FF2B5EF4-FFF2-40B4-BE49-F238E27FC236}">
                <a16:creationId xmlns:a16="http://schemas.microsoft.com/office/drawing/2014/main" id="{2A6D8B16-9BD3-408B-B958-A6A7EE840239}"/>
              </a:ext>
            </a:extLst>
          </p:cNvPr>
          <p:cNvSpPr/>
          <p:nvPr/>
        </p:nvSpPr>
        <p:spPr>
          <a:xfrm>
            <a:off x="8455975" y="5019192"/>
            <a:ext cx="304025" cy="1004053"/>
          </a:xfrm>
          <a:prstGeom prst="rightBrace">
            <a:avLst>
              <a:gd name="adj1" fmla="val 0"/>
              <a:gd name="adj2" fmla="val 50000"/>
            </a:avLst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3F39B2AE-0FFC-4EE8-AD1A-CCE8CC477FE9}"/>
              </a:ext>
            </a:extLst>
          </p:cNvPr>
          <p:cNvSpPr txBox="1"/>
          <p:nvPr/>
        </p:nvSpPr>
        <p:spPr>
          <a:xfrm>
            <a:off x="7844361" y="5668927"/>
            <a:ext cx="628289" cy="346558"/>
          </a:xfrm>
          <a:prstGeom prst="rect">
            <a:avLst/>
          </a:prstGeom>
          <a:noFill/>
        </p:spPr>
        <p:txBody>
          <a:bodyPr wrap="non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6,2%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0E27C2E8-B875-401E-BD7D-C40F965C13EC}"/>
              </a:ext>
            </a:extLst>
          </p:cNvPr>
          <p:cNvSpPr txBox="1"/>
          <p:nvPr/>
        </p:nvSpPr>
        <p:spPr>
          <a:xfrm>
            <a:off x="8760000" y="5254914"/>
            <a:ext cx="738896" cy="346558"/>
          </a:xfrm>
          <a:prstGeom prst="rect">
            <a:avLst/>
          </a:prstGeom>
          <a:noFill/>
        </p:spPr>
        <p:txBody>
          <a:bodyPr wrap="non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5,7%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CB2CDD0E-4C89-46C6-A64C-500664E86A07}"/>
              </a:ext>
            </a:extLst>
          </p:cNvPr>
          <p:cNvSpPr/>
          <p:nvPr/>
        </p:nvSpPr>
        <p:spPr>
          <a:xfrm>
            <a:off x="1079691" y="1360300"/>
            <a:ext cx="8157028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33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tfører du frivillig arbeid for et idrettslag f.eks. deltar i dugnad, har tillitsverv, er trener/oppmann, samler inn penger ol. Base. Alle spurte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29760138-8043-45F3-8CB6-7474611A5752}"/>
              </a:ext>
            </a:extLst>
          </p:cNvPr>
          <p:cNvSpPr txBox="1"/>
          <p:nvPr/>
        </p:nvSpPr>
        <p:spPr>
          <a:xfrm>
            <a:off x="371309" y="403715"/>
            <a:ext cx="12254919" cy="877600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>
                <a:tab pos="3348483" algn="l"/>
              </a:tabLst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n av fire utfører frivillig arbeid for idrettslag. 6% investerer mye tid.                                     Nivået på denne innsatsen er ganske stabilt over tid</a:t>
            </a:r>
            <a:endParaRPr kumimoji="0" lang="nb-NO" sz="2400" b="0" i="0" u="sng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CAFD4075-5B2D-4CB5-BF0B-846F4D547953}"/>
              </a:ext>
            </a:extLst>
          </p:cNvPr>
          <p:cNvSpPr txBox="1"/>
          <p:nvPr/>
        </p:nvSpPr>
        <p:spPr>
          <a:xfrm>
            <a:off x="9498896" y="15545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853888074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45375" y="1572114"/>
            <a:ext cx="10372876" cy="512951"/>
          </a:xfrm>
        </p:spPr>
        <p:txBody>
          <a:bodyPr>
            <a:noAutofit/>
          </a:bodyPr>
          <a:lstStyle/>
          <a:p>
            <a:r>
              <a:rPr lang="nb-NO" sz="1333" dirty="0">
                <a:solidFill>
                  <a:schemeClr val="tx1"/>
                </a:solidFill>
              </a:rPr>
              <a:t>Utfører du frivillig arbeid for et idrettslag f.eks. deltar i dugnad, har tillitsverv, er trener/oppmann, samler inn penger ol. </a:t>
            </a:r>
          </a:p>
          <a:p>
            <a:r>
              <a:rPr lang="nb-NO" sz="1333" dirty="0">
                <a:solidFill>
                  <a:schemeClr val="tx1"/>
                </a:solidFill>
              </a:rPr>
              <a:t>Base: har hjemmeværende barn under 18 år</a:t>
            </a:r>
          </a:p>
        </p:txBody>
      </p:sp>
      <p:graphicFrame>
        <p:nvGraphicFramePr>
          <p:cNvPr id="4" name="Content Placeholder 3"/>
          <p:cNvGraphicFramePr>
            <a:graphicFrameLocks/>
          </p:cNvGraphicFramePr>
          <p:nvPr/>
        </p:nvGraphicFramePr>
        <p:xfrm>
          <a:off x="638629" y="2016854"/>
          <a:ext cx="9453639" cy="4711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67D52CB2-BB86-4A83-AB07-967EA5CE6F98}"/>
              </a:ext>
            </a:extLst>
          </p:cNvPr>
          <p:cNvSpPr txBox="1"/>
          <p:nvPr/>
        </p:nvSpPr>
        <p:spPr>
          <a:xfrm>
            <a:off x="1043166" y="472144"/>
            <a:ext cx="8644564" cy="877600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>
                <a:tab pos="3348483" algn="l"/>
              </a:tabLst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ire av ti med hjemmeværende barn under 18 år deltar i frivillig arbeid for idrettslag. Andelen er ganske stabil over tid</a:t>
            </a:r>
            <a:endParaRPr kumimoji="0" lang="nb-NO" sz="2400" b="0" i="0" u="sng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EB6BBC20-5A93-44CE-9A79-CAAFC6721570}"/>
              </a:ext>
            </a:extLst>
          </p:cNvPr>
          <p:cNvSpPr txBox="1"/>
          <p:nvPr/>
        </p:nvSpPr>
        <p:spPr>
          <a:xfrm>
            <a:off x="9498896" y="15545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203951184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85256" y="1150563"/>
            <a:ext cx="8605461" cy="878576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  <a:spcBef>
                <a:spcPct val="50000"/>
              </a:spcBef>
            </a:pPr>
            <a:r>
              <a:rPr lang="nb-NO" sz="160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Utfører du frivillig arbeid for et idrettslag. f.eks. deltar i dugnad. har tillitsverv. er trener/oppmann. samler inn penger o</a:t>
            </a:r>
            <a:r>
              <a:rPr lang="nb-NO" sz="1600" b="1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.l.? – svarer ja</a:t>
            </a:r>
            <a:endParaRPr lang="nb-NO" sz="1600" b="1" dirty="0">
              <a:solidFill>
                <a:schemeClr val="tx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1952895" y="2129922"/>
          <a:ext cx="7246923" cy="4183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kstSylinder 5">
            <a:extLst>
              <a:ext uri="{FF2B5EF4-FFF2-40B4-BE49-F238E27FC236}">
                <a16:creationId xmlns:a16="http://schemas.microsoft.com/office/drawing/2014/main" id="{2F2FCC53-9C5A-4CCF-AA51-FE2AA8C0CCAD}"/>
              </a:ext>
            </a:extLst>
          </p:cNvPr>
          <p:cNvSpPr txBox="1"/>
          <p:nvPr/>
        </p:nvSpPr>
        <p:spPr>
          <a:xfrm>
            <a:off x="498165" y="545062"/>
            <a:ext cx="10156385" cy="794436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>
                <a:tab pos="3348483" algn="l"/>
              </a:tabLst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usstander med hjemmeboende barn deltar naturlig nok mest                            </a:t>
            </a:r>
            <a:r>
              <a:rPr kumimoji="0" lang="nb-NO" sz="1867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enerelt i hele befolkningen er høy inntekt utslagsgivende </a:t>
            </a:r>
            <a:endParaRPr kumimoji="0" lang="nb-NO" sz="1867" b="0" i="0" u="sng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8AF95B30-7A0A-463C-B657-FC562437C71D}"/>
              </a:ext>
            </a:extLst>
          </p:cNvPr>
          <p:cNvSpPr txBox="1"/>
          <p:nvPr/>
        </p:nvSpPr>
        <p:spPr>
          <a:xfrm>
            <a:off x="9498896" y="15545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84112210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>
            <a:extLst>
              <a:ext uri="{FF2B5EF4-FFF2-40B4-BE49-F238E27FC236}">
                <a16:creationId xmlns:a16="http://schemas.microsoft.com/office/drawing/2014/main" id="{FDC29FCB-4732-4D89-AF17-231DC7C8F460}"/>
              </a:ext>
            </a:extLst>
          </p:cNvPr>
          <p:cNvSpPr txBox="1"/>
          <p:nvPr/>
        </p:nvSpPr>
        <p:spPr>
          <a:xfrm>
            <a:off x="984819" y="523988"/>
            <a:ext cx="10998634" cy="964483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2667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esten ingen er villig til å nekte et barn plass i idrettslag, selv om det har foreldre som ikke vil stille opp – unison enighet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8D5992E-59F0-4685-ACCE-0BFD6F723507}"/>
              </a:ext>
            </a:extLst>
          </p:cNvPr>
          <p:cNvGraphicFramePr/>
          <p:nvPr/>
        </p:nvGraphicFramePr>
        <p:xfrm>
          <a:off x="2665396" y="2697481"/>
          <a:ext cx="5757712" cy="3698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2">
            <a:extLst>
              <a:ext uri="{FF2B5EF4-FFF2-40B4-BE49-F238E27FC236}">
                <a16:creationId xmlns:a16="http://schemas.microsoft.com/office/drawing/2014/main" id="{90778F78-F09B-47AD-B26A-9FBDFD80A595}"/>
              </a:ext>
            </a:extLst>
          </p:cNvPr>
          <p:cNvSpPr txBox="1">
            <a:spLocks noChangeArrowheads="1"/>
          </p:cNvSpPr>
          <p:nvPr/>
        </p:nvSpPr>
        <p:spPr>
          <a:xfrm>
            <a:off x="1329590" y="2111926"/>
            <a:ext cx="8429324" cy="45191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24282" rtl="0" eaLnBrk="1" latinLnBrk="0" hangingPunct="1">
              <a:lnSpc>
                <a:spcPct val="90000"/>
              </a:lnSpc>
              <a:spcBef>
                <a:spcPts val="408"/>
              </a:spcBef>
              <a:buNone/>
              <a:tabLst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32345" rtl="0" eaLnBrk="1" fontAlgn="auto" latinLnBrk="0" hangingPunct="1">
              <a:lnSpc>
                <a:spcPct val="90000"/>
              </a:lnSpc>
              <a:spcBef>
                <a:spcPts val="54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 Hvor enig eller uenig er du i påstanden?</a:t>
            </a:r>
          </a:p>
          <a:p>
            <a:pPr marL="0" marR="0" lvl="0" indent="0" algn="l" defTabSz="1232345" rtl="0" eaLnBrk="1" fontAlgn="auto" latinLnBrk="0" hangingPunct="1">
              <a:lnSpc>
                <a:spcPct val="90000"/>
              </a:lnSpc>
              <a:spcBef>
                <a:spcPts val="54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Barn med foreldre som ikke vil stille opp på dugnad, bør likevel kunne få delta i idrettslag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8B6AB838-2BEB-452E-BB55-1D44F9469839}"/>
              </a:ext>
            </a:extLst>
          </p:cNvPr>
          <p:cNvSpPr/>
          <p:nvPr/>
        </p:nvSpPr>
        <p:spPr>
          <a:xfrm>
            <a:off x="9030944" y="3187300"/>
            <a:ext cx="2538826" cy="1569660"/>
          </a:xfrm>
          <a:prstGeom prst="rect">
            <a:avLst/>
          </a:prstGeom>
          <a:solidFill>
            <a:srgbClr val="E2E2E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lv blant foreldre med hjemmeboende barn, er svært få er villig til å nekte «vanskeligstilte barn» deltakel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7503B18E-F230-4816-9823-C144736761CB}"/>
              </a:ext>
            </a:extLst>
          </p:cNvPr>
          <p:cNvSpPr txBox="1"/>
          <p:nvPr/>
        </p:nvSpPr>
        <p:spPr>
          <a:xfrm>
            <a:off x="9687746" y="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74090380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>
            <a:extLst>
              <a:ext uri="{FF2B5EF4-FFF2-40B4-BE49-F238E27FC236}">
                <a16:creationId xmlns:a16="http://schemas.microsoft.com/office/drawing/2014/main" id="{FDC29FCB-4732-4D89-AF17-231DC7C8F460}"/>
              </a:ext>
            </a:extLst>
          </p:cNvPr>
          <p:cNvSpPr txBox="1"/>
          <p:nvPr/>
        </p:nvSpPr>
        <p:spPr>
          <a:xfrm>
            <a:off x="984819" y="523988"/>
            <a:ext cx="10998634" cy="986989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2667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6 av 10 mener at det offentlige bør kunne dekke utgiftene </a:t>
            </a: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or én </a:t>
            </a:r>
            <a:r>
              <a:rPr kumimoji="0" lang="nb-NO" sz="2667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ritidsaktivitet per barn.                                                                                  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8D5992E-59F0-4685-ACCE-0BFD6F723507}"/>
              </a:ext>
            </a:extLst>
          </p:cNvPr>
          <p:cNvGraphicFramePr/>
          <p:nvPr/>
        </p:nvGraphicFramePr>
        <p:xfrm>
          <a:off x="2665396" y="2558578"/>
          <a:ext cx="5757712" cy="3698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2">
            <a:extLst>
              <a:ext uri="{FF2B5EF4-FFF2-40B4-BE49-F238E27FC236}">
                <a16:creationId xmlns:a16="http://schemas.microsoft.com/office/drawing/2014/main" id="{90778F78-F09B-47AD-B26A-9FBDFD80A595}"/>
              </a:ext>
            </a:extLst>
          </p:cNvPr>
          <p:cNvSpPr txBox="1">
            <a:spLocks noChangeArrowheads="1"/>
          </p:cNvSpPr>
          <p:nvPr/>
        </p:nvSpPr>
        <p:spPr>
          <a:xfrm>
            <a:off x="1329590" y="2236945"/>
            <a:ext cx="8429324" cy="45191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24282" rtl="0" eaLnBrk="1" latinLnBrk="0" hangingPunct="1">
              <a:lnSpc>
                <a:spcPct val="90000"/>
              </a:lnSpc>
              <a:spcBef>
                <a:spcPts val="408"/>
              </a:spcBef>
              <a:buNone/>
              <a:tabLst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32345" rtl="0" eaLnBrk="1" fontAlgn="auto" latinLnBrk="0" hangingPunct="1">
              <a:lnSpc>
                <a:spcPct val="90000"/>
              </a:lnSpc>
              <a:spcBef>
                <a:spcPts val="54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 Hvor enig eller uenig er du i påstanden?</a:t>
            </a:r>
          </a:p>
          <a:p>
            <a:pPr marL="0" marR="0" lvl="0" indent="0" algn="l" defTabSz="1232345" rtl="0" eaLnBrk="1" fontAlgn="auto" latinLnBrk="0" hangingPunct="1">
              <a:lnSpc>
                <a:spcPct val="90000"/>
              </a:lnSpc>
              <a:spcBef>
                <a:spcPts val="54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2 Det offentlige bør dekke alle utgifter for én fritidsaktivitet per barn under 18 år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38C3036B-8BA9-4750-8C8F-608941026F2E}"/>
              </a:ext>
            </a:extLst>
          </p:cNvPr>
          <p:cNvSpPr/>
          <p:nvPr/>
        </p:nvSpPr>
        <p:spPr>
          <a:xfrm>
            <a:off x="9030944" y="3187300"/>
            <a:ext cx="2538826" cy="1138773"/>
          </a:xfrm>
          <a:prstGeom prst="rect">
            <a:avLst/>
          </a:prstGeom>
          <a:solidFill>
            <a:srgbClr val="E2E2E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 fleste av diss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r  «delvis enig»                               i påstand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688DA07E-497A-4C5E-A45E-AD96F772FA8D}"/>
              </a:ext>
            </a:extLst>
          </p:cNvPr>
          <p:cNvSpPr txBox="1"/>
          <p:nvPr/>
        </p:nvSpPr>
        <p:spPr>
          <a:xfrm>
            <a:off x="9687746" y="1365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32903097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5288CFCD-6271-4DB8-B479-AC0D81A9E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318" y="297642"/>
            <a:ext cx="11754359" cy="424732"/>
          </a:xfrm>
        </p:spPr>
        <p:txBody>
          <a:bodyPr/>
          <a:lstStyle/>
          <a:p>
            <a:r>
              <a:rPr lang="nb-NO" sz="2400" dirty="0"/>
              <a:t>Økende nivå for fysisk aktivitet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4BADFABF-96BA-44A5-AFF9-4219609A314A}"/>
              </a:ext>
            </a:extLst>
          </p:cNvPr>
          <p:cNvSpPr/>
          <p:nvPr/>
        </p:nvSpPr>
        <p:spPr>
          <a:xfrm>
            <a:off x="199689" y="917058"/>
            <a:ext cx="89620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vor ofte vil du si at du driver fysisk aktivitet i form av trening eller mosjon?</a:t>
            </a:r>
            <a:endParaRPr kumimoji="0" lang="nb-NO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7" name="Content Placeholder 3">
            <a:extLst>
              <a:ext uri="{FF2B5EF4-FFF2-40B4-BE49-F238E27FC236}">
                <a16:creationId xmlns:a16="http://schemas.microsoft.com/office/drawing/2014/main" id="{239B194D-B811-4B34-9CE6-C7FB297C5D7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99645" y="1420979"/>
          <a:ext cx="11676623" cy="5089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00FCA51E-3537-40CA-823B-753847E56761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057849934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>
            <a:extLst>
              <a:ext uri="{FF2B5EF4-FFF2-40B4-BE49-F238E27FC236}">
                <a16:creationId xmlns:a16="http://schemas.microsoft.com/office/drawing/2014/main" id="{FDC29FCB-4732-4D89-AF17-231DC7C8F460}"/>
              </a:ext>
            </a:extLst>
          </p:cNvPr>
          <p:cNvSpPr txBox="1"/>
          <p:nvPr/>
        </p:nvSpPr>
        <p:spPr>
          <a:xfrm>
            <a:off x="1193366" y="487593"/>
            <a:ext cx="10998634" cy="1007700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3 av 4 mener at det burde finnes flere konkurransefrie idrettsaktiviteter for barn</a:t>
            </a:r>
            <a:endParaRPr kumimoji="0" lang="nb-NO" sz="2667" b="0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8D5992E-59F0-4685-ACCE-0BFD6F723507}"/>
              </a:ext>
            </a:extLst>
          </p:cNvPr>
          <p:cNvGraphicFramePr/>
          <p:nvPr/>
        </p:nvGraphicFramePr>
        <p:xfrm>
          <a:off x="2519481" y="2573572"/>
          <a:ext cx="5757712" cy="3698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2">
            <a:extLst>
              <a:ext uri="{FF2B5EF4-FFF2-40B4-BE49-F238E27FC236}">
                <a16:creationId xmlns:a16="http://schemas.microsoft.com/office/drawing/2014/main" id="{90778F78-F09B-47AD-B26A-9FBDFD80A595}"/>
              </a:ext>
            </a:extLst>
          </p:cNvPr>
          <p:cNvSpPr txBox="1">
            <a:spLocks noChangeArrowheads="1"/>
          </p:cNvSpPr>
          <p:nvPr/>
        </p:nvSpPr>
        <p:spPr>
          <a:xfrm>
            <a:off x="1329590" y="2121653"/>
            <a:ext cx="8429324" cy="45191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24282" rtl="0" eaLnBrk="1" latinLnBrk="0" hangingPunct="1">
              <a:lnSpc>
                <a:spcPct val="90000"/>
              </a:lnSpc>
              <a:spcBef>
                <a:spcPts val="408"/>
              </a:spcBef>
              <a:buNone/>
              <a:tabLst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32345" rtl="0" eaLnBrk="1" fontAlgn="auto" latinLnBrk="0" hangingPunct="1">
              <a:lnSpc>
                <a:spcPct val="90000"/>
              </a:lnSpc>
              <a:spcBef>
                <a:spcPts val="54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Hvor enig eller uenig er du i påstanden?</a:t>
            </a:r>
          </a:p>
          <a:p>
            <a:pPr marL="0" marR="0" lvl="0" indent="0" algn="l" defTabSz="1232345" rtl="0" eaLnBrk="1" fontAlgn="auto" latinLnBrk="0" hangingPunct="1">
              <a:lnSpc>
                <a:spcPct val="90000"/>
              </a:lnSpc>
              <a:spcBef>
                <a:spcPts val="54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Det burde finnes flere konkurransefrie idrettsaktiviteter for barn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D4DC9011-D98D-4D47-A357-F1F00A0922ED}"/>
              </a:ext>
            </a:extLst>
          </p:cNvPr>
          <p:cNvSpPr/>
          <p:nvPr/>
        </p:nvSpPr>
        <p:spPr>
          <a:xfrm>
            <a:off x="9030944" y="3187300"/>
            <a:ext cx="2303806" cy="1138773"/>
          </a:xfrm>
          <a:prstGeom prst="rect">
            <a:avLst/>
          </a:prstGeom>
          <a:solidFill>
            <a:srgbClr val="E2E2E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nenhver kvinne er «helt enig» i denne påstand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A9E7CC70-BF5C-4DEF-9346-D747A691D829}"/>
              </a:ext>
            </a:extLst>
          </p:cNvPr>
          <p:cNvSpPr txBox="1"/>
          <p:nvPr/>
        </p:nvSpPr>
        <p:spPr>
          <a:xfrm>
            <a:off x="9687746" y="11452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1386699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>
            <a:extLst>
              <a:ext uri="{FF2B5EF4-FFF2-40B4-BE49-F238E27FC236}">
                <a16:creationId xmlns:a16="http://schemas.microsoft.com/office/drawing/2014/main" id="{FDC29FCB-4732-4D89-AF17-231DC7C8F460}"/>
              </a:ext>
            </a:extLst>
          </p:cNvPr>
          <p:cNvSpPr txBox="1"/>
          <p:nvPr/>
        </p:nvSpPr>
        <p:spPr>
          <a:xfrm>
            <a:off x="700391" y="523988"/>
            <a:ext cx="11283062" cy="964483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2667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t er en forbeholden enighet i befolkningen om at barn skal få tillatelse til å spesialisere tidlig innenfor en idrett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8D5992E-59F0-4685-ACCE-0BFD6F723507}"/>
              </a:ext>
            </a:extLst>
          </p:cNvPr>
          <p:cNvGraphicFramePr/>
          <p:nvPr/>
        </p:nvGraphicFramePr>
        <p:xfrm>
          <a:off x="2704306" y="2635707"/>
          <a:ext cx="5757712" cy="3698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2">
            <a:extLst>
              <a:ext uri="{FF2B5EF4-FFF2-40B4-BE49-F238E27FC236}">
                <a16:creationId xmlns:a16="http://schemas.microsoft.com/office/drawing/2014/main" id="{90778F78-F09B-47AD-B26A-9FBDFD80A595}"/>
              </a:ext>
            </a:extLst>
          </p:cNvPr>
          <p:cNvSpPr txBox="1">
            <a:spLocks noChangeArrowheads="1"/>
          </p:cNvSpPr>
          <p:nvPr/>
        </p:nvSpPr>
        <p:spPr>
          <a:xfrm>
            <a:off x="1058370" y="1989889"/>
            <a:ext cx="8429324" cy="64581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24282" rtl="0" eaLnBrk="1" latinLnBrk="0" hangingPunct="1">
              <a:lnSpc>
                <a:spcPct val="90000"/>
              </a:lnSpc>
              <a:spcBef>
                <a:spcPts val="408"/>
              </a:spcBef>
              <a:buNone/>
              <a:tabLst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32345" rtl="0" eaLnBrk="1" fontAlgn="auto" latinLnBrk="0" hangingPunct="1">
              <a:lnSpc>
                <a:spcPct val="90000"/>
              </a:lnSpc>
              <a:spcBef>
                <a:spcPts val="54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Hvor enig eller uenig er du i påstanden?</a:t>
            </a:r>
          </a:p>
          <a:p>
            <a:pPr marL="0" marR="0" lvl="0" indent="0" algn="l" defTabSz="1232345" rtl="0" eaLnBrk="1" fontAlgn="auto" latinLnBrk="0" hangingPunct="1">
              <a:lnSpc>
                <a:spcPct val="90000"/>
              </a:lnSpc>
              <a:spcBef>
                <a:spcPts val="54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Barn må tillates å spesialisere seg tidlig innenfor en idrett for å ha mulighet for å bli en toppidrettsutøver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B2E7C7E-2BD6-4EF6-8086-1E36130D0212}"/>
              </a:ext>
            </a:extLst>
          </p:cNvPr>
          <p:cNvSpPr/>
          <p:nvPr/>
        </p:nvSpPr>
        <p:spPr>
          <a:xfrm>
            <a:off x="9030944" y="3187300"/>
            <a:ext cx="2538826" cy="1138773"/>
          </a:xfrm>
          <a:prstGeom prst="rect">
            <a:avLst/>
          </a:prstGeom>
          <a:solidFill>
            <a:srgbClr val="E2E2E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57% erklærer seg enige, men de fleste kun «delvis»  og mange er også ueni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6307E6DF-1D24-407D-8EC8-D93F7D3C27BF}"/>
              </a:ext>
            </a:extLst>
          </p:cNvPr>
          <p:cNvSpPr txBox="1"/>
          <p:nvPr/>
        </p:nvSpPr>
        <p:spPr>
          <a:xfrm>
            <a:off x="9687746" y="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46003482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BB0EF0A5-AC51-4C2E-958D-7C432CA80E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2698" y="492658"/>
            <a:ext cx="8791469" cy="5872701"/>
          </a:xfrm>
          <a:prstGeom prst="rect">
            <a:avLst/>
          </a:prstGeom>
        </p:spPr>
      </p:pic>
      <p:pic>
        <p:nvPicPr>
          <p:cNvPr id="3" name="Picture 10">
            <a:extLst>
              <a:ext uri="{FF2B5EF4-FFF2-40B4-BE49-F238E27FC236}">
                <a16:creationId xmlns:a16="http://schemas.microsoft.com/office/drawing/2014/main" id="{9F40B983-0B9A-418F-B5B3-4DCFA5D05F3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833" y="5042767"/>
            <a:ext cx="1665767" cy="1341642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DA6643D6-7801-4824-9327-0EC7065BE3BA}"/>
              </a:ext>
            </a:extLst>
          </p:cNvPr>
          <p:cNvSpPr txBox="1"/>
          <p:nvPr/>
        </p:nvSpPr>
        <p:spPr>
          <a:xfrm>
            <a:off x="9219913" y="492641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54799824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6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0">
            <a:extLst>
              <a:ext uri="{FF2B5EF4-FFF2-40B4-BE49-F238E27FC236}">
                <a16:creationId xmlns:a16="http://schemas.microsoft.com/office/drawing/2014/main" id="{39E3A223-9A7C-44E1-8C6C-0588C9DF03E7}"/>
              </a:ext>
            </a:extLst>
          </p:cNvPr>
          <p:cNvSpPr/>
          <p:nvPr/>
        </p:nvSpPr>
        <p:spPr bwMode="gray">
          <a:xfrm>
            <a:off x="234401" y="2867384"/>
            <a:ext cx="11957599" cy="38635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68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505592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36264288-387C-4526-9196-1D6964A9AF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08878" y="1423345"/>
            <a:ext cx="3443983" cy="2213309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E4AE4EB2-505F-48AC-BAD3-8D0787FA06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49950" y="663481"/>
            <a:ext cx="1761838" cy="774436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17175A57-9D70-475B-BFC8-B1DA80EC6E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56276" y="3578786"/>
            <a:ext cx="1755512" cy="785616"/>
          </a:xfrm>
          <a:prstGeom prst="rect">
            <a:avLst/>
          </a:prstGeom>
        </p:spPr>
      </p:pic>
      <p:pic>
        <p:nvPicPr>
          <p:cNvPr id="11" name="Graphique 12">
            <a:extLst>
              <a:ext uri="{FF2B5EF4-FFF2-40B4-BE49-F238E27FC236}">
                <a16:creationId xmlns:a16="http://schemas.microsoft.com/office/drawing/2014/main" id="{24FF4283-7049-425D-B807-7E60470C383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28894" y="5300975"/>
            <a:ext cx="863743" cy="79116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28E252F-24C2-4363-939A-1F661DC487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3153" y="4685473"/>
            <a:ext cx="10130570" cy="767913"/>
          </a:xfrm>
        </p:spPr>
        <p:txBody>
          <a:bodyPr/>
          <a:lstStyle/>
          <a:p>
            <a:r>
              <a:rPr lang="nb-NO" sz="5600" dirty="0"/>
              <a:t>verdier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EE5F1FEB-A5F3-4D33-A887-731ADC3A30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92666" y="5414603"/>
            <a:ext cx="10265833" cy="2323713"/>
          </a:xfrm>
        </p:spPr>
        <p:txBody>
          <a:bodyPr/>
          <a:lstStyle/>
          <a:p>
            <a:r>
              <a:rPr lang="nb-NO" sz="2000" dirty="0">
                <a:solidFill>
                  <a:srgbClr val="FFFFFF"/>
                </a:solidFill>
                <a:latin typeface="Equinor Beta"/>
              </a:rPr>
              <a:t>Grunnleggende og dypt forankrede oppfatninger av hva som er rett og galt </a:t>
            </a:r>
          </a:p>
          <a:p>
            <a:r>
              <a:rPr lang="nb-NO" sz="2000" dirty="0">
                <a:solidFill>
                  <a:srgbClr val="FFFFFF"/>
                </a:solidFill>
                <a:latin typeface="Equinor Beta"/>
              </a:rPr>
              <a:t>Altså våre personlige overbevisninger om riktige mål og aksepterte midler for å nå målene.</a:t>
            </a:r>
          </a:p>
          <a:p>
            <a:endParaRPr lang="nb-NO" sz="2000" dirty="0">
              <a:solidFill>
                <a:srgbClr val="FFFFFF"/>
              </a:solidFill>
              <a:latin typeface="Equinor Beta"/>
            </a:endParaRPr>
          </a:p>
          <a:p>
            <a:endParaRPr lang="nb-NO" sz="2000" spc="3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28567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22F71821-89AB-4C66-9F2D-2F50F5F7571F}"/>
              </a:ext>
            </a:extLst>
          </p:cNvPr>
          <p:cNvSpPr/>
          <p:nvPr/>
        </p:nvSpPr>
        <p:spPr>
          <a:xfrm>
            <a:off x="0" y="1214437"/>
            <a:ext cx="12192000" cy="5400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F91BCD99-2B23-4844-8904-CDA20E9D54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110" y="1395479"/>
            <a:ext cx="3003089" cy="4797504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DB9F1FA9-8666-4C43-9878-4AE3B28ABB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20988" y="1394159"/>
            <a:ext cx="3077469" cy="3895648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C0961BDD-25B9-4B66-B0DB-458DF32C04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30360" y="1397735"/>
            <a:ext cx="2947305" cy="4230359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A7E9BD3-151C-41CC-B7B9-780318CAF4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76924" y="1396540"/>
            <a:ext cx="3241973" cy="4118437"/>
          </a:xfrm>
          <a:prstGeom prst="rect">
            <a:avLst/>
          </a:prstGeom>
        </p:spPr>
      </p:pic>
      <p:sp>
        <p:nvSpPr>
          <p:cNvPr id="16" name="TekstSylinder 15">
            <a:extLst>
              <a:ext uri="{FF2B5EF4-FFF2-40B4-BE49-F238E27FC236}">
                <a16:creationId xmlns:a16="http://schemas.microsoft.com/office/drawing/2014/main" id="{7ED8C89E-960D-4F3D-8F7C-39AF605C505B}"/>
              </a:ext>
            </a:extLst>
          </p:cNvPr>
          <p:cNvSpPr txBox="1"/>
          <p:nvPr/>
        </p:nvSpPr>
        <p:spPr>
          <a:xfrm>
            <a:off x="2826771" y="362396"/>
            <a:ext cx="651479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 utdypende sett med verdier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71DE9F99-0608-4C8A-93D2-6A867D05D4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13749" y="5539040"/>
            <a:ext cx="3144987" cy="476251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B96367CE-FE7D-4308-85BD-FE1C4FCAFC08}"/>
              </a:ext>
            </a:extLst>
          </p:cNvPr>
          <p:cNvSpPr txBox="1"/>
          <p:nvPr/>
        </p:nvSpPr>
        <p:spPr>
          <a:xfrm>
            <a:off x="8867273" y="5690938"/>
            <a:ext cx="182133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ndet er bedre enn i byen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3CD74685-08D2-4431-9BA0-489F18F9498A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9699912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03A2FA92-78AD-46D2-AF50-3B85A425BF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6533" y="828290"/>
            <a:ext cx="8518934" cy="5201420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261498F6-68B9-4D8B-84ED-898C731F7CE3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819165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1035B3C7-EB75-4F82-9E5B-F44759CAFA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4160" y="914402"/>
            <a:ext cx="7313181" cy="5316225"/>
          </a:xfrm>
          <a:prstGeom prst="rect">
            <a:avLst/>
          </a:prstGeom>
        </p:spPr>
      </p:pic>
      <p:sp>
        <p:nvSpPr>
          <p:cNvPr id="15" name="Rektangel 14">
            <a:extLst>
              <a:ext uri="{FF2B5EF4-FFF2-40B4-BE49-F238E27FC236}">
                <a16:creationId xmlns:a16="http://schemas.microsoft.com/office/drawing/2014/main" id="{37CBD2CB-75BF-49CC-8A44-B1A8A2AE74D1}"/>
              </a:ext>
            </a:extLst>
          </p:cNvPr>
          <p:cNvSpPr/>
          <p:nvPr/>
        </p:nvSpPr>
        <p:spPr bwMode="gray">
          <a:xfrm>
            <a:off x="1540043" y="3791491"/>
            <a:ext cx="1219200" cy="3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888B8D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BB41DD33-7DB8-4EFB-AD62-A6396C27F627}"/>
              </a:ext>
            </a:extLst>
          </p:cNvPr>
          <p:cNvSpPr/>
          <p:nvPr/>
        </p:nvSpPr>
        <p:spPr bwMode="gray">
          <a:xfrm>
            <a:off x="5336675" y="6330837"/>
            <a:ext cx="1219200" cy="3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888B8D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Rectangle 17">
            <a:extLst>
              <a:ext uri="{FF2B5EF4-FFF2-40B4-BE49-F238E27FC236}">
                <a16:creationId xmlns:a16="http://schemas.microsoft.com/office/drawing/2014/main" id="{98A0F73E-2EE4-455A-98B8-FB90223BD7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4908" y="1930665"/>
            <a:ext cx="1561697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1015975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Normløs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66D3BFE9-E931-4C71-B5AD-4B28BC261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1847" y="5223590"/>
            <a:ext cx="1936252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1015975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Overlevelse</a:t>
            </a:r>
          </a:p>
        </p:txBody>
      </p:sp>
      <p:sp>
        <p:nvSpPr>
          <p:cNvPr id="29" name="Rectangle 19">
            <a:extLst>
              <a:ext uri="{FF2B5EF4-FFF2-40B4-BE49-F238E27FC236}">
                <a16:creationId xmlns:a16="http://schemas.microsoft.com/office/drawing/2014/main" id="{27472F13-D79A-4C65-803A-ED19998816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585" y="3564283"/>
            <a:ext cx="2232857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015975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MATERIALISTISK</a:t>
            </a:r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A47D40F7-76B3-4905-BF6E-B95FD322F5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929" y="3577935"/>
            <a:ext cx="1798571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015975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IDEALISTISK </a:t>
            </a:r>
          </a:p>
        </p:txBody>
      </p:sp>
      <p:cxnSp>
        <p:nvCxnSpPr>
          <p:cNvPr id="31" name="Rett pilkobling 30">
            <a:extLst>
              <a:ext uri="{FF2B5EF4-FFF2-40B4-BE49-F238E27FC236}">
                <a16:creationId xmlns:a16="http://schemas.microsoft.com/office/drawing/2014/main" id="{02F8F401-5D5C-4087-AAF6-0A6BBAB61D9A}"/>
              </a:ext>
            </a:extLst>
          </p:cNvPr>
          <p:cNvCxnSpPr>
            <a:cxnSpLocks/>
          </p:cNvCxnSpPr>
          <p:nvPr/>
        </p:nvCxnSpPr>
        <p:spPr>
          <a:xfrm>
            <a:off x="3107269" y="2290651"/>
            <a:ext cx="5546951" cy="2964095"/>
          </a:xfrm>
          <a:prstGeom prst="straightConnector1">
            <a:avLst/>
          </a:prstGeom>
          <a:ln w="63500">
            <a:solidFill>
              <a:schemeClr val="bg1">
                <a:lumMod val="85000"/>
                <a:alpha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kobling 31">
            <a:extLst>
              <a:ext uri="{FF2B5EF4-FFF2-40B4-BE49-F238E27FC236}">
                <a16:creationId xmlns:a16="http://schemas.microsoft.com/office/drawing/2014/main" id="{FE621CD1-64BD-406C-A8C0-012D17CDBBC4}"/>
              </a:ext>
            </a:extLst>
          </p:cNvPr>
          <p:cNvCxnSpPr>
            <a:cxnSpLocks/>
          </p:cNvCxnSpPr>
          <p:nvPr/>
        </p:nvCxnSpPr>
        <p:spPr>
          <a:xfrm flipH="1">
            <a:off x="2980451" y="2234900"/>
            <a:ext cx="5627767" cy="3086515"/>
          </a:xfrm>
          <a:prstGeom prst="straightConnector1">
            <a:avLst/>
          </a:prstGeom>
          <a:ln w="60325">
            <a:solidFill>
              <a:schemeClr val="bg1">
                <a:lumMod val="85000"/>
                <a:alpha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pilkobling 32">
            <a:extLst>
              <a:ext uri="{FF2B5EF4-FFF2-40B4-BE49-F238E27FC236}">
                <a16:creationId xmlns:a16="http://schemas.microsoft.com/office/drawing/2014/main" id="{188BA043-5D95-49E3-A056-46AC084DF4F5}"/>
              </a:ext>
            </a:extLst>
          </p:cNvPr>
          <p:cNvCxnSpPr>
            <a:cxnSpLocks/>
          </p:cNvCxnSpPr>
          <p:nvPr/>
        </p:nvCxnSpPr>
        <p:spPr>
          <a:xfrm>
            <a:off x="2138344" y="3731024"/>
            <a:ext cx="7795265" cy="15331"/>
          </a:xfrm>
          <a:prstGeom prst="straightConnector1">
            <a:avLst/>
          </a:prstGeom>
          <a:ln w="127000">
            <a:solidFill>
              <a:schemeClr val="bg1">
                <a:lumMod val="85000"/>
                <a:alpha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tt pilkobling 33">
            <a:extLst>
              <a:ext uri="{FF2B5EF4-FFF2-40B4-BE49-F238E27FC236}">
                <a16:creationId xmlns:a16="http://schemas.microsoft.com/office/drawing/2014/main" id="{B1708923-C612-4B64-83A7-459C9C0D18CA}"/>
              </a:ext>
            </a:extLst>
          </p:cNvPr>
          <p:cNvCxnSpPr>
            <a:cxnSpLocks/>
          </p:cNvCxnSpPr>
          <p:nvPr/>
        </p:nvCxnSpPr>
        <p:spPr>
          <a:xfrm>
            <a:off x="5889875" y="1252392"/>
            <a:ext cx="18504" cy="4978235"/>
          </a:xfrm>
          <a:prstGeom prst="straightConnector1">
            <a:avLst/>
          </a:prstGeom>
          <a:ln w="127000">
            <a:solidFill>
              <a:schemeClr val="bg1">
                <a:lumMod val="85000"/>
                <a:alpha val="49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17">
            <a:extLst>
              <a:ext uri="{FF2B5EF4-FFF2-40B4-BE49-F238E27FC236}">
                <a16:creationId xmlns:a16="http://schemas.microsoft.com/office/drawing/2014/main" id="{0E934E18-9CFA-416B-B110-D519F02DFA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65068" y="705174"/>
            <a:ext cx="4015613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1015975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MODERNE</a:t>
            </a:r>
            <a:endParaRPr kumimoji="0" lang="nb-NO" altLang="nb-NO" sz="1600" b="1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Helvetica" pitchFamily="34" charset="0"/>
              <a:ea typeface="MS PGothic" pitchFamily="34" charset="-128"/>
              <a:cs typeface="Arial Unicode MS" pitchFamily="34" charset="-128"/>
            </a:endParaRP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39C42ECD-7EEF-4C9A-A009-750C723C32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56870" y="1930665"/>
            <a:ext cx="2236809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1015975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Utvikling</a:t>
            </a:r>
          </a:p>
        </p:txBody>
      </p:sp>
      <p:sp>
        <p:nvSpPr>
          <p:cNvPr id="37" name="Rectangle 18">
            <a:extLst>
              <a:ext uri="{FF2B5EF4-FFF2-40B4-BE49-F238E27FC236}">
                <a16:creationId xmlns:a16="http://schemas.microsoft.com/office/drawing/2014/main" id="{A53DC640-AC32-4656-971F-905A513D9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4739" y="6229177"/>
            <a:ext cx="3860791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1015975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TRADISJONELL</a:t>
            </a:r>
          </a:p>
        </p:txBody>
      </p:sp>
      <p:sp>
        <p:nvSpPr>
          <p:cNvPr id="38" name="Rectangle 18">
            <a:extLst>
              <a:ext uri="{FF2B5EF4-FFF2-40B4-BE49-F238E27FC236}">
                <a16:creationId xmlns:a16="http://schemas.microsoft.com/office/drawing/2014/main" id="{FE1A310E-9FA6-4266-AA4E-6F570F81CE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93654" y="5223590"/>
            <a:ext cx="2363199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1015975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Normfast</a:t>
            </a:r>
          </a:p>
        </p:txBody>
      </p:sp>
      <p:sp>
        <p:nvSpPr>
          <p:cNvPr id="39" name="Rektangel 38">
            <a:extLst>
              <a:ext uri="{FF2B5EF4-FFF2-40B4-BE49-F238E27FC236}">
                <a16:creationId xmlns:a16="http://schemas.microsoft.com/office/drawing/2014/main" id="{FA825BBA-A237-4941-88AD-5EEAB2150B2B}"/>
              </a:ext>
            </a:extLst>
          </p:cNvPr>
          <p:cNvSpPr/>
          <p:nvPr/>
        </p:nvSpPr>
        <p:spPr>
          <a:xfrm>
            <a:off x="585593" y="342519"/>
            <a:ext cx="100363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rdmenns verdier fordeler seg naturlig langs flere dimensjoner 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18DC035C-965E-4E4E-8538-9F6A15FBE05A}"/>
              </a:ext>
            </a:extLst>
          </p:cNvPr>
          <p:cNvSpPr txBox="1"/>
          <p:nvPr/>
        </p:nvSpPr>
        <p:spPr>
          <a:xfrm>
            <a:off x="4619494" y="5599090"/>
            <a:ext cx="1003392" cy="268523"/>
          </a:xfrm>
          <a:prstGeom prst="rect">
            <a:avLst/>
          </a:prstGeom>
          <a:noFill/>
        </p:spPr>
        <p:txBody>
          <a:bodyPr wrap="non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888B8D"/>
              </a:buClr>
              <a:buSzTx/>
              <a:buFontTx/>
              <a:buNone/>
              <a:tabLst/>
              <a:defRPr/>
            </a:pPr>
            <a:r>
              <a:rPr kumimoji="0" lang="nb-NO" sz="10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kalorientert</a:t>
            </a: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EB7A53AC-4432-4F28-A5F6-12E977CE2400}"/>
              </a:ext>
            </a:extLst>
          </p:cNvPr>
          <p:cNvSpPr txBox="1"/>
          <p:nvPr/>
        </p:nvSpPr>
        <p:spPr>
          <a:xfrm>
            <a:off x="5723876" y="1876951"/>
            <a:ext cx="1073924" cy="268523"/>
          </a:xfrm>
          <a:prstGeom prst="rect">
            <a:avLst/>
          </a:prstGeom>
          <a:noFill/>
        </p:spPr>
        <p:txBody>
          <a:bodyPr wrap="non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888B8D"/>
              </a:buClr>
              <a:buSzTx/>
              <a:buFontTx/>
              <a:buNone/>
              <a:tabLst/>
              <a:defRPr/>
            </a:pPr>
            <a:r>
              <a:rPr kumimoji="0" lang="nb-NO" sz="10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lobalorienter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EB5B4DD-92BB-4565-BF19-2BF1163E9AE5}"/>
              </a:ext>
            </a:extLst>
          </p:cNvPr>
          <p:cNvSpPr txBox="1">
            <a:spLocks/>
          </p:cNvSpPr>
          <p:nvPr/>
        </p:nvSpPr>
        <p:spPr bwMode="gray">
          <a:xfrm>
            <a:off x="291884" y="6223972"/>
            <a:ext cx="1362913" cy="34990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6000" tIns="0" rIns="96000" bIns="0" rtlCol="0" anchor="ctr">
            <a:spAutoFit/>
          </a:bodyPr>
          <a:lstStyle>
            <a:lvl1pPr marL="213637" indent="-213637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Tx/>
              <a:buNone/>
              <a:defRPr lang="en-US" sz="1632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81292" indent="-223574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Geomanist Light" pitchFamily="50" charset="0"/>
              <a:buChar char="–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4296" indent="-178859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Geomanist Light" pitchFamily="50" charset="0"/>
              <a:buChar char="–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014" indent="-178859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Geomanist Light" pitchFamily="50" charset="0"/>
              <a:buChar char="–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731" indent="-178859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Geomanist Light" pitchFamily="50" charset="0"/>
              <a:buChar char="–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7450" indent="-178859" algn="l" defTabSz="7154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25168" indent="-178859" algn="l" defTabSz="7154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886" indent="-178859" algn="l" defTabSz="7154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0604" indent="-178859" algn="l" defTabSz="7154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4842" marR="0" lvl="0" indent="-284842" algn="l" defTabSz="953891" rtl="0" eaLnBrk="1" fontAlgn="auto" latinLnBrk="0" hangingPunct="1">
              <a:lnSpc>
                <a:spcPct val="110000"/>
              </a:lnSpc>
              <a:spcBef>
                <a:spcPts val="272"/>
              </a:spcBef>
              <a:spcAft>
                <a:spcPts val="272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nb-NO" sz="2176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1 verdier</a:t>
            </a:r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E5317778-C168-44EF-9A9B-62A39E0ACC95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67529086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  <p:bldP spid="29" grpId="0"/>
      <p:bldP spid="30" grpId="0"/>
      <p:bldP spid="35" grpId="0"/>
      <p:bldP spid="36" grpId="0"/>
      <p:bldP spid="37" grpId="0"/>
      <p:bldP spid="3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ktangel 18">
            <a:extLst>
              <a:ext uri="{FF2B5EF4-FFF2-40B4-BE49-F238E27FC236}">
                <a16:creationId xmlns:a16="http://schemas.microsoft.com/office/drawing/2014/main" id="{60D2E370-6F21-46A4-B51D-04DDD0A7CEB6}"/>
              </a:ext>
            </a:extLst>
          </p:cNvPr>
          <p:cNvSpPr/>
          <p:nvPr/>
        </p:nvSpPr>
        <p:spPr bwMode="gray">
          <a:xfrm>
            <a:off x="2083929" y="1864496"/>
            <a:ext cx="3657299" cy="1610117"/>
          </a:xfrm>
          <a:prstGeom prst="rect">
            <a:avLst/>
          </a:prstGeom>
          <a:noFill/>
          <a:ln w="349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2F469C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152" name="Rett pil 4"/>
          <p:cNvCxnSpPr>
            <a:cxnSpLocks noChangeShapeType="1"/>
          </p:cNvCxnSpPr>
          <p:nvPr/>
        </p:nvCxnSpPr>
        <p:spPr bwMode="auto">
          <a:xfrm flipH="1">
            <a:off x="2575558" y="3381893"/>
            <a:ext cx="33867" cy="26988"/>
          </a:xfrm>
          <a:prstGeom prst="straightConnector1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 type="arrow" w="med" len="med"/>
                <a:tailEnd type="arrow" w="med" len="med"/>
              </a14:hiddenLine>
            </a:ext>
          </a:extLst>
        </p:spPr>
      </p:cxnSp>
      <p:sp>
        <p:nvSpPr>
          <p:cNvPr id="54287" name="Text Box 15"/>
          <p:cNvSpPr txBox="1">
            <a:spLocks noChangeArrowheads="1"/>
          </p:cNvSpPr>
          <p:nvPr/>
        </p:nvSpPr>
        <p:spPr bwMode="auto">
          <a:xfrm>
            <a:off x="6582517" y="1503648"/>
            <a:ext cx="4026723" cy="4885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lIns="120000" tIns="120000" rIns="120000" bIns="120000">
            <a:spAutoFit/>
          </a:bodyPr>
          <a:lstStyle/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Utviklingsorienterte moderne idealister</a:t>
            </a:r>
          </a:p>
        </p:txBody>
      </p:sp>
      <p:sp>
        <p:nvSpPr>
          <p:cNvPr id="54288" name="Text Box 16"/>
          <p:cNvSpPr txBox="1">
            <a:spLocks noChangeArrowheads="1"/>
          </p:cNvSpPr>
          <p:nvPr/>
        </p:nvSpPr>
        <p:spPr bwMode="auto">
          <a:xfrm>
            <a:off x="1858911" y="3410044"/>
            <a:ext cx="4177848" cy="4885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lIns="120000" tIns="120000" rIns="120000" bIns="120000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Folkelige tradisjonelle materialister</a:t>
            </a:r>
          </a:p>
        </p:txBody>
      </p:sp>
      <p:sp>
        <p:nvSpPr>
          <p:cNvPr id="54294" name="Text Box 22"/>
          <p:cNvSpPr txBox="1">
            <a:spLocks noChangeArrowheads="1"/>
          </p:cNvSpPr>
          <p:nvPr/>
        </p:nvSpPr>
        <p:spPr bwMode="auto">
          <a:xfrm>
            <a:off x="2145795" y="1503647"/>
            <a:ext cx="3657299" cy="4885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lIns="120000" tIns="120000" rIns="120000" bIns="120000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Normløse moderne materialister</a:t>
            </a:r>
          </a:p>
        </p:txBody>
      </p:sp>
      <p:sp>
        <p:nvSpPr>
          <p:cNvPr id="54296" name="Text Box 24"/>
          <p:cNvSpPr txBox="1">
            <a:spLocks noChangeArrowheads="1"/>
          </p:cNvSpPr>
          <p:nvPr/>
        </p:nvSpPr>
        <p:spPr bwMode="auto">
          <a:xfrm>
            <a:off x="6200289" y="3420078"/>
            <a:ext cx="4106824" cy="4885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 lIns="120000" tIns="120000" rIns="120000" bIns="120000">
            <a:spAutoFit/>
          </a:bodyPr>
          <a:lstStyle/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Normfaste tradisjonelle idealister</a:t>
            </a:r>
          </a:p>
        </p:txBody>
      </p:sp>
      <p:sp>
        <p:nvSpPr>
          <p:cNvPr id="5" name="Rektangel 4"/>
          <p:cNvSpPr/>
          <p:nvPr/>
        </p:nvSpPr>
        <p:spPr>
          <a:xfrm>
            <a:off x="2068208" y="1914174"/>
            <a:ext cx="3253279" cy="1528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Lovforakt, nyhet, urban, status, </a:t>
            </a: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risiko,</a:t>
            </a:r>
            <a:r>
              <a:rPr kumimoji="0" lang="nb-NO" altLang="nb-NO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anti helse, 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hedonisme,                    teknologi</a:t>
            </a:r>
          </a:p>
        </p:txBody>
      </p:sp>
      <p:sp>
        <p:nvSpPr>
          <p:cNvPr id="47" name="Tittel 1"/>
          <p:cNvSpPr txBox="1">
            <a:spLocks/>
          </p:cNvSpPr>
          <p:nvPr/>
        </p:nvSpPr>
        <p:spPr>
          <a:xfrm>
            <a:off x="601815" y="733256"/>
            <a:ext cx="10850060" cy="468497"/>
          </a:xfrm>
          <a:prstGeom prst="rect">
            <a:avLst/>
          </a:prstGeom>
          <a:noFill/>
        </p:spPr>
        <p:txBody>
          <a:bodyPr/>
          <a:lstStyle>
            <a:lvl1pPr algn="l" defTabSz="924282" rtl="0" eaLnBrk="1" latinLnBrk="0" hangingPunct="1">
              <a:lnSpc>
                <a:spcPct val="90000"/>
              </a:lnSpc>
              <a:spcBef>
                <a:spcPts val="408"/>
              </a:spcBef>
              <a:buNone/>
              <a:tabLst/>
              <a:defRPr sz="33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24282" rtl="0" eaLnBrk="1" fontAlgn="auto" latinLnBrk="0" hangingPunct="1">
              <a:lnSpc>
                <a:spcPct val="90000"/>
              </a:lnSpc>
              <a:spcBef>
                <a:spcPts val="40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altLang="nb-NO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j-ea"/>
              <a:cs typeface="+mj-cs"/>
            </a:endParaRPr>
          </a:p>
          <a:p>
            <a:pPr marL="0" marR="0" lvl="0" indent="0" algn="ctr" defTabSz="924282" rtl="0" eaLnBrk="1" fontAlgn="auto" latinLnBrk="0" hangingPunct="1">
              <a:lnSpc>
                <a:spcPct val="90000"/>
              </a:lnSpc>
              <a:spcBef>
                <a:spcPts val="40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altLang="nb-NO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j-ea"/>
              <a:cs typeface="+mj-cs"/>
            </a:endParaRPr>
          </a:p>
        </p:txBody>
      </p:sp>
      <p:sp>
        <p:nvSpPr>
          <p:cNvPr id="39" name="Rektangel 4"/>
          <p:cNvSpPr/>
          <p:nvPr/>
        </p:nvSpPr>
        <p:spPr>
          <a:xfrm>
            <a:off x="6317226" y="1967016"/>
            <a:ext cx="3685372" cy="1528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348483" algn="l"/>
              </a:tabLst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Individualitet</a:t>
            </a:r>
            <a:r>
              <a:rPr kumimoji="0" lang="nb-NO" altLang="nb-NO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, likestilling</a:t>
            </a:r>
          </a:p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348483" algn="l"/>
              </a:tabLst>
              <a:defRPr/>
            </a:pPr>
            <a:r>
              <a:rPr kumimoji="0" lang="nb-NO" altLang="nb-NO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               </a:t>
            </a: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anti autoritet, </a:t>
            </a:r>
            <a:r>
              <a:rPr kumimoji="0" lang="nb-NO" altLang="nb-NO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toleranse, </a:t>
            </a: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følelser</a:t>
            </a:r>
            <a:r>
              <a:rPr kumimoji="0" lang="nb-NO" altLang="nb-NO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,               </a:t>
            </a:r>
          </a:p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348483" algn="l"/>
              </a:tabLst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                           selvrealisering</a:t>
            </a:r>
            <a:r>
              <a:rPr kumimoji="0" lang="nb-NO" altLang="nb-NO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,</a:t>
            </a:r>
          </a:p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348483" algn="l"/>
              </a:tabLst>
              <a:defRPr/>
            </a:pPr>
            <a:r>
              <a:rPr kumimoji="0" lang="nb-NO" altLang="nb-NO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                         </a:t>
            </a: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miljøvern</a:t>
            </a:r>
            <a:r>
              <a:rPr kumimoji="0" lang="nb-NO" altLang="nb-NO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, helse</a:t>
            </a:r>
            <a:endParaRPr kumimoji="0" lang="nb-NO" altLang="nb-NO" sz="213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2" name="Rektangel 4"/>
          <p:cNvSpPr/>
          <p:nvPr/>
        </p:nvSpPr>
        <p:spPr>
          <a:xfrm>
            <a:off x="2101703" y="4092797"/>
            <a:ext cx="3720067" cy="12416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Egoisme,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konformitet, 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intoleranse                                         autoritet, </a:t>
            </a:r>
            <a:r>
              <a:rPr kumimoji="0" lang="nb-NO" altLang="nb-NO" sz="17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atriotisme, industrivekst</a:t>
            </a:r>
          </a:p>
        </p:txBody>
      </p:sp>
      <p:sp>
        <p:nvSpPr>
          <p:cNvPr id="44" name="Rektangel 4"/>
          <p:cNvSpPr/>
          <p:nvPr/>
        </p:nvSpPr>
        <p:spPr>
          <a:xfrm>
            <a:off x="5994213" y="4114772"/>
            <a:ext cx="3405849" cy="12416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                           Lovrespekt,                   </a:t>
            </a:r>
          </a:p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                           religion, </a:t>
            </a:r>
          </a:p>
          <a:p>
            <a:pPr marL="0" marR="0" lvl="0" indent="0" algn="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                           rural,   </a:t>
            </a: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nøysomhet, tradisjon, helse</a:t>
            </a:r>
          </a:p>
        </p:txBody>
      </p:sp>
      <p:sp>
        <p:nvSpPr>
          <p:cNvPr id="43" name="Rektangel 42">
            <a:extLst>
              <a:ext uri="{FF2B5EF4-FFF2-40B4-BE49-F238E27FC236}">
                <a16:creationId xmlns:a16="http://schemas.microsoft.com/office/drawing/2014/main" id="{2C053E4F-9990-4ED4-B05B-F60982229A3B}"/>
              </a:ext>
            </a:extLst>
          </p:cNvPr>
          <p:cNvSpPr/>
          <p:nvPr/>
        </p:nvSpPr>
        <p:spPr bwMode="gray">
          <a:xfrm>
            <a:off x="6204306" y="1908503"/>
            <a:ext cx="3798292" cy="1610117"/>
          </a:xfrm>
          <a:prstGeom prst="rect">
            <a:avLst/>
          </a:prstGeom>
          <a:noFill/>
          <a:ln w="349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2F469C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ktangel 44">
            <a:extLst>
              <a:ext uri="{FF2B5EF4-FFF2-40B4-BE49-F238E27FC236}">
                <a16:creationId xmlns:a16="http://schemas.microsoft.com/office/drawing/2014/main" id="{5D9F6B2C-3BB6-40EA-8282-27202090C181}"/>
              </a:ext>
            </a:extLst>
          </p:cNvPr>
          <p:cNvSpPr/>
          <p:nvPr/>
        </p:nvSpPr>
        <p:spPr bwMode="gray">
          <a:xfrm>
            <a:off x="2101703" y="3808184"/>
            <a:ext cx="3657299" cy="1610117"/>
          </a:xfrm>
          <a:prstGeom prst="rect">
            <a:avLst/>
          </a:prstGeom>
          <a:noFill/>
          <a:ln w="349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2F469C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Rektangel 45">
            <a:extLst>
              <a:ext uri="{FF2B5EF4-FFF2-40B4-BE49-F238E27FC236}">
                <a16:creationId xmlns:a16="http://schemas.microsoft.com/office/drawing/2014/main" id="{8C1A2054-EDD8-4A1E-B150-0527157DF236}"/>
              </a:ext>
            </a:extLst>
          </p:cNvPr>
          <p:cNvSpPr/>
          <p:nvPr/>
        </p:nvSpPr>
        <p:spPr bwMode="gray">
          <a:xfrm>
            <a:off x="6164959" y="3825855"/>
            <a:ext cx="3837640" cy="1610117"/>
          </a:xfrm>
          <a:prstGeom prst="rect">
            <a:avLst/>
          </a:prstGeom>
          <a:noFill/>
          <a:ln w="349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2F469C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DA74069-E4C1-44B9-9739-A5EDB2FD216F}"/>
              </a:ext>
            </a:extLst>
          </p:cNvPr>
          <p:cNvSpPr txBox="1">
            <a:spLocks/>
          </p:cNvSpPr>
          <p:nvPr/>
        </p:nvSpPr>
        <p:spPr>
          <a:xfrm>
            <a:off x="1575266" y="402797"/>
            <a:ext cx="8662705" cy="918524"/>
          </a:xfrm>
          <a:prstGeom prst="rect">
            <a:avLst/>
          </a:prstGeom>
        </p:spPr>
        <p:txBody>
          <a:bodyPr/>
          <a:lstStyle>
            <a:lvl1pPr marL="213637" indent="-213637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1292" indent="-223574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Geomanist Light" pitchFamily="50" charset="0"/>
              <a:buChar char="–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4296" indent="-178859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Geomanist Light" pitchFamily="50" charset="0"/>
              <a:buChar char="–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014" indent="-178859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Geomanist Light" pitchFamily="50" charset="0"/>
              <a:buChar char="–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731" indent="-178859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Geomanist Light" pitchFamily="50" charset="0"/>
              <a:buChar char="–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7450" indent="-178859" algn="l" defTabSz="7154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25168" indent="-178859" algn="l" defTabSz="7154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886" indent="-178859" algn="l" defTabSz="7154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0604" indent="-178859" algn="l" defTabSz="7154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15436" rtl="0" eaLnBrk="1" fontAlgn="auto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prstClr val="black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nb-NO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LIKE GRUNNLEGGENDE VERDIER I FIRE SOSIOGRAFISKE SEGMENTER LEDER VIDERE TIL ULIKE HOLDNINGER OG ULIK ADFERD</a:t>
            </a:r>
          </a:p>
        </p:txBody>
      </p:sp>
      <p:pic>
        <p:nvPicPr>
          <p:cNvPr id="25" name="Bilde 31" descr="Et bilde som inneholder person, innendørs, bord, spise&#10;&#10;Automatisk generert beskrivelse">
            <a:extLst>
              <a:ext uri="{FF2B5EF4-FFF2-40B4-BE49-F238E27FC236}">
                <a16:creationId xmlns:a16="http://schemas.microsoft.com/office/drawing/2014/main" id="{385F99FC-BB02-4139-BA9F-AE08B1CF68F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83601" y="2259745"/>
            <a:ext cx="1648285" cy="1214868"/>
          </a:xfrm>
          <a:prstGeom prst="rect">
            <a:avLst/>
          </a:prstGeom>
        </p:spPr>
      </p:pic>
      <p:pic>
        <p:nvPicPr>
          <p:cNvPr id="27" name="Bilde 7" descr="Et bilde som inneholder bygning, person, utendørs, kvinne&#10;&#10;Automatisk generert beskrivelse">
            <a:extLst>
              <a:ext uri="{FF2B5EF4-FFF2-40B4-BE49-F238E27FC236}">
                <a16:creationId xmlns:a16="http://schemas.microsoft.com/office/drawing/2014/main" id="{0179DE79-7A87-4D14-BF74-5DEDE21B21C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07"/>
          <a:stretch/>
        </p:blipFill>
        <p:spPr>
          <a:xfrm>
            <a:off x="6227724" y="2333080"/>
            <a:ext cx="1573883" cy="1194375"/>
          </a:xfrm>
          <a:prstGeom prst="rect">
            <a:avLst/>
          </a:prstGeom>
        </p:spPr>
      </p:pic>
      <p:pic>
        <p:nvPicPr>
          <p:cNvPr id="30" name="Bilde 10" descr="Et bilde som inneholder person, innendørs, bord, mann&#10;&#10;Automatisk generert beskrivelse">
            <a:extLst>
              <a:ext uri="{FF2B5EF4-FFF2-40B4-BE49-F238E27FC236}">
                <a16:creationId xmlns:a16="http://schemas.microsoft.com/office/drawing/2014/main" id="{3C15F39C-21C7-42D7-9FF5-F008474D93D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4959" y="3844806"/>
            <a:ext cx="1588455" cy="1162730"/>
          </a:xfrm>
          <a:prstGeom prst="rect">
            <a:avLst/>
          </a:prstGeom>
        </p:spPr>
      </p:pic>
      <p:pic>
        <p:nvPicPr>
          <p:cNvPr id="36" name="Bilde 4" descr="Et bilde som inneholder person, innendørs, bord, barn&#10;&#10;Automatisk generert beskrivelse">
            <a:extLst>
              <a:ext uri="{FF2B5EF4-FFF2-40B4-BE49-F238E27FC236}">
                <a16:creationId xmlns:a16="http://schemas.microsoft.com/office/drawing/2014/main" id="{DD873C4E-08C2-4E45-A513-75FBFBD70FD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4074599" y="3825855"/>
            <a:ext cx="1672285" cy="1162812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D405413A-114F-4E34-A65D-75A978B411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5115" y="1817689"/>
            <a:ext cx="5346655" cy="1700931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9BED9765-52FE-485F-A1BF-AD07EB04D9A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50171" y="1817689"/>
            <a:ext cx="5358848" cy="1700931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A16A733D-3B81-446F-957A-6C8EE8940F1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2023" y="3771398"/>
            <a:ext cx="5346655" cy="1707028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050176D8-9A90-4BEE-AD18-505FF5309CF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30072" y="3799667"/>
            <a:ext cx="5346655" cy="1707028"/>
          </a:xfrm>
          <a:prstGeom prst="rect">
            <a:avLst/>
          </a:prstGeom>
        </p:spPr>
      </p:pic>
      <p:sp>
        <p:nvSpPr>
          <p:cNvPr id="28" name="TekstSylinder 27">
            <a:extLst>
              <a:ext uri="{FF2B5EF4-FFF2-40B4-BE49-F238E27FC236}">
                <a16:creationId xmlns:a16="http://schemas.microsoft.com/office/drawing/2014/main" id="{A2EC811C-2F04-4FEF-9BF8-7E08054E5A32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50033067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54287" grpId="0"/>
      <p:bldP spid="54288" grpId="0"/>
      <p:bldP spid="54294" grpId="0"/>
      <p:bldP spid="54296" grpId="0"/>
      <p:bldP spid="5" grpId="0"/>
      <p:bldP spid="39" grpId="0"/>
      <p:bldP spid="42" grpId="0"/>
      <p:bldP spid="44" grpId="0"/>
      <p:bldP spid="43" grpId="0" animBg="1"/>
      <p:bldP spid="45" grpId="0" animBg="1"/>
      <p:bldP spid="4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: avrundede hjørner 8">
            <a:extLst>
              <a:ext uri="{FF2B5EF4-FFF2-40B4-BE49-F238E27FC236}">
                <a16:creationId xmlns:a16="http://schemas.microsoft.com/office/drawing/2014/main" id="{E723DD1A-E0CD-428B-9AC8-A196ACCEBF2F}"/>
              </a:ext>
            </a:extLst>
          </p:cNvPr>
          <p:cNvSpPr/>
          <p:nvPr/>
        </p:nvSpPr>
        <p:spPr>
          <a:xfrm>
            <a:off x="1035483" y="1311211"/>
            <a:ext cx="3449884" cy="134704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 yngste, </a:t>
            </a:r>
          </a:p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lest menn </a:t>
            </a:r>
          </a:p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BD54DC88-04A5-49C9-AC28-98292B74D4CF}"/>
              </a:ext>
            </a:extLst>
          </p:cNvPr>
          <p:cNvSpPr txBox="1">
            <a:spLocks/>
          </p:cNvSpPr>
          <p:nvPr/>
        </p:nvSpPr>
        <p:spPr>
          <a:xfrm>
            <a:off x="1035484" y="584403"/>
            <a:ext cx="9268401" cy="59021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900" b="0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mografiske kjennetegn for hvert av verdisegmentene </a:t>
            </a:r>
          </a:p>
        </p:txBody>
      </p:sp>
      <p:sp>
        <p:nvSpPr>
          <p:cNvPr id="10" name="Rektangel: avrundede hjørner 9">
            <a:extLst>
              <a:ext uri="{FF2B5EF4-FFF2-40B4-BE49-F238E27FC236}">
                <a16:creationId xmlns:a16="http://schemas.microsoft.com/office/drawing/2014/main" id="{6FEF7F9B-10EB-4424-A135-3B5D6371CB17}"/>
              </a:ext>
            </a:extLst>
          </p:cNvPr>
          <p:cNvSpPr/>
          <p:nvPr/>
        </p:nvSpPr>
        <p:spPr>
          <a:xfrm>
            <a:off x="7066843" y="5010001"/>
            <a:ext cx="3449884" cy="134704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 eldste, Vestlandet flest kvinner </a:t>
            </a:r>
          </a:p>
        </p:txBody>
      </p:sp>
      <p:sp>
        <p:nvSpPr>
          <p:cNvPr id="11" name="Rektangel: avrundede hjørner 10">
            <a:extLst>
              <a:ext uri="{FF2B5EF4-FFF2-40B4-BE49-F238E27FC236}">
                <a16:creationId xmlns:a16="http://schemas.microsoft.com/office/drawing/2014/main" id="{369033C3-3C39-4D11-AAE7-2FF24A3829FB}"/>
              </a:ext>
            </a:extLst>
          </p:cNvPr>
          <p:cNvSpPr/>
          <p:nvPr/>
        </p:nvSpPr>
        <p:spPr>
          <a:xfrm>
            <a:off x="7066843" y="1311211"/>
            <a:ext cx="3449884" cy="134704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orby, velutdannet,  flest kvinner</a:t>
            </a:r>
          </a:p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ktangel: avrundede hjørner 11">
            <a:extLst>
              <a:ext uri="{FF2B5EF4-FFF2-40B4-BE49-F238E27FC236}">
                <a16:creationId xmlns:a16="http://schemas.microsoft.com/office/drawing/2014/main" id="{8B0BDF28-1242-4ECA-905F-0BEC4A0BFC13}"/>
              </a:ext>
            </a:extLst>
          </p:cNvPr>
          <p:cNvSpPr/>
          <p:nvPr/>
        </p:nvSpPr>
        <p:spPr>
          <a:xfrm>
            <a:off x="1035483" y="5010001"/>
            <a:ext cx="3449884" cy="134704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grenset inntekt og utdannelse, flest menn</a:t>
            </a:r>
          </a:p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2B524E5-5F12-4312-9B53-CD94653BBB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4652" y="2528193"/>
            <a:ext cx="7440461" cy="2928287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9E62203C-40E7-41FE-B56F-57DA98CC32D2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5528730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: avrundede hjørner 8">
            <a:extLst>
              <a:ext uri="{FF2B5EF4-FFF2-40B4-BE49-F238E27FC236}">
                <a16:creationId xmlns:a16="http://schemas.microsoft.com/office/drawing/2014/main" id="{E723DD1A-E0CD-428B-9AC8-A196ACCEBF2F}"/>
              </a:ext>
            </a:extLst>
          </p:cNvPr>
          <p:cNvSpPr/>
          <p:nvPr/>
        </p:nvSpPr>
        <p:spPr>
          <a:xfrm>
            <a:off x="1035483" y="1311211"/>
            <a:ext cx="3449884" cy="134704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derne normløse materialister</a:t>
            </a:r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BD54DC88-04A5-49C9-AC28-98292B74D4CF}"/>
              </a:ext>
            </a:extLst>
          </p:cNvPr>
          <p:cNvSpPr txBox="1">
            <a:spLocks/>
          </p:cNvSpPr>
          <p:nvPr/>
        </p:nvSpPr>
        <p:spPr>
          <a:xfrm>
            <a:off x="1849309" y="500951"/>
            <a:ext cx="9268401" cy="59021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900" b="0" kern="1200" cap="all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240" indent="0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6802" indent="-186802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11" indent="-191121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06834" indent="-176004" algn="l" defTabSz="92428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85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1775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0391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66056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8198" indent="-231070" algn="l" defTabSz="9242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888B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ferd relatert til mosjon og idrett</a:t>
            </a:r>
          </a:p>
        </p:txBody>
      </p:sp>
      <p:sp>
        <p:nvSpPr>
          <p:cNvPr id="10" name="Rektangel: avrundede hjørner 9">
            <a:extLst>
              <a:ext uri="{FF2B5EF4-FFF2-40B4-BE49-F238E27FC236}">
                <a16:creationId xmlns:a16="http://schemas.microsoft.com/office/drawing/2014/main" id="{6FEF7F9B-10EB-4424-A135-3B5D6371CB17}"/>
              </a:ext>
            </a:extLst>
          </p:cNvPr>
          <p:cNvSpPr/>
          <p:nvPr/>
        </p:nvSpPr>
        <p:spPr>
          <a:xfrm>
            <a:off x="7066843" y="5010001"/>
            <a:ext cx="3449884" cy="134704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disjonelle normfaste </a:t>
            </a:r>
            <a:r>
              <a:rPr lang="nb-NO" sz="2400" dirty="0">
                <a:solidFill>
                  <a:prstClr val="white"/>
                </a:solidFill>
                <a:latin typeface="Calibri"/>
              </a:rPr>
              <a:t>idealister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ktangel: avrundede hjørner 10">
            <a:extLst>
              <a:ext uri="{FF2B5EF4-FFF2-40B4-BE49-F238E27FC236}">
                <a16:creationId xmlns:a16="http://schemas.microsoft.com/office/drawing/2014/main" id="{369033C3-3C39-4D11-AAE7-2FF24A3829FB}"/>
              </a:ext>
            </a:extLst>
          </p:cNvPr>
          <p:cNvSpPr/>
          <p:nvPr/>
        </p:nvSpPr>
        <p:spPr>
          <a:xfrm>
            <a:off x="7066843" y="1311211"/>
            <a:ext cx="3449884" cy="134704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derne utviklingsorienterte idealister</a:t>
            </a:r>
          </a:p>
        </p:txBody>
      </p:sp>
      <p:sp>
        <p:nvSpPr>
          <p:cNvPr id="12" name="Rektangel: avrundede hjørner 11">
            <a:extLst>
              <a:ext uri="{FF2B5EF4-FFF2-40B4-BE49-F238E27FC236}">
                <a16:creationId xmlns:a16="http://schemas.microsoft.com/office/drawing/2014/main" id="{8B0BDF28-1242-4ECA-905F-0BEC4A0BFC13}"/>
              </a:ext>
            </a:extLst>
          </p:cNvPr>
          <p:cNvSpPr/>
          <p:nvPr/>
        </p:nvSpPr>
        <p:spPr>
          <a:xfrm>
            <a:off x="1035483" y="5010001"/>
            <a:ext cx="3449884" cy="134704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disjonelle folkelige materialister</a:t>
            </a:r>
          </a:p>
        </p:txBody>
      </p:sp>
      <p:pic>
        <p:nvPicPr>
          <p:cNvPr id="8" name="Bilde 31" descr="Et bilde som inneholder person, innendørs, bord, spise&#10;&#10;Automatisk generert beskrivelse">
            <a:extLst>
              <a:ext uri="{FF2B5EF4-FFF2-40B4-BE49-F238E27FC236}">
                <a16:creationId xmlns:a16="http://schemas.microsoft.com/office/drawing/2014/main" id="{ADA837AD-30AE-4C4E-996E-F4D69C81EA6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46833" y="3112315"/>
            <a:ext cx="1122851" cy="756580"/>
          </a:xfrm>
          <a:prstGeom prst="rect">
            <a:avLst/>
          </a:prstGeom>
        </p:spPr>
      </p:pic>
      <p:pic>
        <p:nvPicPr>
          <p:cNvPr id="13" name="Bilde 7" descr="Et bilde som inneholder bygning, person, utendørs, kvinne&#10;&#10;Automatisk generert beskrivelse">
            <a:extLst>
              <a:ext uri="{FF2B5EF4-FFF2-40B4-BE49-F238E27FC236}">
                <a16:creationId xmlns:a16="http://schemas.microsoft.com/office/drawing/2014/main" id="{9430F89F-2554-4D4F-A56B-913577BD16A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07"/>
          <a:stretch/>
        </p:blipFill>
        <p:spPr>
          <a:xfrm>
            <a:off x="5922085" y="3093440"/>
            <a:ext cx="1122851" cy="756580"/>
          </a:xfrm>
          <a:prstGeom prst="rect">
            <a:avLst/>
          </a:prstGeom>
        </p:spPr>
      </p:pic>
      <p:pic>
        <p:nvPicPr>
          <p:cNvPr id="14" name="Bilde 4" descr="Et bilde som inneholder person, innendørs, bord, barn&#10;&#10;Automatisk generert beskrivelse">
            <a:extLst>
              <a:ext uri="{FF2B5EF4-FFF2-40B4-BE49-F238E27FC236}">
                <a16:creationId xmlns:a16="http://schemas.microsoft.com/office/drawing/2014/main" id="{0D449457-53C9-44CA-8076-662C2837A7C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4546833" y="4109432"/>
            <a:ext cx="1122851" cy="756579"/>
          </a:xfrm>
          <a:prstGeom prst="rect">
            <a:avLst/>
          </a:prstGeom>
        </p:spPr>
      </p:pic>
      <p:pic>
        <p:nvPicPr>
          <p:cNvPr id="15" name="Bilde 10" descr="Et bilde som inneholder person, innendørs, bord, mann&#10;&#10;Automatisk generert beskrivelse">
            <a:extLst>
              <a:ext uri="{FF2B5EF4-FFF2-40B4-BE49-F238E27FC236}">
                <a16:creationId xmlns:a16="http://schemas.microsoft.com/office/drawing/2014/main" id="{DE15F6AC-1127-4390-9B66-11496B24183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4883" y="4109433"/>
            <a:ext cx="1103560" cy="756580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CCCE6398-EC1A-4B6B-800B-A34B6D6E75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90282" y="2446201"/>
            <a:ext cx="4800600" cy="1533525"/>
          </a:xfrm>
          <a:prstGeom prst="rect">
            <a:avLst/>
          </a:prstGeom>
        </p:spPr>
      </p:pic>
      <p:pic>
        <p:nvPicPr>
          <p:cNvPr id="4" name="Bilde 3">
            <a:extLst>
              <a:ext uri="{FF2B5EF4-FFF2-40B4-BE49-F238E27FC236}">
                <a16:creationId xmlns:a16="http://schemas.microsoft.com/office/drawing/2014/main" id="{51957265-6B9B-4F79-9272-3033144538F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4255" y="2417538"/>
            <a:ext cx="4810125" cy="1571625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F1172F4A-FA70-4CEA-B612-201A5E57EC1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9812" y="3968975"/>
            <a:ext cx="4743450" cy="1533525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E08713FE-AA38-46B4-9669-A7962E1C419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90282" y="3968975"/>
            <a:ext cx="4724400" cy="1514475"/>
          </a:xfrm>
          <a:prstGeom prst="rect">
            <a:avLst/>
          </a:prstGeom>
        </p:spPr>
      </p:pic>
      <p:sp>
        <p:nvSpPr>
          <p:cNvPr id="16" name="TekstSylinder 15">
            <a:extLst>
              <a:ext uri="{FF2B5EF4-FFF2-40B4-BE49-F238E27FC236}">
                <a16:creationId xmlns:a16="http://schemas.microsoft.com/office/drawing/2014/main" id="{DA756699-AF52-4622-8F0D-B4480E5B17A2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499954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6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36264288-387C-4526-9196-1D6964A9AF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08878" y="1423345"/>
            <a:ext cx="3443983" cy="2213309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E4AE4EB2-505F-48AC-BAD3-8D0787FA06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49950" y="663481"/>
            <a:ext cx="1761838" cy="774436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17175A57-9D70-475B-BFC8-B1DA80EC6E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56276" y="3607361"/>
            <a:ext cx="1755512" cy="785616"/>
          </a:xfrm>
          <a:prstGeom prst="rect">
            <a:avLst/>
          </a:prstGeom>
        </p:spPr>
      </p:pic>
      <p:pic>
        <p:nvPicPr>
          <p:cNvPr id="11" name="Graphique 12">
            <a:extLst>
              <a:ext uri="{FF2B5EF4-FFF2-40B4-BE49-F238E27FC236}">
                <a16:creationId xmlns:a16="http://schemas.microsoft.com/office/drawing/2014/main" id="{24FF4283-7049-425D-B807-7E60470C383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2" name="Subtitle 1">
            <a:extLst>
              <a:ext uri="{FF2B5EF4-FFF2-40B4-BE49-F238E27FC236}">
                <a16:creationId xmlns:a16="http://schemas.microsoft.com/office/drawing/2014/main" id="{EE5F1FEB-A5F3-4D33-A887-731ADC3A30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81448" y="2721114"/>
            <a:ext cx="6450617" cy="707886"/>
          </a:xfrm>
        </p:spPr>
        <p:txBody>
          <a:bodyPr/>
          <a:lstStyle/>
          <a:p>
            <a:r>
              <a:rPr lang="nb-NO" sz="4000" dirty="0"/>
              <a:t>NORSK MONITOR</a:t>
            </a:r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24108A06-FCB7-4933-AB0F-A41C48B3B99A}"/>
              </a:ext>
            </a:extLst>
          </p:cNvPr>
          <p:cNvSpPr txBox="1"/>
          <p:nvPr/>
        </p:nvSpPr>
        <p:spPr>
          <a:xfrm>
            <a:off x="835523" y="3473937"/>
            <a:ext cx="654965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800" b="1" kern="0" dirty="0">
                <a:solidFill>
                  <a:schemeClr val="bg1"/>
                </a:solidFill>
              </a:rPr>
              <a:t>Ipsos’ verktøy for å beskrive og forklare samfunnsendringer og hvordan verdiene våre påvirker holdninger og adferd</a:t>
            </a:r>
          </a:p>
        </p:txBody>
      </p:sp>
    </p:spTree>
    <p:extLst>
      <p:ext uri="{BB962C8B-B14F-4D97-AF65-F5344CB8AC3E}">
        <p14:creationId xmlns:p14="http://schemas.microsoft.com/office/powerpoint/2010/main" val="9402546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de 7" descr="Et bilde som inneholder bygning, person, utendørs, kvinne&#10;&#10;Automatisk generert beskrivelse">
            <a:extLst>
              <a:ext uri="{FF2B5EF4-FFF2-40B4-BE49-F238E27FC236}">
                <a16:creationId xmlns:a16="http://schemas.microsoft.com/office/drawing/2014/main" id="{F9314E87-E102-44F8-AC1F-A97A067E38C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07"/>
          <a:stretch/>
        </p:blipFill>
        <p:spPr>
          <a:xfrm>
            <a:off x="8954864" y="2039175"/>
            <a:ext cx="1573883" cy="1194375"/>
          </a:xfrm>
          <a:prstGeom prst="rect">
            <a:avLst/>
          </a:prstGeom>
        </p:spPr>
      </p:pic>
      <p:pic>
        <p:nvPicPr>
          <p:cNvPr id="25" name="Bilde 10" descr="Et bilde som inneholder person, innendørs, bord, mann&#10;&#10;Automatisk generert beskrivelse">
            <a:extLst>
              <a:ext uri="{FF2B5EF4-FFF2-40B4-BE49-F238E27FC236}">
                <a16:creationId xmlns:a16="http://schemas.microsoft.com/office/drawing/2014/main" id="{CD855232-AC32-45EF-A9F0-BDCFDE5F54C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02747" y="4615748"/>
            <a:ext cx="1588455" cy="1162730"/>
          </a:xfrm>
          <a:prstGeom prst="rect">
            <a:avLst/>
          </a:prstGeom>
        </p:spPr>
      </p:pic>
      <p:pic>
        <p:nvPicPr>
          <p:cNvPr id="30" name="Bilde 31" descr="Et bilde som inneholder person, innendørs, bord, spise&#10;&#10;Automatisk generert beskrivelse">
            <a:extLst>
              <a:ext uri="{FF2B5EF4-FFF2-40B4-BE49-F238E27FC236}">
                <a16:creationId xmlns:a16="http://schemas.microsoft.com/office/drawing/2014/main" id="{E35FC214-D87C-4EA7-B2D4-3383F5AE595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8197" y="2049140"/>
            <a:ext cx="1648285" cy="1214868"/>
          </a:xfrm>
          <a:prstGeom prst="rect">
            <a:avLst/>
          </a:prstGeom>
        </p:spPr>
      </p:pic>
      <p:pic>
        <p:nvPicPr>
          <p:cNvPr id="31" name="Bilde 4" descr="Et bilde som inneholder person, innendørs, bord, barn&#10;&#10;Automatisk generert beskrivelse">
            <a:extLst>
              <a:ext uri="{FF2B5EF4-FFF2-40B4-BE49-F238E27FC236}">
                <a16:creationId xmlns:a16="http://schemas.microsoft.com/office/drawing/2014/main" id="{05EBD231-50A3-44B0-90D8-D4D4191B8F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863115" y="4615666"/>
            <a:ext cx="1672285" cy="1162812"/>
          </a:xfrm>
          <a:prstGeom prst="rect">
            <a:avLst/>
          </a:prstGeom>
        </p:spPr>
      </p:pic>
      <p:sp>
        <p:nvSpPr>
          <p:cNvPr id="16" name="Rectangle 7">
            <a:extLst>
              <a:ext uri="{FF2B5EF4-FFF2-40B4-BE49-F238E27FC236}">
                <a16:creationId xmlns:a16="http://schemas.microsoft.com/office/drawing/2014/main" id="{F3D48537-7A93-485F-A7AD-90A8200FF165}"/>
              </a:ext>
            </a:extLst>
          </p:cNvPr>
          <p:cNvSpPr/>
          <p:nvPr/>
        </p:nvSpPr>
        <p:spPr>
          <a:xfrm rot="-1860000">
            <a:off x="4119074" y="3747758"/>
            <a:ext cx="3302468" cy="349095"/>
          </a:xfrm>
          <a:prstGeom prst="rect">
            <a:avLst/>
          </a:prstGeom>
          <a:solidFill>
            <a:sysClr val="window" lastClr="FFFFFF">
              <a:lumMod val="85000"/>
              <a:alpha val="6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243796" rIns="121897" rtlCol="0" anchor="ctr"/>
          <a:lstStyle/>
          <a:p>
            <a:pPr defTabSz="1218875">
              <a:defRPr/>
            </a:pPr>
            <a:endParaRPr lang="en-US" sz="1400" kern="0" cap="all" dirty="0">
              <a:solidFill>
                <a:prstClr val="black"/>
              </a:solidFill>
              <a:latin typeface="Century Gothic"/>
              <a:cs typeface="Century Gothic"/>
            </a:endParaRPr>
          </a:p>
        </p:txBody>
      </p:sp>
      <p:sp>
        <p:nvSpPr>
          <p:cNvPr id="17" name="Rectangle 7">
            <a:extLst>
              <a:ext uri="{FF2B5EF4-FFF2-40B4-BE49-F238E27FC236}">
                <a16:creationId xmlns:a16="http://schemas.microsoft.com/office/drawing/2014/main" id="{C09A4286-6A1F-44B5-9B0B-CD5D69120A6C}"/>
              </a:ext>
            </a:extLst>
          </p:cNvPr>
          <p:cNvSpPr/>
          <p:nvPr/>
        </p:nvSpPr>
        <p:spPr>
          <a:xfrm rot="1860000">
            <a:off x="4179004" y="3811078"/>
            <a:ext cx="3247297" cy="349095"/>
          </a:xfrm>
          <a:prstGeom prst="rect">
            <a:avLst/>
          </a:prstGeom>
          <a:solidFill>
            <a:sysClr val="window" lastClr="FFFFFF">
              <a:lumMod val="85000"/>
              <a:alpha val="6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243796" rIns="121897" rtlCol="0" anchor="ctr"/>
          <a:lstStyle/>
          <a:p>
            <a:pPr defTabSz="1218875">
              <a:defRPr/>
            </a:pPr>
            <a:endParaRPr lang="en-US" sz="1400" kern="0" cap="all" dirty="0">
              <a:solidFill>
                <a:prstClr val="black"/>
              </a:solidFill>
              <a:latin typeface="Century Gothic"/>
              <a:cs typeface="Century Gothic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501623" y="3743593"/>
            <a:ext cx="4661856" cy="349095"/>
          </a:xfrm>
          <a:prstGeom prst="rect">
            <a:avLst/>
          </a:prstGeom>
          <a:solidFill>
            <a:sysClr val="window" lastClr="FFFFFF">
              <a:lumMod val="85000"/>
              <a:alpha val="6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243796" rIns="121897" rtlCol="0" anchor="ctr"/>
          <a:lstStyle/>
          <a:p>
            <a:pPr defTabSz="1218875">
              <a:defRPr/>
            </a:pPr>
            <a:endParaRPr lang="en-US" sz="1400" kern="0" cap="all" dirty="0">
              <a:solidFill>
                <a:prstClr val="black"/>
              </a:solidFill>
              <a:latin typeface="Century Gothic"/>
              <a:cs typeface="Century Gothic"/>
            </a:endParaRPr>
          </a:p>
        </p:txBody>
      </p:sp>
      <p:sp>
        <p:nvSpPr>
          <p:cNvPr id="9" name="Rectangle 8"/>
          <p:cNvSpPr/>
          <p:nvPr/>
        </p:nvSpPr>
        <p:spPr>
          <a:xfrm rot="5400000">
            <a:off x="3848654" y="3785919"/>
            <a:ext cx="3855673" cy="349095"/>
          </a:xfrm>
          <a:prstGeom prst="rect">
            <a:avLst/>
          </a:prstGeom>
          <a:solidFill>
            <a:sysClr val="window" lastClr="FFFFFF">
              <a:lumMod val="85000"/>
              <a:alpha val="60000"/>
            </a:sysClr>
          </a:solidFill>
          <a:ln w="9525" cap="flat" cmpd="sng" algn="ctr">
            <a:noFill/>
            <a:prstDash val="solid"/>
          </a:ln>
          <a:effectLst/>
        </p:spPr>
        <p:txBody>
          <a:bodyPr rIns="243796" rtlCol="0" anchor="ctr"/>
          <a:lstStyle/>
          <a:p>
            <a:pPr algn="r" defTabSz="1218875">
              <a:defRPr/>
            </a:pPr>
            <a:endParaRPr lang="en-US" sz="1400" kern="0" cap="all" dirty="0">
              <a:solidFill>
                <a:prstClr val="black"/>
              </a:solidFill>
              <a:latin typeface="Century Gothic"/>
              <a:cs typeface="Century Gothic"/>
            </a:endParaRPr>
          </a:p>
        </p:txBody>
      </p:sp>
      <p:sp>
        <p:nvSpPr>
          <p:cNvPr id="14" name="Rectangle 13"/>
          <p:cNvSpPr>
            <a:spLocks/>
          </p:cNvSpPr>
          <p:nvPr/>
        </p:nvSpPr>
        <p:spPr>
          <a:xfrm>
            <a:off x="2457289" y="2032629"/>
            <a:ext cx="3144655" cy="1704823"/>
          </a:xfrm>
          <a:prstGeom prst="rect">
            <a:avLst/>
          </a:prstGeom>
          <a:solidFill>
            <a:srgbClr val="00B0F0"/>
          </a:solidFill>
          <a:ln w="57150" cap="flat" cmpd="sng" algn="ctr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218875">
              <a:defRPr/>
            </a:pPr>
            <a:r>
              <a:rPr lang="en-US" sz="1067" b="1" kern="0" dirty="0">
                <a:ln w="76200">
                  <a:noFill/>
                </a:ln>
                <a:solidFill>
                  <a:prstClr val="white"/>
                </a:solidFill>
                <a:latin typeface="Segoe UI"/>
                <a:cs typeface="Century Gothic"/>
              </a:rPr>
              <a:t> </a:t>
            </a:r>
          </a:p>
          <a:p>
            <a:pPr algn="ctr" defTabSz="1218875">
              <a:defRPr/>
            </a:pPr>
            <a:br>
              <a:rPr lang="en-US" sz="933" b="1" kern="0" dirty="0">
                <a:ln w="76200">
                  <a:noFill/>
                </a:ln>
                <a:solidFill>
                  <a:prstClr val="white"/>
                </a:solidFill>
                <a:latin typeface="Segoe UI"/>
                <a:cs typeface="Century Gothic"/>
              </a:rPr>
            </a:br>
            <a:r>
              <a:rPr lang="nb-NO" sz="1867" b="1" i="1" kern="0" cap="all" dirty="0">
                <a:solidFill>
                  <a:prstClr val="white"/>
                </a:solidFill>
                <a:latin typeface="Segoe UI"/>
                <a:cs typeface="Century Gothic"/>
              </a:rPr>
              <a:t>«</a:t>
            </a:r>
            <a:r>
              <a:rPr lang="nb-NO" sz="1867" b="1" i="1" kern="0" dirty="0">
                <a:solidFill>
                  <a:prstClr val="white"/>
                </a:solidFill>
                <a:latin typeface="Segoe UI"/>
                <a:cs typeface="Century Gothic"/>
              </a:rPr>
              <a:t>Har du lyst har du lov»</a:t>
            </a:r>
          </a:p>
          <a:p>
            <a:pPr algn="ctr" defTabSz="1218875">
              <a:defRPr/>
            </a:pPr>
            <a:endParaRPr lang="nb-NO" sz="1867" b="1" i="1" kern="0" dirty="0">
              <a:solidFill>
                <a:prstClr val="white"/>
              </a:solidFill>
              <a:latin typeface="Segoe UI"/>
              <a:cs typeface="Century Gothic"/>
            </a:endParaRPr>
          </a:p>
          <a:p>
            <a:pPr algn="ctr" defTabSz="1218875">
              <a:defRPr/>
            </a:pPr>
            <a:r>
              <a:rPr lang="nb-NO" sz="1400" b="1" i="1" kern="0" dirty="0">
                <a:solidFill>
                  <a:srgbClr val="222223"/>
                </a:solidFill>
                <a:latin typeface="Segoe UI"/>
              </a:rPr>
              <a:t>Moderne materialister</a:t>
            </a:r>
            <a:endParaRPr lang="nb-NO" sz="1400" i="1" kern="0" dirty="0">
              <a:solidFill>
                <a:srgbClr val="222223"/>
              </a:solidFill>
              <a:latin typeface="Segoe UI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56672F0-4220-4B46-ADF2-6D7C45631A6B}"/>
              </a:ext>
            </a:extLst>
          </p:cNvPr>
          <p:cNvSpPr>
            <a:spLocks/>
          </p:cNvSpPr>
          <p:nvPr/>
        </p:nvSpPr>
        <p:spPr>
          <a:xfrm>
            <a:off x="2457289" y="4031331"/>
            <a:ext cx="3144655" cy="1780173"/>
          </a:xfrm>
          <a:prstGeom prst="rect">
            <a:avLst/>
          </a:prstGeom>
          <a:solidFill>
            <a:srgbClr val="00B0F0"/>
          </a:solidFill>
          <a:ln w="57150" cap="flat" cmpd="sng" algn="ctr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218875">
              <a:defRPr/>
            </a:pPr>
            <a:endParaRPr lang="en-US" sz="1067" b="1" kern="0" dirty="0">
              <a:ln w="76200">
                <a:noFill/>
              </a:ln>
              <a:solidFill>
                <a:prstClr val="white"/>
              </a:solidFill>
              <a:latin typeface="Segoe UI"/>
              <a:cs typeface="Century Gothic"/>
            </a:endParaRPr>
          </a:p>
          <a:p>
            <a:pPr algn="ctr" defTabSz="1218875">
              <a:defRPr/>
            </a:pPr>
            <a:br>
              <a:rPr lang="en-US" sz="1600" b="1" kern="0" dirty="0">
                <a:ln w="76200">
                  <a:noFill/>
                </a:ln>
                <a:solidFill>
                  <a:prstClr val="white"/>
                </a:solidFill>
                <a:latin typeface="Segoe UI"/>
                <a:cs typeface="Century Gothic"/>
              </a:rPr>
            </a:br>
            <a:r>
              <a:rPr lang="nb-NO" sz="1867" b="1" i="1" kern="0" dirty="0">
                <a:solidFill>
                  <a:prstClr val="white"/>
                </a:solidFill>
                <a:latin typeface="Segoe UI"/>
                <a:cs typeface="Century Gothic"/>
              </a:rPr>
              <a:t>«Vær som folk flest»</a:t>
            </a:r>
          </a:p>
          <a:p>
            <a:pPr algn="ctr" defTabSz="1218875">
              <a:defRPr/>
            </a:pPr>
            <a:endParaRPr lang="nb-NO" sz="933" b="1" i="1" kern="0" dirty="0">
              <a:solidFill>
                <a:prstClr val="white"/>
              </a:solidFill>
              <a:latin typeface="Segoe UI"/>
            </a:endParaRPr>
          </a:p>
          <a:p>
            <a:pPr algn="ctr" defTabSz="1218875">
              <a:defRPr/>
            </a:pPr>
            <a:r>
              <a:rPr lang="nb-NO" sz="1333" b="1" i="1" kern="0" dirty="0">
                <a:solidFill>
                  <a:srgbClr val="222223"/>
                </a:solidFill>
                <a:latin typeface="Segoe UI"/>
              </a:rPr>
              <a:t>Tradisjonelle materialister</a:t>
            </a:r>
            <a:endParaRPr lang="nb-NO" sz="1333" i="1" kern="0" dirty="0">
              <a:solidFill>
                <a:srgbClr val="222223"/>
              </a:solidFill>
              <a:latin typeface="Segoe UI"/>
            </a:endParaRPr>
          </a:p>
          <a:p>
            <a:pPr algn="ctr" defTabSz="1218875">
              <a:defRPr/>
            </a:pPr>
            <a:endParaRPr lang="nb-NO" sz="800" i="1" kern="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1569ECD-0714-4B82-A1BC-058F69C49CA5}"/>
              </a:ext>
            </a:extLst>
          </p:cNvPr>
          <p:cNvSpPr>
            <a:spLocks/>
          </p:cNvSpPr>
          <p:nvPr/>
        </p:nvSpPr>
        <p:spPr>
          <a:xfrm>
            <a:off x="5920892" y="4031716"/>
            <a:ext cx="3144312" cy="1789475"/>
          </a:xfrm>
          <a:prstGeom prst="rect">
            <a:avLst/>
          </a:prstGeom>
          <a:solidFill>
            <a:srgbClr val="00B0F0"/>
          </a:solidFill>
          <a:ln w="57150" cap="flat" cmpd="sng" algn="ctr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218875">
              <a:defRPr/>
            </a:pPr>
            <a:endParaRPr lang="en-US" sz="1067" b="1" kern="0" dirty="0">
              <a:ln w="76200">
                <a:noFill/>
              </a:ln>
              <a:solidFill>
                <a:prstClr val="white"/>
              </a:solidFill>
              <a:latin typeface="Segoe UI"/>
              <a:cs typeface="Century Gothic"/>
            </a:endParaRPr>
          </a:p>
          <a:p>
            <a:pPr algn="ctr" defTabSz="1218875">
              <a:defRPr/>
            </a:pPr>
            <a:r>
              <a:rPr lang="nb-NO" sz="933" b="1" i="1" kern="0" dirty="0">
                <a:solidFill>
                  <a:prstClr val="white"/>
                </a:solidFill>
                <a:latin typeface="Segoe UI"/>
                <a:cs typeface="Century Gothic"/>
              </a:rPr>
              <a:t> </a:t>
            </a:r>
            <a:r>
              <a:rPr lang="nb-NO" sz="1867" b="1" i="1" kern="0" dirty="0">
                <a:solidFill>
                  <a:prstClr val="white"/>
                </a:solidFill>
                <a:latin typeface="Segoe UI"/>
                <a:cs typeface="Century Gothic"/>
              </a:rPr>
              <a:t>«Gjør som du skal og bør»</a:t>
            </a:r>
          </a:p>
          <a:p>
            <a:pPr algn="ctr" defTabSz="1218875">
              <a:defRPr/>
            </a:pPr>
            <a:endParaRPr lang="nb-NO" sz="1867" b="1" i="1" kern="0" dirty="0">
              <a:solidFill>
                <a:prstClr val="white"/>
              </a:solidFill>
              <a:latin typeface="Segoe UI"/>
            </a:endParaRPr>
          </a:p>
          <a:p>
            <a:pPr algn="ctr" defTabSz="1218875">
              <a:defRPr/>
            </a:pPr>
            <a:r>
              <a:rPr lang="nb-NO" sz="1333" b="1" i="1" kern="0" dirty="0">
                <a:solidFill>
                  <a:srgbClr val="222223"/>
                </a:solidFill>
                <a:latin typeface="Segoe UI"/>
              </a:rPr>
              <a:t>Tradisjonelle idealister</a:t>
            </a:r>
            <a:endParaRPr lang="nb-NO" sz="1333" i="1" kern="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24" name="Rectangle 24">
            <a:extLst>
              <a:ext uri="{FF2B5EF4-FFF2-40B4-BE49-F238E27FC236}">
                <a16:creationId xmlns:a16="http://schemas.microsoft.com/office/drawing/2014/main" id="{F3186422-7DD4-41CA-A382-67A70EEC9CAB}"/>
              </a:ext>
            </a:extLst>
          </p:cNvPr>
          <p:cNvSpPr>
            <a:spLocks/>
          </p:cNvSpPr>
          <p:nvPr/>
        </p:nvSpPr>
        <p:spPr>
          <a:xfrm>
            <a:off x="5920891" y="2003968"/>
            <a:ext cx="3153443" cy="1733483"/>
          </a:xfrm>
          <a:prstGeom prst="rect">
            <a:avLst/>
          </a:prstGeom>
          <a:solidFill>
            <a:srgbClr val="00B0F0"/>
          </a:solidFill>
          <a:ln w="57150" cap="flat" cmpd="sng" algn="ctr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218875">
              <a:defRPr/>
            </a:pPr>
            <a:endParaRPr lang="en-US" sz="1067" b="1" kern="0" dirty="0">
              <a:ln w="76200">
                <a:noFill/>
              </a:ln>
              <a:solidFill>
                <a:prstClr val="white"/>
              </a:solidFill>
              <a:latin typeface="Segoe UI"/>
              <a:cs typeface="Century Gothic"/>
            </a:endParaRPr>
          </a:p>
          <a:p>
            <a:pPr algn="ctr" defTabSz="1218875">
              <a:defRPr/>
            </a:pPr>
            <a:br>
              <a:rPr lang="en-US" sz="933" b="1" kern="0" dirty="0">
                <a:ln w="76200">
                  <a:noFill/>
                </a:ln>
                <a:solidFill>
                  <a:prstClr val="white"/>
                </a:solidFill>
                <a:latin typeface="Segoe UI"/>
                <a:cs typeface="Century Gothic"/>
              </a:rPr>
            </a:br>
            <a:r>
              <a:rPr lang="nb-NO" sz="933" b="1" i="1" kern="0" dirty="0">
                <a:solidFill>
                  <a:prstClr val="white"/>
                </a:solidFill>
                <a:latin typeface="Segoe UI"/>
                <a:cs typeface="Century Gothic"/>
              </a:rPr>
              <a:t>«</a:t>
            </a:r>
            <a:r>
              <a:rPr lang="nb-NO" sz="1867" b="1" i="1" kern="0" dirty="0">
                <a:solidFill>
                  <a:prstClr val="white"/>
                </a:solidFill>
                <a:latin typeface="Segoe UI"/>
                <a:cs typeface="Century Gothic"/>
              </a:rPr>
              <a:t>Tenk selv»</a:t>
            </a:r>
          </a:p>
          <a:p>
            <a:pPr algn="ctr" defTabSz="1218875">
              <a:defRPr/>
            </a:pPr>
            <a:endParaRPr lang="nb-NO" sz="933" b="1" i="1" kern="0" cap="all" dirty="0">
              <a:solidFill>
                <a:prstClr val="white"/>
              </a:solidFill>
              <a:latin typeface="Segoe UI"/>
            </a:endParaRPr>
          </a:p>
          <a:p>
            <a:pPr algn="ctr" defTabSz="1218875">
              <a:defRPr/>
            </a:pPr>
            <a:r>
              <a:rPr lang="nb-NO" sz="1333" b="1" i="1" kern="0" dirty="0">
                <a:solidFill>
                  <a:srgbClr val="222223"/>
                </a:solidFill>
                <a:latin typeface="Segoe UI"/>
              </a:rPr>
              <a:t>Moderne idealister</a:t>
            </a:r>
            <a:endParaRPr lang="nb-NO" sz="1333" i="1" kern="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3" name="Rectangle 17">
            <a:extLst>
              <a:ext uri="{FF2B5EF4-FFF2-40B4-BE49-F238E27FC236}">
                <a16:creationId xmlns:a16="http://schemas.microsoft.com/office/drawing/2014/main" id="{B7F72118-00AB-4795-8B5A-9359E5EB8C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4380" y="1702814"/>
            <a:ext cx="1561697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015975">
              <a:lnSpc>
                <a:spcPct val="90000"/>
              </a:lnSpc>
            </a:pPr>
            <a:r>
              <a:rPr lang="nb-NO" altLang="nb-NO" sz="1867" b="1" dirty="0">
                <a:solidFill>
                  <a:srgbClr val="007788"/>
                </a:solidFill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Normløs</a:t>
            </a: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FD8C818E-BC56-439C-8E7F-BF942F8E94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1226" y="5817645"/>
            <a:ext cx="1936252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015975">
              <a:lnSpc>
                <a:spcPct val="90000"/>
              </a:lnSpc>
            </a:pPr>
            <a:r>
              <a:rPr lang="nb-NO" altLang="nb-NO" sz="1867" b="1" dirty="0">
                <a:solidFill>
                  <a:srgbClr val="007788"/>
                </a:solidFill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Folkelig</a:t>
            </a:r>
          </a:p>
        </p:txBody>
      </p:sp>
      <p:sp>
        <p:nvSpPr>
          <p:cNvPr id="18" name="Rectangle 19">
            <a:extLst>
              <a:ext uri="{FF2B5EF4-FFF2-40B4-BE49-F238E27FC236}">
                <a16:creationId xmlns:a16="http://schemas.microsoft.com/office/drawing/2014/main" id="{0A316770-5336-4917-870F-1C3BB7B83A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585" y="3564282"/>
            <a:ext cx="1756893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15975">
              <a:lnSpc>
                <a:spcPct val="90000"/>
              </a:lnSpc>
            </a:pPr>
            <a:r>
              <a:rPr lang="nb-NO" altLang="nb-NO" sz="1867" b="1" dirty="0">
                <a:solidFill>
                  <a:srgbClr val="007788"/>
                </a:solidFill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Materialistisk</a:t>
            </a:r>
          </a:p>
        </p:txBody>
      </p:sp>
      <p:sp>
        <p:nvSpPr>
          <p:cNvPr id="21" name="Rectangle 17">
            <a:extLst>
              <a:ext uri="{FF2B5EF4-FFF2-40B4-BE49-F238E27FC236}">
                <a16:creationId xmlns:a16="http://schemas.microsoft.com/office/drawing/2014/main" id="{E06031F4-C8B4-47C4-A073-0855DAFC47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56869" y="1660887"/>
            <a:ext cx="2236809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015975">
              <a:lnSpc>
                <a:spcPct val="90000"/>
              </a:lnSpc>
            </a:pPr>
            <a:r>
              <a:rPr lang="nb-NO" altLang="nb-NO" sz="1867" b="1" dirty="0">
                <a:solidFill>
                  <a:srgbClr val="007788"/>
                </a:solidFill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Utvikling</a:t>
            </a:r>
          </a:p>
        </p:txBody>
      </p:sp>
      <p:sp>
        <p:nvSpPr>
          <p:cNvPr id="23" name="Rectangle 18">
            <a:extLst>
              <a:ext uri="{FF2B5EF4-FFF2-40B4-BE49-F238E27FC236}">
                <a16:creationId xmlns:a16="http://schemas.microsoft.com/office/drawing/2014/main" id="{622A7825-F81C-4894-8EBB-B9C2468B09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1378" y="5873757"/>
            <a:ext cx="2363199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015975">
              <a:lnSpc>
                <a:spcPct val="90000"/>
              </a:lnSpc>
            </a:pPr>
            <a:r>
              <a:rPr lang="nb-NO" altLang="nb-NO" sz="1867" b="1" dirty="0">
                <a:solidFill>
                  <a:srgbClr val="007788"/>
                </a:solidFill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Normfast</a:t>
            </a:r>
          </a:p>
        </p:txBody>
      </p:sp>
      <p:sp>
        <p:nvSpPr>
          <p:cNvPr id="26" name="Rectangle 20">
            <a:extLst>
              <a:ext uri="{FF2B5EF4-FFF2-40B4-BE49-F238E27FC236}">
                <a16:creationId xmlns:a16="http://schemas.microsoft.com/office/drawing/2014/main" id="{3A9CBEF8-626B-406A-8936-55067989D8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5203" y="3577934"/>
            <a:ext cx="1463544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15975">
              <a:lnSpc>
                <a:spcPct val="90000"/>
              </a:lnSpc>
            </a:pPr>
            <a:r>
              <a:rPr lang="nb-NO" altLang="nb-NO" sz="1867" b="1" dirty="0">
                <a:solidFill>
                  <a:srgbClr val="007788"/>
                </a:solidFill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Idealistisk </a:t>
            </a:r>
          </a:p>
        </p:txBody>
      </p:sp>
      <p:sp>
        <p:nvSpPr>
          <p:cNvPr id="27" name="Rectangle 17">
            <a:extLst>
              <a:ext uri="{FF2B5EF4-FFF2-40B4-BE49-F238E27FC236}">
                <a16:creationId xmlns:a16="http://schemas.microsoft.com/office/drawing/2014/main" id="{7AFD64A4-2A2A-4781-B3B2-3BE859A9D3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6982" y="1471775"/>
            <a:ext cx="4015613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015975">
              <a:lnSpc>
                <a:spcPct val="90000"/>
              </a:lnSpc>
            </a:pPr>
            <a:r>
              <a:rPr lang="nb-NO" altLang="nb-NO" sz="1867" b="1" dirty="0">
                <a:solidFill>
                  <a:srgbClr val="007788"/>
                </a:solidFill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Moderne</a:t>
            </a:r>
            <a:endParaRPr lang="nb-NO" altLang="nb-NO" sz="1600" b="1" dirty="0">
              <a:solidFill>
                <a:srgbClr val="222223"/>
              </a:solidFill>
              <a:latin typeface="Helvetica" pitchFamily="34" charset="0"/>
              <a:ea typeface="MS PGothic" pitchFamily="34" charset="-128"/>
              <a:cs typeface="Arial Unicode MS" pitchFamily="34" charset="-128"/>
            </a:endParaRP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5E8F3738-2A46-4748-86FA-66ACB9EFF0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9912" y="6138556"/>
            <a:ext cx="3860791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015975">
              <a:lnSpc>
                <a:spcPct val="90000"/>
              </a:lnSpc>
            </a:pPr>
            <a:r>
              <a:rPr lang="nb-NO" altLang="nb-NO" sz="1867" b="1" dirty="0">
                <a:solidFill>
                  <a:srgbClr val="007788"/>
                </a:solidFill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Tradisjonel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37F4D5-BC85-4EFB-A57B-7E8397D21C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69320" y="670359"/>
            <a:ext cx="7233629" cy="590215"/>
          </a:xfrm>
        </p:spPr>
        <p:txBody>
          <a:bodyPr/>
          <a:lstStyle/>
          <a:p>
            <a:r>
              <a:rPr lang="nb-NO" sz="2400" dirty="0"/>
              <a:t>Stikkord for de fire segmentene</a:t>
            </a:r>
          </a:p>
        </p:txBody>
      </p:sp>
    </p:spTree>
    <p:extLst>
      <p:ext uri="{BB962C8B-B14F-4D97-AF65-F5344CB8AC3E}">
        <p14:creationId xmlns:p14="http://schemas.microsoft.com/office/powerpoint/2010/main" val="3781869285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1035B3C7-EB75-4F82-9E5B-F44759CAFA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4160" y="914402"/>
            <a:ext cx="7313181" cy="5316225"/>
          </a:xfrm>
          <a:prstGeom prst="rect">
            <a:avLst/>
          </a:prstGeom>
        </p:spPr>
      </p:pic>
      <p:sp>
        <p:nvSpPr>
          <p:cNvPr id="15" name="Rektangel 14">
            <a:extLst>
              <a:ext uri="{FF2B5EF4-FFF2-40B4-BE49-F238E27FC236}">
                <a16:creationId xmlns:a16="http://schemas.microsoft.com/office/drawing/2014/main" id="{37CBD2CB-75BF-49CC-8A44-B1A8A2AE74D1}"/>
              </a:ext>
            </a:extLst>
          </p:cNvPr>
          <p:cNvSpPr/>
          <p:nvPr/>
        </p:nvSpPr>
        <p:spPr bwMode="gray">
          <a:xfrm>
            <a:off x="1540043" y="3791491"/>
            <a:ext cx="1219200" cy="3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888B8D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BB41DD33-7DB8-4EFB-AD62-A6396C27F627}"/>
              </a:ext>
            </a:extLst>
          </p:cNvPr>
          <p:cNvSpPr/>
          <p:nvPr/>
        </p:nvSpPr>
        <p:spPr bwMode="gray">
          <a:xfrm>
            <a:off x="5336675" y="6330837"/>
            <a:ext cx="1219200" cy="3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888B8D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Rectangle 17">
            <a:extLst>
              <a:ext uri="{FF2B5EF4-FFF2-40B4-BE49-F238E27FC236}">
                <a16:creationId xmlns:a16="http://schemas.microsoft.com/office/drawing/2014/main" id="{98A0F73E-2EE4-455A-98B8-FB90223BD7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94908" y="1930665"/>
            <a:ext cx="1561697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1015975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Normløs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66D3BFE9-E931-4C71-B5AD-4B28BC261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1847" y="5223590"/>
            <a:ext cx="1936252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1015975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Overlevelse</a:t>
            </a:r>
          </a:p>
        </p:txBody>
      </p:sp>
      <p:sp>
        <p:nvSpPr>
          <p:cNvPr id="29" name="Rectangle 19">
            <a:extLst>
              <a:ext uri="{FF2B5EF4-FFF2-40B4-BE49-F238E27FC236}">
                <a16:creationId xmlns:a16="http://schemas.microsoft.com/office/drawing/2014/main" id="{27472F13-D79A-4C65-803A-ED19998816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585" y="3564283"/>
            <a:ext cx="2232857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015975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MATERIALISTISK</a:t>
            </a:r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A47D40F7-76B3-4905-BF6E-B95FD322F5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929" y="3577935"/>
            <a:ext cx="1798571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015975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IDEALISTISK </a:t>
            </a:r>
          </a:p>
        </p:txBody>
      </p:sp>
      <p:cxnSp>
        <p:nvCxnSpPr>
          <p:cNvPr id="31" name="Rett pilkobling 30">
            <a:extLst>
              <a:ext uri="{FF2B5EF4-FFF2-40B4-BE49-F238E27FC236}">
                <a16:creationId xmlns:a16="http://schemas.microsoft.com/office/drawing/2014/main" id="{02F8F401-5D5C-4087-AAF6-0A6BBAB61D9A}"/>
              </a:ext>
            </a:extLst>
          </p:cNvPr>
          <p:cNvCxnSpPr>
            <a:cxnSpLocks/>
          </p:cNvCxnSpPr>
          <p:nvPr/>
        </p:nvCxnSpPr>
        <p:spPr>
          <a:xfrm>
            <a:off x="3107269" y="2290651"/>
            <a:ext cx="5546951" cy="2964095"/>
          </a:xfrm>
          <a:prstGeom prst="straightConnector1">
            <a:avLst/>
          </a:prstGeom>
          <a:ln w="63500">
            <a:solidFill>
              <a:schemeClr val="bg1">
                <a:lumMod val="85000"/>
                <a:alpha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ett pilkobling 31">
            <a:extLst>
              <a:ext uri="{FF2B5EF4-FFF2-40B4-BE49-F238E27FC236}">
                <a16:creationId xmlns:a16="http://schemas.microsoft.com/office/drawing/2014/main" id="{FE621CD1-64BD-406C-A8C0-012D17CDBBC4}"/>
              </a:ext>
            </a:extLst>
          </p:cNvPr>
          <p:cNvCxnSpPr>
            <a:cxnSpLocks/>
          </p:cNvCxnSpPr>
          <p:nvPr/>
        </p:nvCxnSpPr>
        <p:spPr>
          <a:xfrm flipH="1">
            <a:off x="2980451" y="2234900"/>
            <a:ext cx="5627767" cy="3086515"/>
          </a:xfrm>
          <a:prstGeom prst="straightConnector1">
            <a:avLst/>
          </a:prstGeom>
          <a:ln w="60325">
            <a:solidFill>
              <a:schemeClr val="bg1">
                <a:lumMod val="85000"/>
                <a:alpha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tt pilkobling 32">
            <a:extLst>
              <a:ext uri="{FF2B5EF4-FFF2-40B4-BE49-F238E27FC236}">
                <a16:creationId xmlns:a16="http://schemas.microsoft.com/office/drawing/2014/main" id="{188BA043-5D95-49E3-A056-46AC084DF4F5}"/>
              </a:ext>
            </a:extLst>
          </p:cNvPr>
          <p:cNvCxnSpPr>
            <a:cxnSpLocks/>
          </p:cNvCxnSpPr>
          <p:nvPr/>
        </p:nvCxnSpPr>
        <p:spPr>
          <a:xfrm>
            <a:off x="2138344" y="3731024"/>
            <a:ext cx="7795265" cy="15331"/>
          </a:xfrm>
          <a:prstGeom prst="straightConnector1">
            <a:avLst/>
          </a:prstGeom>
          <a:ln w="127000">
            <a:solidFill>
              <a:schemeClr val="bg1">
                <a:lumMod val="85000"/>
                <a:alpha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tt pilkobling 33">
            <a:extLst>
              <a:ext uri="{FF2B5EF4-FFF2-40B4-BE49-F238E27FC236}">
                <a16:creationId xmlns:a16="http://schemas.microsoft.com/office/drawing/2014/main" id="{B1708923-C612-4B64-83A7-459C9C0D18CA}"/>
              </a:ext>
            </a:extLst>
          </p:cNvPr>
          <p:cNvCxnSpPr>
            <a:cxnSpLocks/>
          </p:cNvCxnSpPr>
          <p:nvPr/>
        </p:nvCxnSpPr>
        <p:spPr>
          <a:xfrm>
            <a:off x="5889875" y="1252392"/>
            <a:ext cx="18504" cy="4978235"/>
          </a:xfrm>
          <a:prstGeom prst="straightConnector1">
            <a:avLst/>
          </a:prstGeom>
          <a:ln w="127000">
            <a:solidFill>
              <a:schemeClr val="bg1">
                <a:lumMod val="85000"/>
                <a:alpha val="49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17">
            <a:extLst>
              <a:ext uri="{FF2B5EF4-FFF2-40B4-BE49-F238E27FC236}">
                <a16:creationId xmlns:a16="http://schemas.microsoft.com/office/drawing/2014/main" id="{0E934E18-9CFA-416B-B110-D519F02DFA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65068" y="705174"/>
            <a:ext cx="4015613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1015975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MODERNE</a:t>
            </a:r>
            <a:endParaRPr kumimoji="0" lang="nb-NO" altLang="nb-NO" sz="1600" b="1" i="0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Helvetica" pitchFamily="34" charset="0"/>
              <a:ea typeface="MS PGothic" pitchFamily="34" charset="-128"/>
              <a:cs typeface="Arial Unicode MS" pitchFamily="34" charset="-128"/>
            </a:endParaRP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39C42ECD-7EEF-4C9A-A009-750C723C32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56870" y="1930665"/>
            <a:ext cx="2236809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1015975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Utvikling</a:t>
            </a:r>
          </a:p>
        </p:txBody>
      </p:sp>
      <p:sp>
        <p:nvSpPr>
          <p:cNvPr id="37" name="Rectangle 18">
            <a:extLst>
              <a:ext uri="{FF2B5EF4-FFF2-40B4-BE49-F238E27FC236}">
                <a16:creationId xmlns:a16="http://schemas.microsoft.com/office/drawing/2014/main" id="{A53DC640-AC32-4656-971F-905A513D9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4739" y="6229177"/>
            <a:ext cx="3860791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1015975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TRADISJONELL</a:t>
            </a:r>
          </a:p>
        </p:txBody>
      </p:sp>
      <p:sp>
        <p:nvSpPr>
          <p:cNvPr id="38" name="Rectangle 18">
            <a:extLst>
              <a:ext uri="{FF2B5EF4-FFF2-40B4-BE49-F238E27FC236}">
                <a16:creationId xmlns:a16="http://schemas.microsoft.com/office/drawing/2014/main" id="{FE1A310E-9FA6-4266-AA4E-6F570F81CE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93654" y="5223590"/>
            <a:ext cx="2363199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1015975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867" b="1" i="0" u="none" strike="noStrike" kern="1200" cap="none" spc="0" normalizeH="0" baseline="0" noProof="0" dirty="0">
                <a:ln>
                  <a:noFill/>
                </a:ln>
                <a:solidFill>
                  <a:srgbClr val="E87722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Normfast</a:t>
            </a:r>
          </a:p>
        </p:txBody>
      </p:sp>
      <p:sp>
        <p:nvSpPr>
          <p:cNvPr id="39" name="Rektangel 38">
            <a:extLst>
              <a:ext uri="{FF2B5EF4-FFF2-40B4-BE49-F238E27FC236}">
                <a16:creationId xmlns:a16="http://schemas.microsoft.com/office/drawing/2014/main" id="{FA825BBA-A237-4941-88AD-5EEAB2150B2B}"/>
              </a:ext>
            </a:extLst>
          </p:cNvPr>
          <p:cNvSpPr/>
          <p:nvPr/>
        </p:nvSpPr>
        <p:spPr>
          <a:xfrm>
            <a:off x="585593" y="342519"/>
            <a:ext cx="100363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rdmenns verdier fordeler seg naturlig langs flere dimensjoner 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18DC035C-965E-4E4E-8538-9F6A15FBE05A}"/>
              </a:ext>
            </a:extLst>
          </p:cNvPr>
          <p:cNvSpPr txBox="1"/>
          <p:nvPr/>
        </p:nvSpPr>
        <p:spPr>
          <a:xfrm>
            <a:off x="4619494" y="5599090"/>
            <a:ext cx="1003392" cy="268523"/>
          </a:xfrm>
          <a:prstGeom prst="rect">
            <a:avLst/>
          </a:prstGeom>
          <a:noFill/>
        </p:spPr>
        <p:txBody>
          <a:bodyPr wrap="non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888B8D"/>
              </a:buClr>
              <a:buSzTx/>
              <a:buFontTx/>
              <a:buNone/>
              <a:tabLst/>
              <a:defRPr/>
            </a:pPr>
            <a:r>
              <a:rPr kumimoji="0" lang="nb-NO" sz="10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kalorientert</a:t>
            </a: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EB7A53AC-4432-4F28-A5F6-12E977CE2400}"/>
              </a:ext>
            </a:extLst>
          </p:cNvPr>
          <p:cNvSpPr txBox="1"/>
          <p:nvPr/>
        </p:nvSpPr>
        <p:spPr>
          <a:xfrm>
            <a:off x="5723876" y="1876951"/>
            <a:ext cx="1073924" cy="268523"/>
          </a:xfrm>
          <a:prstGeom prst="rect">
            <a:avLst/>
          </a:prstGeom>
          <a:noFill/>
        </p:spPr>
        <p:txBody>
          <a:bodyPr wrap="non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888B8D"/>
              </a:buClr>
              <a:buSzTx/>
              <a:buFontTx/>
              <a:buNone/>
              <a:tabLst/>
              <a:defRPr/>
            </a:pPr>
            <a:r>
              <a:rPr kumimoji="0" lang="nb-NO" sz="1067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lobalorienter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DEB5B4DD-92BB-4565-BF19-2BF1163E9AE5}"/>
              </a:ext>
            </a:extLst>
          </p:cNvPr>
          <p:cNvSpPr txBox="1">
            <a:spLocks/>
          </p:cNvSpPr>
          <p:nvPr/>
        </p:nvSpPr>
        <p:spPr bwMode="gray">
          <a:xfrm>
            <a:off x="291884" y="6223972"/>
            <a:ext cx="1362913" cy="349904"/>
          </a:xfrm>
          <a:prstGeom prst="rect">
            <a:avLst/>
          </a:prstGeom>
          <a:solidFill>
            <a:schemeClr val="tx1"/>
          </a:solidFill>
        </p:spPr>
        <p:txBody>
          <a:bodyPr vert="horz" wrap="none" lIns="96000" tIns="0" rIns="96000" bIns="0" rtlCol="0" anchor="ctr">
            <a:spAutoFit/>
          </a:bodyPr>
          <a:lstStyle>
            <a:lvl1pPr marL="213637" indent="-213637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Tx/>
              <a:buNone/>
              <a:defRPr lang="en-US" sz="1632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81292" indent="-223574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Geomanist Light" pitchFamily="50" charset="0"/>
              <a:buChar char="–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4296" indent="-178859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Geomanist Light" pitchFamily="50" charset="0"/>
              <a:buChar char="–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014" indent="-178859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Geomanist Light" pitchFamily="50" charset="0"/>
              <a:buChar char="–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731" indent="-178859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Geomanist Light" pitchFamily="50" charset="0"/>
              <a:buChar char="–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7450" indent="-178859" algn="l" defTabSz="7154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25168" indent="-178859" algn="l" defTabSz="7154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886" indent="-178859" algn="l" defTabSz="7154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0604" indent="-178859" algn="l" defTabSz="7154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4842" marR="0" lvl="0" indent="-284842" algn="l" defTabSz="953891" rtl="0" eaLnBrk="1" fontAlgn="auto" latinLnBrk="0" hangingPunct="1">
              <a:lnSpc>
                <a:spcPct val="110000"/>
              </a:lnSpc>
              <a:spcBef>
                <a:spcPts val="272"/>
              </a:spcBef>
              <a:spcAft>
                <a:spcPts val="272"/>
              </a:spcAft>
              <a:buClr>
                <a:srgbClr val="222223"/>
              </a:buClr>
              <a:buSzTx/>
              <a:buFontTx/>
              <a:buNone/>
              <a:tabLst/>
              <a:defRPr/>
            </a:pPr>
            <a:r>
              <a:rPr kumimoji="0" lang="nb-NO" sz="2176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1 verdier</a:t>
            </a:r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FA8E93CC-95C2-47F6-9C4E-C4FB152563DA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56670234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12C61FA-03B2-4F4C-A546-A409EBEA3C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4387" y="128031"/>
            <a:ext cx="6915150" cy="6572250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6A0079E9-8D10-4C49-A0AD-F9AD0A3FF6BB}"/>
              </a:ext>
            </a:extLst>
          </p:cNvPr>
          <p:cNvSpPr txBox="1"/>
          <p:nvPr/>
        </p:nvSpPr>
        <p:spPr>
          <a:xfrm>
            <a:off x="621517" y="1695138"/>
            <a:ext cx="35996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jennomsnittsnordmannen i dag 2019/20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5922E67A-B264-4349-9B34-0B38DD8CA5BD}"/>
              </a:ext>
            </a:extLst>
          </p:cNvPr>
          <p:cNvSpPr txBox="1"/>
          <p:nvPr/>
        </p:nvSpPr>
        <p:spPr>
          <a:xfrm>
            <a:off x="419330" y="2309691"/>
            <a:ext cx="42028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jennomsnitts-nordmanne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1985</a:t>
            </a:r>
          </a:p>
        </p:txBody>
      </p:sp>
      <p:cxnSp>
        <p:nvCxnSpPr>
          <p:cNvPr id="6" name="Rett pilkobling 5">
            <a:extLst>
              <a:ext uri="{FF2B5EF4-FFF2-40B4-BE49-F238E27FC236}">
                <a16:creationId xmlns:a16="http://schemas.microsoft.com/office/drawing/2014/main" id="{189242BA-648D-47A1-B81C-B0D0F6115AA4}"/>
              </a:ext>
            </a:extLst>
          </p:cNvPr>
          <p:cNvCxnSpPr>
            <a:cxnSpLocks/>
          </p:cNvCxnSpPr>
          <p:nvPr/>
        </p:nvCxnSpPr>
        <p:spPr>
          <a:xfrm flipV="1">
            <a:off x="4221189" y="665019"/>
            <a:ext cx="3962005" cy="1149620"/>
          </a:xfrm>
          <a:prstGeom prst="straightConnector1">
            <a:avLst/>
          </a:prstGeom>
          <a:ln w="603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Rett pilkobling 9">
            <a:extLst>
              <a:ext uri="{FF2B5EF4-FFF2-40B4-BE49-F238E27FC236}">
                <a16:creationId xmlns:a16="http://schemas.microsoft.com/office/drawing/2014/main" id="{8E08883C-1FDC-4C33-909F-5AD9FD92111D}"/>
              </a:ext>
            </a:extLst>
          </p:cNvPr>
          <p:cNvCxnSpPr>
            <a:cxnSpLocks/>
          </p:cNvCxnSpPr>
          <p:nvPr/>
        </p:nvCxnSpPr>
        <p:spPr>
          <a:xfrm>
            <a:off x="4221189" y="2477917"/>
            <a:ext cx="6028597" cy="3715064"/>
          </a:xfrm>
          <a:prstGeom prst="straightConnector1">
            <a:avLst/>
          </a:prstGeom>
          <a:ln w="603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Bilde 3">
            <a:extLst>
              <a:ext uri="{FF2B5EF4-FFF2-40B4-BE49-F238E27FC236}">
                <a16:creationId xmlns:a16="http://schemas.microsoft.com/office/drawing/2014/main" id="{3603F0E2-350B-4972-8D8F-8B7A4B4ED3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337" y="6033531"/>
            <a:ext cx="1924359" cy="666750"/>
          </a:xfrm>
          <a:prstGeom prst="rect">
            <a:avLst/>
          </a:prstGeom>
        </p:spPr>
      </p:pic>
      <p:sp>
        <p:nvSpPr>
          <p:cNvPr id="14" name="TekstSylinder 13">
            <a:extLst>
              <a:ext uri="{FF2B5EF4-FFF2-40B4-BE49-F238E27FC236}">
                <a16:creationId xmlns:a16="http://schemas.microsoft.com/office/drawing/2014/main" id="{ECD1B9E6-F5CB-4B2D-A1A4-F346A0E9A2CD}"/>
              </a:ext>
            </a:extLst>
          </p:cNvPr>
          <p:cNvSpPr txBox="1"/>
          <p:nvPr/>
        </p:nvSpPr>
        <p:spPr>
          <a:xfrm>
            <a:off x="840721" y="510664"/>
            <a:ext cx="326243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DIUTVIKLINGE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85 – 2019/20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E3B7BBC8-2FF1-4B7E-97E2-FD03089FE3BB}"/>
              </a:ext>
            </a:extLst>
          </p:cNvPr>
          <p:cNvSpPr txBox="1"/>
          <p:nvPr/>
        </p:nvSpPr>
        <p:spPr>
          <a:xfrm>
            <a:off x="243250" y="4242599"/>
            <a:ext cx="427602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m en forklar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  25% av befolkningen som i 1985 bar verdien av «tradisjonelle kjønnsroller» var mye, mye mer intolerante for likestilling sammenlignet med de 25% av befolkningen som i dag bærer verdien «tradisjonelle kjønnsroller»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62E844A-F3FD-4057-8A3A-92E622CA9A79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6531704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/>
      <p:bldP spid="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>
            <a:extLst>
              <a:ext uri="{FF2B5EF4-FFF2-40B4-BE49-F238E27FC236}">
                <a16:creationId xmlns:a16="http://schemas.microsoft.com/office/drawing/2014/main" id="{CDB2092B-876F-4447-8947-CE81AE59DDC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04383" y="1612316"/>
          <a:ext cx="11657971" cy="4908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9347" name="Worksheet" r:id="rId3" imgW="9277373" imgH="3581634" progId="Excel.Sheet.12">
                  <p:embed/>
                </p:oleObj>
              </mc:Choice>
              <mc:Fallback>
                <p:oleObj name="Worksheet" r:id="rId3" imgW="9277373" imgH="3581634" progId="Excel.Sheet.12">
                  <p:embed/>
                  <p:pic>
                    <p:nvPicPr>
                      <p:cNvPr id="8" name="Object 3">
                        <a:extLst>
                          <a:ext uri="{FF2B5EF4-FFF2-40B4-BE49-F238E27FC236}">
                            <a16:creationId xmlns:a16="http://schemas.microsoft.com/office/drawing/2014/main" id="{CDB2092B-876F-4447-8947-CE81AE59DDC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383" y="1612316"/>
                        <a:ext cx="11657971" cy="4908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>
            <a:extLst>
              <a:ext uri="{FF2B5EF4-FFF2-40B4-BE49-F238E27FC236}">
                <a16:creationId xmlns:a16="http://schemas.microsoft.com/office/drawing/2014/main" id="{A4DD065A-003A-433D-8BD5-B30CB49540EA}"/>
              </a:ext>
            </a:extLst>
          </p:cNvPr>
          <p:cNvSpPr/>
          <p:nvPr/>
        </p:nvSpPr>
        <p:spPr>
          <a:xfrm>
            <a:off x="2013209" y="1603055"/>
            <a:ext cx="37128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DERSMØNSTERET FOR DIMENSJON 1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9CD9A8AE-472A-41ED-B111-9D1D770FDAF9}"/>
              </a:ext>
            </a:extLst>
          </p:cNvPr>
          <p:cNvSpPr/>
          <p:nvPr/>
        </p:nvSpPr>
        <p:spPr>
          <a:xfrm>
            <a:off x="122830" y="6400800"/>
            <a:ext cx="696036" cy="218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Graphique 8">
            <a:extLst>
              <a:ext uri="{FF2B5EF4-FFF2-40B4-BE49-F238E27FC236}">
                <a16:creationId xmlns:a16="http://schemas.microsoft.com/office/drawing/2014/main" id="{E8A69709-0D64-41D4-A30B-860995A9470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Rectangle 12">
            <a:extLst>
              <a:ext uri="{FF2B5EF4-FFF2-40B4-BE49-F238E27FC236}">
                <a16:creationId xmlns:a16="http://schemas.microsoft.com/office/drawing/2014/main" id="{D8559DCD-7F41-49A9-83F5-4FA7B5E596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88245" y="5131899"/>
            <a:ext cx="1330325" cy="3603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09D9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disjonell</a:t>
            </a: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0A098F74-FBE1-41F4-97D1-914FD419F4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54836" y="1677487"/>
            <a:ext cx="1295400" cy="3603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rne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36856C15-40DF-4BD1-B091-BE34687BD94B}"/>
              </a:ext>
            </a:extLst>
          </p:cNvPr>
          <p:cNvSpPr/>
          <p:nvPr/>
        </p:nvSpPr>
        <p:spPr>
          <a:xfrm>
            <a:off x="304383" y="531916"/>
            <a:ext cx="11337450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alt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gens eldre er mye mer moderne og endringsvillige enn hva forrige generasjon var. Dette forklarer hvorfor hele befolkningen har beveget seg fra tradisjonell til moderne retning sammenhengende i en hel generasj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BEDB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2" name="Venstre klammeparentes 11">
            <a:extLst>
              <a:ext uri="{FF2B5EF4-FFF2-40B4-BE49-F238E27FC236}">
                <a16:creationId xmlns:a16="http://schemas.microsoft.com/office/drawing/2014/main" id="{9A046ED6-7850-4701-BFEB-3AFE0FE8A290}"/>
              </a:ext>
            </a:extLst>
          </p:cNvPr>
          <p:cNvSpPr/>
          <p:nvPr/>
        </p:nvSpPr>
        <p:spPr>
          <a:xfrm>
            <a:off x="806457" y="2037849"/>
            <a:ext cx="273667" cy="3212591"/>
          </a:xfrm>
          <a:prstGeom prst="leftBrace">
            <a:avLst/>
          </a:prstGeom>
          <a:ln w="349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Venstre klammeparentes 12">
            <a:extLst>
              <a:ext uri="{FF2B5EF4-FFF2-40B4-BE49-F238E27FC236}">
                <a16:creationId xmlns:a16="http://schemas.microsoft.com/office/drawing/2014/main" id="{7BDB0AE8-1411-48B1-B369-920BF1DF5612}"/>
              </a:ext>
            </a:extLst>
          </p:cNvPr>
          <p:cNvSpPr/>
          <p:nvPr/>
        </p:nvSpPr>
        <p:spPr>
          <a:xfrm flipH="1">
            <a:off x="10096338" y="2324202"/>
            <a:ext cx="510867" cy="1341247"/>
          </a:xfrm>
          <a:prstGeom prst="leftBrace">
            <a:avLst/>
          </a:prstGeom>
          <a:ln w="349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3" descr="C:\Users\jspill01\AppData\Local\Microsoft\Windows\Temporary Internet Files\Content.IE5\46T3KLXM\shutterstock_86376961.jpg">
            <a:extLst>
              <a:ext uri="{FF2B5EF4-FFF2-40B4-BE49-F238E27FC236}">
                <a16:creationId xmlns:a16="http://schemas.microsoft.com/office/drawing/2014/main" id="{740F8A10-4E60-4768-AFCD-74CB881236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1293" y="2994825"/>
            <a:ext cx="1102846" cy="1649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9" descr="C:\Users\jspill01\AppData\Local\Microsoft\Windows\Temporary Internet Files\Content.IE5\3F8JXHMH\shutterstock_176510147.jpg">
            <a:extLst>
              <a:ext uri="{FF2B5EF4-FFF2-40B4-BE49-F238E27FC236}">
                <a16:creationId xmlns:a16="http://schemas.microsoft.com/office/drawing/2014/main" id="{AC15801E-0E24-4C43-9AD2-13E7322A7B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2504" y="4028006"/>
            <a:ext cx="1235217" cy="183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2C352EE3-5467-472A-AA1A-9F60971598F9}"/>
              </a:ext>
            </a:extLst>
          </p:cNvPr>
          <p:cNvSpPr txBox="1"/>
          <p:nvPr/>
        </p:nvSpPr>
        <p:spPr>
          <a:xfrm>
            <a:off x="3403910" y="213146"/>
            <a:ext cx="55835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sjonskløften som ble borte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D9EF4A2B-A37A-4F1C-81DE-A92450D3C65A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463078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e 15">
            <a:extLst>
              <a:ext uri="{FF2B5EF4-FFF2-40B4-BE49-F238E27FC236}">
                <a16:creationId xmlns:a16="http://schemas.microsoft.com/office/drawing/2014/main" id="{319F0510-2D67-417E-A604-15D15D9692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0085" y="1193690"/>
            <a:ext cx="5399537" cy="528842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2FB1208-3AD1-4785-ACC9-C8D40A98CE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6864" y="833328"/>
            <a:ext cx="1295400" cy="360362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Moderne</a:t>
            </a:r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01288D60-7F27-4428-82BC-D2C4F20547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68175" y="1388953"/>
            <a:ext cx="1482725" cy="351895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Idealistisk</a:t>
            </a:r>
          </a:p>
        </p:txBody>
      </p:sp>
      <p:sp>
        <p:nvSpPr>
          <p:cNvPr id="11" name="Rectangle 11">
            <a:extLst>
              <a:ext uri="{FF2B5EF4-FFF2-40B4-BE49-F238E27FC236}">
                <a16:creationId xmlns:a16="http://schemas.microsoft.com/office/drawing/2014/main" id="{FB980A41-AA99-445C-9D17-EF0AC27FE4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25025" y="1350324"/>
            <a:ext cx="1512888" cy="385763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Materialistisk</a:t>
            </a:r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05810D8D-32E9-4C98-A8A4-B4DA1B01A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64692" y="6341877"/>
            <a:ext cx="1330325" cy="360362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Tradisjonell</a:t>
            </a:r>
          </a:p>
        </p:txBody>
      </p:sp>
      <p:sp>
        <p:nvSpPr>
          <p:cNvPr id="17" name="TextBox 2">
            <a:extLst>
              <a:ext uri="{FF2B5EF4-FFF2-40B4-BE49-F238E27FC236}">
                <a16:creationId xmlns:a16="http://schemas.microsoft.com/office/drawing/2014/main" id="{D4B00A1D-FA0D-423E-AE1C-72AB605F0068}"/>
              </a:ext>
            </a:extLst>
          </p:cNvPr>
          <p:cNvSpPr txBox="1"/>
          <p:nvPr/>
        </p:nvSpPr>
        <p:spPr>
          <a:xfrm>
            <a:off x="545911" y="2528642"/>
            <a:ext cx="2797790" cy="2677656"/>
          </a:xfrm>
          <a:prstGeom prst="rect">
            <a:avLst/>
          </a:prstGeom>
          <a:solidFill>
            <a:schemeClr val="bg1">
              <a:lumMod val="75000"/>
              <a:alpha val="29000"/>
            </a:schemeClr>
          </a:solidFill>
          <a:ln>
            <a:noFill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Økonomiske kriser</a:t>
            </a: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pp for moderne tendens + tendens til økt materialism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rkest utslag hos ungdomm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ittel 5">
            <a:extLst>
              <a:ext uri="{FF2B5EF4-FFF2-40B4-BE49-F238E27FC236}">
                <a16:creationId xmlns:a16="http://schemas.microsoft.com/office/drawing/2014/main" id="{CCC6F927-410E-4837-A36B-939975916662}"/>
              </a:ext>
            </a:extLst>
          </p:cNvPr>
          <p:cNvSpPr txBox="1">
            <a:spLocks/>
          </p:cNvSpPr>
          <p:nvPr/>
        </p:nvSpPr>
        <p:spPr>
          <a:xfrm>
            <a:off x="1666306" y="428081"/>
            <a:ext cx="9642745" cy="369332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all" spc="12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Bevegelser i verdikartet relatert til økonomisk kriser  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D4CD70D0-16C1-44D3-A43A-207C9EB3FC6F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0540594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C:\ATXT\MON\M19\Snapshot(3).png">
            <a:extLst>
              <a:ext uri="{FF2B5EF4-FFF2-40B4-BE49-F238E27FC236}">
                <a16:creationId xmlns:a16="http://schemas.microsoft.com/office/drawing/2014/main" id="{96FFAEBC-50F8-4174-87CD-17B94707D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5314" y="1193690"/>
            <a:ext cx="5412861" cy="5342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2FB1208-3AD1-4785-ACC9-C8D40A98CE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6864" y="833328"/>
            <a:ext cx="1295400" cy="360362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Moderne</a:t>
            </a:r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01288D60-7F27-4428-82BC-D2C4F20547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68175" y="1388953"/>
            <a:ext cx="1482725" cy="351895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Idealistisk</a:t>
            </a:r>
          </a:p>
        </p:txBody>
      </p:sp>
      <p:sp>
        <p:nvSpPr>
          <p:cNvPr id="11" name="Rectangle 11">
            <a:extLst>
              <a:ext uri="{FF2B5EF4-FFF2-40B4-BE49-F238E27FC236}">
                <a16:creationId xmlns:a16="http://schemas.microsoft.com/office/drawing/2014/main" id="{FB980A41-AA99-445C-9D17-EF0AC27FE4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25025" y="1350324"/>
            <a:ext cx="1512888" cy="385763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Materialistisk</a:t>
            </a:r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05810D8D-32E9-4C98-A8A4-B4DA1B01AB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64692" y="6341877"/>
            <a:ext cx="1330325" cy="360362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Tradisjonell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BAE19AD0-37E1-4CF9-AE82-628CAD5FCF1B}"/>
              </a:ext>
            </a:extLst>
          </p:cNvPr>
          <p:cNvSpPr/>
          <p:nvPr/>
        </p:nvSpPr>
        <p:spPr>
          <a:xfrm>
            <a:off x="9131687" y="1696240"/>
            <a:ext cx="2638426" cy="4924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ljepriskrakket  2014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t skremt – fort glem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nanskrisen 2008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mmet hardt internasjonalt,                    men rammet Norge i begrenset gra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ppekrise med bank- og boligkollaps 1987-199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to første årene ga små verdiendring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……Men så kraftig materialistisk/egoistisk verdiforskyving</a:t>
            </a:r>
          </a:p>
        </p:txBody>
      </p:sp>
      <p:sp>
        <p:nvSpPr>
          <p:cNvPr id="17" name="TextBox 2">
            <a:extLst>
              <a:ext uri="{FF2B5EF4-FFF2-40B4-BE49-F238E27FC236}">
                <a16:creationId xmlns:a16="http://schemas.microsoft.com/office/drawing/2014/main" id="{D4B00A1D-FA0D-423E-AE1C-72AB605F0068}"/>
              </a:ext>
            </a:extLst>
          </p:cNvPr>
          <p:cNvSpPr txBox="1"/>
          <p:nvPr/>
        </p:nvSpPr>
        <p:spPr>
          <a:xfrm>
            <a:off x="545911" y="2528642"/>
            <a:ext cx="2797790" cy="1754326"/>
          </a:xfrm>
          <a:prstGeom prst="rect">
            <a:avLst/>
          </a:prstGeom>
          <a:solidFill>
            <a:schemeClr val="bg1">
              <a:lumMod val="75000"/>
              <a:alpha val="29000"/>
            </a:schemeClr>
          </a:solidFill>
          <a:ln>
            <a:noFill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Økonomiske kriser</a:t>
            </a: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pp for moderne tendens + tendens til økt materialism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ittel 5">
            <a:extLst>
              <a:ext uri="{FF2B5EF4-FFF2-40B4-BE49-F238E27FC236}">
                <a16:creationId xmlns:a16="http://schemas.microsoft.com/office/drawing/2014/main" id="{CCC6F927-410E-4837-A36B-939975916662}"/>
              </a:ext>
            </a:extLst>
          </p:cNvPr>
          <p:cNvSpPr txBox="1">
            <a:spLocks/>
          </p:cNvSpPr>
          <p:nvPr/>
        </p:nvSpPr>
        <p:spPr>
          <a:xfrm>
            <a:off x="1618681" y="383302"/>
            <a:ext cx="9642745" cy="369332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all" spc="12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Bevegelser i verdikartet relatert til økonomisk kriser  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0CBA390A-9E07-4A6E-8E5E-BC43FC0D0966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683826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200A53-2877-4A95-B7C9-99212D61751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A189CE0-67AA-42A9-BDCB-DA6692C48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127" y="419222"/>
            <a:ext cx="10249803" cy="46166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 sz="2400" dirty="0"/>
              <a:t>I 2019/20 fortsetter miljøbekymringen å øke</a:t>
            </a:r>
          </a:p>
        </p:txBody>
      </p:sp>
      <p:graphicFrame>
        <p:nvGraphicFramePr>
          <p:cNvPr id="17" name="Chart 6">
            <a:extLst>
              <a:ext uri="{FF2B5EF4-FFF2-40B4-BE49-F238E27FC236}">
                <a16:creationId xmlns:a16="http://schemas.microsoft.com/office/drawing/2014/main" id="{BAD19F1C-CE6D-4DCC-BEC0-857AFEBEC03F}"/>
              </a:ext>
            </a:extLst>
          </p:cNvPr>
          <p:cNvGraphicFramePr>
            <a:graphicFrameLocks/>
          </p:cNvGraphicFramePr>
          <p:nvPr/>
        </p:nvGraphicFramePr>
        <p:xfrm>
          <a:off x="3013028" y="1606200"/>
          <a:ext cx="8986705" cy="50162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09C80471-7975-4261-BC41-6E5013373AE1}"/>
              </a:ext>
            </a:extLst>
          </p:cNvPr>
          <p:cNvSpPr/>
          <p:nvPr/>
        </p:nvSpPr>
        <p:spPr>
          <a:xfrm>
            <a:off x="2771465" y="1148368"/>
            <a:ext cx="684737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r er fire holdninger om klima og miljøsituasjon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vilken oppfatning ligger nærmest din egen?</a:t>
            </a:r>
          </a:p>
        </p:txBody>
      </p:sp>
      <p:sp>
        <p:nvSpPr>
          <p:cNvPr id="18" name="Title 6">
            <a:extLst>
              <a:ext uri="{FF2B5EF4-FFF2-40B4-BE49-F238E27FC236}">
                <a16:creationId xmlns:a16="http://schemas.microsoft.com/office/drawing/2014/main" id="{E34C93E8-263D-41A8-85CB-6ADF9ABE57BF}"/>
              </a:ext>
            </a:extLst>
          </p:cNvPr>
          <p:cNvSpPr txBox="1">
            <a:spLocks/>
          </p:cNvSpPr>
          <p:nvPr/>
        </p:nvSpPr>
        <p:spPr>
          <a:xfrm>
            <a:off x="192267" y="2146467"/>
            <a:ext cx="2891166" cy="2031325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12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….Men vi ser også hva som skjedde i 1989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12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da den økonomiske krisen fra1987-1993 fortsatte og gikk inn i sitt tredje og sitt fjerde år</a:t>
            </a:r>
            <a:r>
              <a:rPr kumimoji="0" lang="nb-NO" sz="1800" b="0" i="0" u="none" strike="noStrike" kern="1200" cap="all" spc="12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16519AAB-75A2-40B8-937A-ADE1B9DBBD33}"/>
              </a:ext>
            </a:extLst>
          </p:cNvPr>
          <p:cNvSpPr/>
          <p:nvPr/>
        </p:nvSpPr>
        <p:spPr>
          <a:xfrm>
            <a:off x="3150824" y="1679497"/>
            <a:ext cx="2045643" cy="47296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7916C902-6D6B-42E3-937C-FE774899415D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892426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4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0DD156A-355B-414C-955D-F804C8FCD7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3724" y="424592"/>
            <a:ext cx="8399269" cy="1232645"/>
          </a:xfrm>
          <a:noFill/>
        </p:spPr>
        <p:txBody>
          <a:bodyPr/>
          <a:lstStyle/>
          <a:p>
            <a:pPr>
              <a:spcBef>
                <a:spcPts val="0"/>
              </a:spcBef>
            </a:pPr>
            <a:r>
              <a:rPr lang="nb-NO" sz="2670" dirty="0">
                <a:solidFill>
                  <a:schemeClr val="tx1"/>
                </a:solidFill>
                <a:latin typeface="+mn-lt"/>
              </a:rPr>
              <a:t>I 2019/20* fortsatte vi i moderne endringsvillig retning  </a:t>
            </a:r>
          </a:p>
          <a:p>
            <a:pPr>
              <a:spcBef>
                <a:spcPts val="0"/>
              </a:spcBef>
            </a:pPr>
            <a:r>
              <a:rPr lang="nb-NO" sz="2670" dirty="0">
                <a:solidFill>
                  <a:schemeClr val="tx1"/>
                </a:solidFill>
                <a:latin typeface="+mn-lt"/>
              </a:rPr>
              <a:t>Men vi snudde fra idealisme til materialisme</a:t>
            </a:r>
          </a:p>
          <a:p>
            <a:pPr>
              <a:spcBef>
                <a:spcPts val="0"/>
              </a:spcBef>
            </a:pPr>
            <a:r>
              <a:rPr lang="nb-NO" sz="2670" dirty="0">
                <a:solidFill>
                  <a:schemeClr val="tx1"/>
                </a:solidFill>
                <a:latin typeface="+mn-lt"/>
              </a:rPr>
              <a:t>mot litt mer normløshet og nytelse</a:t>
            </a: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BA6DC595-9AA9-4F0E-962A-E9DDA445177B}"/>
              </a:ext>
            </a:extLst>
          </p:cNvPr>
          <p:cNvSpPr/>
          <p:nvPr/>
        </p:nvSpPr>
        <p:spPr bwMode="gray">
          <a:xfrm>
            <a:off x="7864248" y="111965"/>
            <a:ext cx="3828460" cy="434301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2F469C"/>
              </a:buClr>
              <a:buSzTx/>
              <a:buFontTx/>
              <a:buNone/>
              <a:tabLst/>
              <a:defRPr/>
            </a:pPr>
            <a:endParaRPr kumimoji="0" lang="nb-NO" sz="26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CACCCC98-E0A3-4E37-B959-1BB38DDFF8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5201" y="3818570"/>
            <a:ext cx="3648363" cy="267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7620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067" b="1" i="0" u="none" strike="noStrike" kern="1200" cap="none" spc="0" normalizeH="0" baseline="0" noProof="0" dirty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Overlevelse                          Normfaste</a:t>
            </a:r>
          </a:p>
        </p:txBody>
      </p:sp>
      <p:sp>
        <p:nvSpPr>
          <p:cNvPr id="31" name="Rectangle 18">
            <a:extLst>
              <a:ext uri="{FF2B5EF4-FFF2-40B4-BE49-F238E27FC236}">
                <a16:creationId xmlns:a16="http://schemas.microsoft.com/office/drawing/2014/main" id="{95989C83-61AF-4742-851E-E1E1DAE1D0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3230" y="4072357"/>
            <a:ext cx="3426689" cy="267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7620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067" b="1" i="0" u="none" strike="noStrike" kern="1200" cap="none" spc="0" normalizeH="0" baseline="0" noProof="0" dirty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Tradisjonelle</a:t>
            </a:r>
          </a:p>
        </p:txBody>
      </p:sp>
      <p:pic>
        <p:nvPicPr>
          <p:cNvPr id="3" name="Bilde 2" descr="Et bilde som inneholder gress, utendørs, flygende, luft&#10;&#10;Automatisk generert beskrivelse">
            <a:extLst>
              <a:ext uri="{FF2B5EF4-FFF2-40B4-BE49-F238E27FC236}">
                <a16:creationId xmlns:a16="http://schemas.microsoft.com/office/drawing/2014/main" id="{07FB21C3-355B-4563-BF2C-058D9FA239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36" y="101932"/>
            <a:ext cx="11880128" cy="6554225"/>
          </a:xfrm>
          <a:prstGeom prst="rect">
            <a:avLst/>
          </a:prstGeom>
        </p:spPr>
      </p:pic>
      <p:sp>
        <p:nvSpPr>
          <p:cNvPr id="50" name="Forme libre : forme 22">
            <a:extLst>
              <a:ext uri="{FF2B5EF4-FFF2-40B4-BE49-F238E27FC236}">
                <a16:creationId xmlns:a16="http://schemas.microsoft.com/office/drawing/2014/main" id="{70802C1D-E2B6-4EF4-8382-DD9006693714}"/>
              </a:ext>
            </a:extLst>
          </p:cNvPr>
          <p:cNvSpPr/>
          <p:nvPr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Forme libre : forme 20">
            <a:extLst>
              <a:ext uri="{FF2B5EF4-FFF2-40B4-BE49-F238E27FC236}">
                <a16:creationId xmlns:a16="http://schemas.microsoft.com/office/drawing/2014/main" id="{D5872832-DFE1-412A-9183-3D0B9BF8C6CF}"/>
              </a:ext>
            </a:extLst>
          </p:cNvPr>
          <p:cNvSpPr/>
          <p:nvPr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2" name="Graphique 12">
            <a:extLst>
              <a:ext uri="{FF2B5EF4-FFF2-40B4-BE49-F238E27FC236}">
                <a16:creationId xmlns:a16="http://schemas.microsoft.com/office/drawing/2014/main" id="{4A601BEC-2D84-4A00-8F5A-F944611D37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86790" y="5344757"/>
            <a:ext cx="863743" cy="791160"/>
          </a:xfrm>
          <a:prstGeom prst="rect">
            <a:avLst/>
          </a:prstGeom>
        </p:spPr>
      </p:pic>
      <p:sp>
        <p:nvSpPr>
          <p:cNvPr id="53" name="Subtitle 1">
            <a:extLst>
              <a:ext uri="{FF2B5EF4-FFF2-40B4-BE49-F238E27FC236}">
                <a16:creationId xmlns:a16="http://schemas.microsoft.com/office/drawing/2014/main" id="{ACFF6D86-1644-4BA2-AEE1-7569287157C5}"/>
              </a:ext>
            </a:extLst>
          </p:cNvPr>
          <p:cNvSpPr txBox="1">
            <a:spLocks/>
          </p:cNvSpPr>
          <p:nvPr/>
        </p:nvSpPr>
        <p:spPr>
          <a:xfrm>
            <a:off x="1731637" y="5674252"/>
            <a:ext cx="9961071" cy="461665"/>
          </a:xfrm>
          <a:prstGeom prst="rect">
            <a:avLst/>
          </a:prstGeom>
        </p:spPr>
        <p:txBody>
          <a:bodyPr/>
          <a:lstStyle>
            <a:lvl1pPr marL="85725" indent="-85725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Char char=" 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oss håpe det går over om ikke alt for lenge 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0B672FBF-1D1E-4113-B09A-5EF550F319BD}"/>
              </a:ext>
            </a:extLst>
          </p:cNvPr>
          <p:cNvSpPr txBox="1"/>
          <p:nvPr/>
        </p:nvSpPr>
        <p:spPr>
          <a:xfrm>
            <a:off x="9531810" y="12963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284020766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rme libre : forme 12">
            <a:extLst>
              <a:ext uri="{FF2B5EF4-FFF2-40B4-BE49-F238E27FC236}">
                <a16:creationId xmlns:a16="http://schemas.microsoft.com/office/drawing/2014/main" id="{0D51008A-0879-4C49-BAFF-99C8937D5DB2}"/>
              </a:ext>
            </a:extLst>
          </p:cNvPr>
          <p:cNvSpPr/>
          <p:nvPr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2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orme libre : forme 13">
            <a:extLst>
              <a:ext uri="{FF2B5EF4-FFF2-40B4-BE49-F238E27FC236}">
                <a16:creationId xmlns:a16="http://schemas.microsoft.com/office/drawing/2014/main" id="{4747778E-578F-421E-BE19-F671323168C3}"/>
              </a:ext>
            </a:extLst>
          </p:cNvPr>
          <p:cNvSpPr/>
          <p:nvPr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2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8A7A8B2-1711-4E89-8925-DA49ADAF1D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093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88A7A8B2-1711-4E89-8925-DA49ADAF1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F78FA6-B8EF-46BB-9A79-56ABFA2FA5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4" name="Espace réservé du numéro de diapositive 23">
            <a:extLst>
              <a:ext uri="{FF2B5EF4-FFF2-40B4-BE49-F238E27FC236}">
                <a16:creationId xmlns:a16="http://schemas.microsoft.com/office/drawing/2014/main" id="{3435B3C3-079E-48EB-808A-101DEF0DA2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nb-NO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79BF5A7-8EA2-4439-A485-C99310C59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707" y="1094936"/>
            <a:ext cx="10421426" cy="784830"/>
          </a:xfrm>
          <a:noFill/>
        </p:spPr>
        <p:txBody>
          <a:bodyPr anchor="ctr"/>
          <a:lstStyle/>
          <a:p>
            <a:r>
              <a:rPr lang="nb-NO" sz="5000" dirty="0">
                <a:highlight>
                  <a:srgbClr val="000000"/>
                </a:highlight>
              </a:rPr>
              <a:t>Helseriktig kosthold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578DB099-FB64-4249-9754-00C2551961E2}"/>
              </a:ext>
            </a:extLst>
          </p:cNvPr>
          <p:cNvSpPr txBox="1"/>
          <p:nvPr/>
        </p:nvSpPr>
        <p:spPr>
          <a:xfrm>
            <a:off x="9573446" y="11669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65685582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D84D0FF-91DB-4DDA-B7CC-BD9160A485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323" y="489915"/>
            <a:ext cx="10415959" cy="677108"/>
          </a:xfrm>
        </p:spPr>
        <p:txBody>
          <a:bodyPr/>
          <a:lstStyle/>
          <a:p>
            <a:r>
              <a:rPr lang="nb-NO" sz="2400" dirty="0"/>
              <a:t>Interessen  for helseriktig kosthold har steget over lang tid</a:t>
            </a:r>
            <a:br>
              <a:rPr lang="nb-NO" sz="2400" dirty="0"/>
            </a:br>
            <a:r>
              <a:rPr lang="nb-NO" sz="2000" dirty="0"/>
              <a:t>siden 2011 har  nivået svinget rundt 60% meget/ganske interessert </a:t>
            </a:r>
          </a:p>
        </p:txBody>
      </p:sp>
      <p:graphicFrame>
        <p:nvGraphicFramePr>
          <p:cNvPr id="5" name="Chart 1">
            <a:extLst>
              <a:ext uri="{FF2B5EF4-FFF2-40B4-BE49-F238E27FC236}">
                <a16:creationId xmlns:a16="http://schemas.microsoft.com/office/drawing/2014/main" id="{3425739F-F2BC-4FE0-BE6A-7B071312BE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6986698"/>
              </p:ext>
            </p:extLst>
          </p:nvPr>
        </p:nvGraphicFramePr>
        <p:xfrm>
          <a:off x="572323" y="2808370"/>
          <a:ext cx="7009775" cy="3183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8">
            <a:extLst>
              <a:ext uri="{FF2B5EF4-FFF2-40B4-BE49-F238E27FC236}">
                <a16:creationId xmlns:a16="http://schemas.microsoft.com/office/drawing/2014/main" id="{05B7783F-7F4F-4652-9F88-E49124CA14CB}"/>
              </a:ext>
            </a:extLst>
          </p:cNvPr>
          <p:cNvSpPr txBox="1"/>
          <p:nvPr/>
        </p:nvSpPr>
        <p:spPr>
          <a:xfrm>
            <a:off x="1528609" y="1983436"/>
            <a:ext cx="5967786" cy="735756"/>
          </a:xfrm>
          <a:prstGeom prst="rect">
            <a:avLst/>
          </a:prstGeom>
          <a:noFill/>
        </p:spPr>
        <p:txBody>
          <a:bodyPr vert="horz" wrap="square" lIns="90000" tIns="90000" rIns="90000" bIns="90000" rtlCol="0">
            <a:spAutoFit/>
          </a:bodyPr>
          <a:lstStyle/>
          <a:p>
            <a:pPr marL="4763" algn="ctr"/>
            <a:r>
              <a:rPr lang="nb-NO" sz="1200" b="1" dirty="0">
                <a:solidFill>
                  <a:srgbClr val="222223">
                    <a:lumMod val="75000"/>
                    <a:lumOff val="25000"/>
                  </a:srgbClr>
                </a:solidFill>
              </a:rPr>
              <a:t>Hvor interessert er du i følgende ting…..? </a:t>
            </a:r>
          </a:p>
          <a:p>
            <a:pPr marL="4763" algn="ctr"/>
            <a:r>
              <a:rPr lang="nb-NO" sz="1200" b="1" cap="all" dirty="0">
                <a:solidFill>
                  <a:srgbClr val="222223">
                    <a:lumMod val="75000"/>
                    <a:lumOff val="25000"/>
                  </a:srgbClr>
                </a:solidFill>
              </a:rPr>
              <a:t>Helseriktig kosthold</a:t>
            </a:r>
          </a:p>
          <a:p>
            <a:pPr marL="4763" algn="ctr"/>
            <a:r>
              <a:rPr lang="nb-NO" sz="1200" b="1" dirty="0">
                <a:solidFill>
                  <a:srgbClr val="222223">
                    <a:lumMod val="75000"/>
                    <a:lumOff val="25000"/>
                  </a:srgbClr>
                </a:solidFill>
              </a:rPr>
              <a:t>Meget/ganske interessert</a:t>
            </a:r>
          </a:p>
        </p:txBody>
      </p:sp>
      <p:graphicFrame>
        <p:nvGraphicFramePr>
          <p:cNvPr id="7" name="Chart 1">
            <a:extLst>
              <a:ext uri="{FF2B5EF4-FFF2-40B4-BE49-F238E27FC236}">
                <a16:creationId xmlns:a16="http://schemas.microsoft.com/office/drawing/2014/main" id="{D9D53EEF-919C-4C15-97C9-4514A49F7E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3082301"/>
              </p:ext>
            </p:extLst>
          </p:nvPr>
        </p:nvGraphicFramePr>
        <p:xfrm>
          <a:off x="7867568" y="2351314"/>
          <a:ext cx="3976090" cy="4244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768295BA-E8F7-437A-8B3F-5403CCBB1EBE}"/>
              </a:ext>
            </a:extLst>
          </p:cNvPr>
          <p:cNvSpPr/>
          <p:nvPr/>
        </p:nvSpPr>
        <p:spPr>
          <a:xfrm>
            <a:off x="7867568" y="1337105"/>
            <a:ext cx="3976089" cy="830997"/>
          </a:xfrm>
          <a:prstGeom prst="rect">
            <a:avLst/>
          </a:prstGeom>
          <a:solidFill>
            <a:srgbClr val="E2E2E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600" dirty="0">
                <a:solidFill>
                  <a:prstClr val="black">
                    <a:lumMod val="90000"/>
                    <a:lumOff val="10000"/>
                  </a:prstClr>
                </a:solidFill>
                <a:latin typeface="Arial"/>
              </a:rPr>
              <a:t>Det er direkte sammenheng mellom mosjons- og treningsiver og interessen for helseriktig kosthold</a:t>
            </a: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4AA7FCA-C9DD-46A9-9466-7E78B1B2D48B}"/>
              </a:ext>
            </a:extLst>
          </p:cNvPr>
          <p:cNvSpPr txBox="1"/>
          <p:nvPr/>
        </p:nvSpPr>
        <p:spPr>
          <a:xfrm>
            <a:off x="8055971" y="2168102"/>
            <a:ext cx="3599284" cy="551090"/>
          </a:xfrm>
          <a:prstGeom prst="rect">
            <a:avLst/>
          </a:prstGeom>
          <a:noFill/>
        </p:spPr>
        <p:txBody>
          <a:bodyPr vert="horz" wrap="square" lIns="90000" tIns="90000" rIns="90000" bIns="90000" rtlCol="0">
            <a:spAutoFit/>
          </a:bodyPr>
          <a:lstStyle/>
          <a:p>
            <a:pPr marL="4763" algn="ctr"/>
            <a:r>
              <a:rPr lang="nb-NO" sz="1200" b="1" dirty="0">
                <a:solidFill>
                  <a:srgbClr val="222223">
                    <a:lumMod val="75000"/>
                    <a:lumOff val="25000"/>
                  </a:srgbClr>
                </a:solidFill>
              </a:rPr>
              <a:t>Meget/ganske interessert i helseriktig kosthold i 2019  blant følgende målgrupper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8051D130-E2B2-4B46-9242-2ABFA9D9A8DD}"/>
              </a:ext>
            </a:extLst>
          </p:cNvPr>
          <p:cNvSpPr txBox="1"/>
          <p:nvPr/>
        </p:nvSpPr>
        <p:spPr>
          <a:xfrm>
            <a:off x="9516296" y="151361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590486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P spid="8" grpId="0" animBg="1"/>
      <p:bldP spid="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FFFED31B-AC35-4D87-B76B-0928958BE6E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55481" y="6415202"/>
            <a:ext cx="360037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nb-NO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C9079EBF-9B98-4E45-A71D-731723EB39DC}"/>
              </a:ext>
            </a:extLst>
          </p:cNvPr>
          <p:cNvGrpSpPr/>
          <p:nvPr/>
        </p:nvGrpSpPr>
        <p:grpSpPr>
          <a:xfrm>
            <a:off x="10150834" y="124004"/>
            <a:ext cx="1885826" cy="1989773"/>
            <a:chOff x="2689543" y="1651754"/>
            <a:chExt cx="1885826" cy="1989773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7757BA08-9817-4FE1-8EB1-C45510FAE1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19731" y="1651754"/>
              <a:ext cx="425450" cy="425450"/>
            </a:xfrm>
            <a:custGeom>
              <a:avLst/>
              <a:gdLst>
                <a:gd name="T0" fmla="*/ 173 w 346"/>
                <a:gd name="T1" fmla="*/ 0 h 346"/>
                <a:gd name="T2" fmla="*/ 0 w 346"/>
                <a:gd name="T3" fmla="*/ 173 h 346"/>
                <a:gd name="T4" fmla="*/ 173 w 346"/>
                <a:gd name="T5" fmla="*/ 346 h 346"/>
                <a:gd name="T6" fmla="*/ 346 w 346"/>
                <a:gd name="T7" fmla="*/ 173 h 346"/>
                <a:gd name="T8" fmla="*/ 173 w 346"/>
                <a:gd name="T9" fmla="*/ 0 h 346"/>
                <a:gd name="T10" fmla="*/ 201 w 346"/>
                <a:gd name="T11" fmla="*/ 247 h 346"/>
                <a:gd name="T12" fmla="*/ 128 w 346"/>
                <a:gd name="T13" fmla="*/ 290 h 346"/>
                <a:gd name="T14" fmla="*/ 111 w 346"/>
                <a:gd name="T15" fmla="*/ 278 h 346"/>
                <a:gd name="T16" fmla="*/ 112 w 346"/>
                <a:gd name="T17" fmla="*/ 272 h 346"/>
                <a:gd name="T18" fmla="*/ 153 w 346"/>
                <a:gd name="T19" fmla="*/ 172 h 346"/>
                <a:gd name="T20" fmla="*/ 150 w 346"/>
                <a:gd name="T21" fmla="*/ 165 h 346"/>
                <a:gd name="T22" fmla="*/ 126 w 346"/>
                <a:gd name="T23" fmla="*/ 175 h 346"/>
                <a:gd name="T24" fmla="*/ 121 w 346"/>
                <a:gd name="T25" fmla="*/ 173 h 346"/>
                <a:gd name="T26" fmla="*/ 126 w 346"/>
                <a:gd name="T27" fmla="*/ 163 h 346"/>
                <a:gd name="T28" fmla="*/ 195 w 346"/>
                <a:gd name="T29" fmla="*/ 128 h 346"/>
                <a:gd name="T30" fmla="*/ 205 w 346"/>
                <a:gd name="T31" fmla="*/ 141 h 346"/>
                <a:gd name="T32" fmla="*/ 201 w 346"/>
                <a:gd name="T33" fmla="*/ 154 h 346"/>
                <a:gd name="T34" fmla="*/ 164 w 346"/>
                <a:gd name="T35" fmla="*/ 247 h 346"/>
                <a:gd name="T36" fmla="*/ 169 w 346"/>
                <a:gd name="T37" fmla="*/ 252 h 346"/>
                <a:gd name="T38" fmla="*/ 196 w 346"/>
                <a:gd name="T39" fmla="*/ 235 h 346"/>
                <a:gd name="T40" fmla="*/ 204 w 346"/>
                <a:gd name="T41" fmla="*/ 231 h 346"/>
                <a:gd name="T42" fmla="*/ 207 w 346"/>
                <a:gd name="T43" fmla="*/ 234 h 346"/>
                <a:gd name="T44" fmla="*/ 201 w 346"/>
                <a:gd name="T45" fmla="*/ 247 h 346"/>
                <a:gd name="T46" fmla="*/ 192 w 346"/>
                <a:gd name="T47" fmla="*/ 98 h 346"/>
                <a:gd name="T48" fmla="*/ 182 w 346"/>
                <a:gd name="T49" fmla="*/ 95 h 346"/>
                <a:gd name="T50" fmla="*/ 173 w 346"/>
                <a:gd name="T51" fmla="*/ 76 h 346"/>
                <a:gd name="T52" fmla="*/ 186 w 346"/>
                <a:gd name="T53" fmla="*/ 52 h 346"/>
                <a:gd name="T54" fmla="*/ 198 w 346"/>
                <a:gd name="T55" fmla="*/ 48 h 346"/>
                <a:gd name="T56" fmla="*/ 219 w 346"/>
                <a:gd name="T57" fmla="*/ 70 h 346"/>
                <a:gd name="T58" fmla="*/ 192 w 346"/>
                <a:gd name="T59" fmla="*/ 9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6" h="346">
                  <a:moveTo>
                    <a:pt x="173" y="0"/>
                  </a:moveTo>
                  <a:cubicBezTo>
                    <a:pt x="78" y="0"/>
                    <a:pt x="0" y="78"/>
                    <a:pt x="0" y="173"/>
                  </a:cubicBezTo>
                  <a:cubicBezTo>
                    <a:pt x="0" y="268"/>
                    <a:pt x="78" y="346"/>
                    <a:pt x="173" y="346"/>
                  </a:cubicBezTo>
                  <a:cubicBezTo>
                    <a:pt x="268" y="346"/>
                    <a:pt x="346" y="268"/>
                    <a:pt x="346" y="173"/>
                  </a:cubicBezTo>
                  <a:cubicBezTo>
                    <a:pt x="346" y="78"/>
                    <a:pt x="268" y="0"/>
                    <a:pt x="173" y="0"/>
                  </a:cubicBezTo>
                  <a:close/>
                  <a:moveTo>
                    <a:pt x="201" y="247"/>
                  </a:moveTo>
                  <a:cubicBezTo>
                    <a:pt x="182" y="270"/>
                    <a:pt x="143" y="290"/>
                    <a:pt x="128" y="290"/>
                  </a:cubicBezTo>
                  <a:cubicBezTo>
                    <a:pt x="122" y="290"/>
                    <a:pt x="111" y="284"/>
                    <a:pt x="111" y="278"/>
                  </a:cubicBezTo>
                  <a:cubicBezTo>
                    <a:pt x="111" y="276"/>
                    <a:pt x="111" y="276"/>
                    <a:pt x="112" y="272"/>
                  </a:cubicBezTo>
                  <a:cubicBezTo>
                    <a:pt x="126" y="238"/>
                    <a:pt x="138" y="213"/>
                    <a:pt x="153" y="172"/>
                  </a:cubicBezTo>
                  <a:cubicBezTo>
                    <a:pt x="154" y="169"/>
                    <a:pt x="153" y="165"/>
                    <a:pt x="150" y="165"/>
                  </a:cubicBezTo>
                  <a:cubicBezTo>
                    <a:pt x="146" y="165"/>
                    <a:pt x="136" y="169"/>
                    <a:pt x="126" y="175"/>
                  </a:cubicBezTo>
                  <a:cubicBezTo>
                    <a:pt x="125" y="177"/>
                    <a:pt x="121" y="174"/>
                    <a:pt x="121" y="173"/>
                  </a:cubicBezTo>
                  <a:cubicBezTo>
                    <a:pt x="121" y="170"/>
                    <a:pt x="123" y="167"/>
                    <a:pt x="126" y="163"/>
                  </a:cubicBezTo>
                  <a:cubicBezTo>
                    <a:pt x="134" y="154"/>
                    <a:pt x="171" y="128"/>
                    <a:pt x="195" y="128"/>
                  </a:cubicBezTo>
                  <a:cubicBezTo>
                    <a:pt x="199" y="128"/>
                    <a:pt x="205" y="137"/>
                    <a:pt x="205" y="141"/>
                  </a:cubicBezTo>
                  <a:cubicBezTo>
                    <a:pt x="205" y="144"/>
                    <a:pt x="202" y="151"/>
                    <a:pt x="201" y="154"/>
                  </a:cubicBezTo>
                  <a:cubicBezTo>
                    <a:pt x="182" y="197"/>
                    <a:pt x="176" y="218"/>
                    <a:pt x="164" y="247"/>
                  </a:cubicBezTo>
                  <a:cubicBezTo>
                    <a:pt x="163" y="251"/>
                    <a:pt x="166" y="252"/>
                    <a:pt x="169" y="252"/>
                  </a:cubicBezTo>
                  <a:cubicBezTo>
                    <a:pt x="172" y="252"/>
                    <a:pt x="182" y="247"/>
                    <a:pt x="196" y="235"/>
                  </a:cubicBezTo>
                  <a:cubicBezTo>
                    <a:pt x="201" y="231"/>
                    <a:pt x="202" y="231"/>
                    <a:pt x="204" y="231"/>
                  </a:cubicBezTo>
                  <a:cubicBezTo>
                    <a:pt x="205" y="231"/>
                    <a:pt x="207" y="232"/>
                    <a:pt x="207" y="234"/>
                  </a:cubicBezTo>
                  <a:cubicBezTo>
                    <a:pt x="207" y="237"/>
                    <a:pt x="205" y="242"/>
                    <a:pt x="201" y="247"/>
                  </a:cubicBezTo>
                  <a:close/>
                  <a:moveTo>
                    <a:pt x="192" y="98"/>
                  </a:moveTo>
                  <a:cubicBezTo>
                    <a:pt x="188" y="98"/>
                    <a:pt x="185" y="96"/>
                    <a:pt x="182" y="95"/>
                  </a:cubicBezTo>
                  <a:cubicBezTo>
                    <a:pt x="177" y="91"/>
                    <a:pt x="173" y="85"/>
                    <a:pt x="173" y="76"/>
                  </a:cubicBezTo>
                  <a:cubicBezTo>
                    <a:pt x="173" y="65"/>
                    <a:pt x="179" y="57"/>
                    <a:pt x="186" y="52"/>
                  </a:cubicBezTo>
                  <a:cubicBezTo>
                    <a:pt x="190" y="49"/>
                    <a:pt x="195" y="48"/>
                    <a:pt x="198" y="48"/>
                  </a:cubicBezTo>
                  <a:cubicBezTo>
                    <a:pt x="213" y="48"/>
                    <a:pt x="219" y="59"/>
                    <a:pt x="219" y="70"/>
                  </a:cubicBezTo>
                  <a:cubicBezTo>
                    <a:pt x="219" y="82"/>
                    <a:pt x="206" y="98"/>
                    <a:pt x="192" y="98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nglecia Pro Txt"/>
                <a:ea typeface="+mn-ea"/>
                <a:cs typeface="+mn-c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8383C75-7426-4EDA-81B0-5AA9067DBA99}"/>
                </a:ext>
              </a:extLst>
            </p:cNvPr>
            <p:cNvSpPr/>
            <p:nvPr/>
          </p:nvSpPr>
          <p:spPr>
            <a:xfrm>
              <a:off x="2689543" y="2010311"/>
              <a:ext cx="1885826" cy="1631216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9D9C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TO CHANGE</a:t>
              </a:r>
              <a:br>
                <a:rPr kumimoji="0" lang="nb-NO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9D9C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</a:br>
              <a:r>
                <a:rPr kumimoji="0" lang="nb-NO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9D9C"/>
                  </a:solidFill>
                  <a:effectLst/>
                  <a:uLnTx/>
                  <a:uFillTx/>
                  <a:latin typeface="Arial Black"/>
                  <a:ea typeface="+mn-ea"/>
                  <a:cs typeface="+mn-cs"/>
                </a:rPr>
                <a:t>THE VISUAL: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b-NO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move the visual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b-NO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ick on the icon </a:t>
              </a:r>
              <a:br>
                <a:rPr kumimoji="0" lang="nb-NO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nb-NO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 the center of the gray block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b-NO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ort a visual</a:t>
              </a:r>
              <a:br>
                <a:rPr kumimoji="0" lang="nb-NO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nb-NO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rom your computer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b-NO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lect the visual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b-NO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ight click &gt; “background”</a:t>
              </a:r>
            </a:p>
          </p:txBody>
        </p:sp>
      </p:grpSp>
      <p:sp>
        <p:nvSpPr>
          <p:cNvPr id="28" name="Espace réservé du contenu 12">
            <a:extLst>
              <a:ext uri="{FF2B5EF4-FFF2-40B4-BE49-F238E27FC236}">
                <a16:creationId xmlns:a16="http://schemas.microsoft.com/office/drawing/2014/main" id="{0F471BD4-1184-4065-B20A-ADDEDE6A403B}"/>
              </a:ext>
            </a:extLst>
          </p:cNvPr>
          <p:cNvSpPr txBox="1">
            <a:spLocks/>
          </p:cNvSpPr>
          <p:nvPr/>
        </p:nvSpPr>
        <p:spPr>
          <a:xfrm>
            <a:off x="334069" y="1242747"/>
            <a:ext cx="6914631" cy="5146388"/>
          </a:xfrm>
          <a:prstGeom prst="rect">
            <a:avLst/>
          </a:prstGeom>
        </p:spPr>
        <p:txBody>
          <a:bodyPr/>
          <a:lstStyle>
            <a:lvl1pPr marL="85725" indent="-85725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Char char=" 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nb-NO" alt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kilde</a:t>
            </a:r>
            <a:r>
              <a:rPr kumimoji="0" lang="nb-NO" altLang="nb-NO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                                                                     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nb-NO" alt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rsk Monitor er en befolkningsundersøkelse basert på intervjuing   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nb-NO" alt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ålgruppe/utvalg                                                           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nb-NO" alt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ndsrepresentativt utvalg av befolkningen mellom 15 - 99 år.                                                           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nb-NO" alt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tall intervju i siste intervjurunde (2019/20): 3710 stk. herunder 740 i aldersgruppe 15-24 år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nb-NO" alt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dsperiode/feltarbeid                                                                               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nb-NO" alt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ste intervjurunde, oktober 2019 – februar 2020. Tidligere intervjurunder gjennomført i samme tidsperioder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nb-NO" alt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innsamlingsmetode                                                                       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nb-NO" alt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nledende telefonintervju – etterfulgt av besvarelse av tilsendt postalt selvutfyllingsskjema fra samme respondent 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nb-NO" alt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iemetode                                                                                     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r>
              <a:rPr kumimoji="0" lang="nb-NO" alt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erialet er veiet på kjønn, alder og geografi i henhold til offisiell statistikk</a:t>
            </a:r>
          </a:p>
          <a:p>
            <a:pPr marL="4763" marR="0" lvl="0" indent="-85725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Char char=" "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itre 11">
            <a:extLst>
              <a:ext uri="{FF2B5EF4-FFF2-40B4-BE49-F238E27FC236}">
                <a16:creationId xmlns:a16="http://schemas.microsoft.com/office/drawing/2014/main" id="{5E7366FD-76AF-4774-BE01-B79CA2A1C468}"/>
              </a:ext>
            </a:extLst>
          </p:cNvPr>
          <p:cNvSpPr txBox="1">
            <a:spLocks/>
          </p:cNvSpPr>
          <p:nvPr/>
        </p:nvSpPr>
        <p:spPr>
          <a:xfrm>
            <a:off x="345278" y="285986"/>
            <a:ext cx="3687075" cy="425451"/>
          </a:xfrm>
          <a:prstGeom prst="rect">
            <a:avLst/>
          </a:prstGeom>
          <a:noFill/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all" spc="30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Utvalg og metode</a:t>
            </a:r>
          </a:p>
        </p:txBody>
      </p:sp>
      <p:sp>
        <p:nvSpPr>
          <p:cNvPr id="17" name="Titre 11">
            <a:extLst>
              <a:ext uri="{FF2B5EF4-FFF2-40B4-BE49-F238E27FC236}">
                <a16:creationId xmlns:a16="http://schemas.microsoft.com/office/drawing/2014/main" id="{5BB4D43F-A8CD-45F7-A3BF-7254C80A73D0}"/>
              </a:ext>
            </a:extLst>
          </p:cNvPr>
          <p:cNvSpPr txBox="1">
            <a:spLocks/>
          </p:cNvSpPr>
          <p:nvPr/>
        </p:nvSpPr>
        <p:spPr>
          <a:xfrm>
            <a:off x="347748" y="656587"/>
            <a:ext cx="4585958" cy="425451"/>
          </a:xfrm>
          <a:prstGeom prst="rect">
            <a:avLst/>
          </a:prstGeom>
          <a:noFill/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all" spc="12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 Black"/>
                <a:ea typeface="+mj-ea"/>
                <a:cs typeface="+mj-cs"/>
              </a:rPr>
              <a:t>I korte trekk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5A5665FB-0ADF-491B-8E40-BDDED9C41B4B}"/>
              </a:ext>
            </a:extLst>
          </p:cNvPr>
          <p:cNvSpPr txBox="1"/>
          <p:nvPr/>
        </p:nvSpPr>
        <p:spPr>
          <a:xfrm>
            <a:off x="10217592" y="222949"/>
            <a:ext cx="17735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2020</a:t>
            </a:r>
          </a:p>
        </p:txBody>
      </p:sp>
      <p:sp>
        <p:nvSpPr>
          <p:cNvPr id="40" name="TekstSylinder 39">
            <a:extLst>
              <a:ext uri="{FF2B5EF4-FFF2-40B4-BE49-F238E27FC236}">
                <a16:creationId xmlns:a16="http://schemas.microsoft.com/office/drawing/2014/main" id="{64D27CCE-3E1E-480A-9262-808B1436D6C2}"/>
              </a:ext>
            </a:extLst>
          </p:cNvPr>
          <p:cNvSpPr txBox="1"/>
          <p:nvPr/>
        </p:nvSpPr>
        <p:spPr>
          <a:xfrm>
            <a:off x="10238478" y="213459"/>
            <a:ext cx="17735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2020</a:t>
            </a:r>
          </a:p>
        </p:txBody>
      </p:sp>
      <p:pic>
        <p:nvPicPr>
          <p:cNvPr id="6" name="Plassholder for bilde 5" descr="Et bilde som inneholder elektronikk, krets, sitter, lukk&#10;&#10;Automatisk generert beskrivelse">
            <a:extLst>
              <a:ext uri="{FF2B5EF4-FFF2-40B4-BE49-F238E27FC236}">
                <a16:creationId xmlns:a16="http://schemas.microsoft.com/office/drawing/2014/main" id="{AA70E295-D574-4B18-8785-14478EAAFB7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64087" y="113568"/>
            <a:ext cx="4314344" cy="6630864"/>
          </a:xfrm>
        </p:spPr>
      </p:pic>
      <p:sp>
        <p:nvSpPr>
          <p:cNvPr id="20" name="TekstSylinder 19">
            <a:extLst>
              <a:ext uri="{FF2B5EF4-FFF2-40B4-BE49-F238E27FC236}">
                <a16:creationId xmlns:a16="http://schemas.microsoft.com/office/drawing/2014/main" id="{64FD9C82-BA52-4955-A5CF-C4F3A1078D14}"/>
              </a:ext>
            </a:extLst>
          </p:cNvPr>
          <p:cNvSpPr txBox="1"/>
          <p:nvPr/>
        </p:nvSpPr>
        <p:spPr>
          <a:xfrm>
            <a:off x="10238478" y="256819"/>
            <a:ext cx="17735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27828356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>
            <a:extLst>
              <a:ext uri="{FF2B5EF4-FFF2-40B4-BE49-F238E27FC236}">
                <a16:creationId xmlns:a16="http://schemas.microsoft.com/office/drawing/2014/main" id="{01A12286-8DCC-4B6F-A9D2-B68C8AF894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2012" y="1909762"/>
            <a:ext cx="2847975" cy="3038475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C018BE58-0451-4265-87FF-FD454CC6E8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0389" y="4147818"/>
            <a:ext cx="2212103" cy="1477685"/>
          </a:xfrm>
          <a:prstGeom prst="rect">
            <a:avLst/>
          </a:prstGeom>
          <a:ln w="12700">
            <a:solidFill>
              <a:srgbClr val="000000"/>
            </a:solidFill>
          </a:ln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8D321B34-7E3C-4461-95AE-4F322039D67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0389" y="1194407"/>
            <a:ext cx="2212103" cy="1600838"/>
          </a:xfrm>
          <a:prstGeom prst="rect">
            <a:avLst/>
          </a:prstGeom>
          <a:ln w="6350">
            <a:solidFill>
              <a:srgbClr val="000000"/>
            </a:solidFill>
          </a:ln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DF799785-44DE-4CCB-B999-08E1BE142D4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7596" y="1220803"/>
            <a:ext cx="2356950" cy="1574442"/>
          </a:xfrm>
          <a:prstGeom prst="rect">
            <a:avLst/>
          </a:prstGeom>
          <a:ln w="12700">
            <a:solidFill>
              <a:srgbClr val="000000"/>
            </a:solidFill>
          </a:ln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20CEE3DA-0591-496C-9016-2F6F8957CCF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7596" y="4086241"/>
            <a:ext cx="2396464" cy="1600837"/>
          </a:xfrm>
          <a:prstGeom prst="rect">
            <a:avLst/>
          </a:prstGeom>
          <a:ln w="12700">
            <a:solidFill>
              <a:srgbClr val="000000"/>
            </a:solidFill>
          </a:ln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085F05ED-0E55-4C61-8A79-EEDD32359A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70834" y="2916860"/>
            <a:ext cx="1331211" cy="1109343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21AE0CB-16A0-4109-8036-4714F17B9025}"/>
              </a:ext>
            </a:extLst>
          </p:cNvPr>
          <p:cNvSpPr txBox="1">
            <a:spLocks/>
          </p:cNvSpPr>
          <p:nvPr/>
        </p:nvSpPr>
        <p:spPr>
          <a:xfrm>
            <a:off x="350874" y="402797"/>
            <a:ext cx="11206717" cy="918524"/>
          </a:xfrm>
          <a:prstGeom prst="rect">
            <a:avLst/>
          </a:prstGeom>
        </p:spPr>
        <p:txBody>
          <a:bodyPr/>
          <a:lstStyle>
            <a:lvl1pPr marL="213637" indent="-213637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81292" indent="-223574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Geomanist Light" pitchFamily="50" charset="0"/>
              <a:buChar char="–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4296" indent="-178859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Geomanist Light" pitchFamily="50" charset="0"/>
              <a:buChar char="–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014" indent="-178859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Geomanist Light" pitchFamily="50" charset="0"/>
              <a:buChar char="–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731" indent="-178859" algn="l" defTabSz="715436" rtl="0" eaLnBrk="1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schemeClr val="tx1"/>
              </a:buClr>
              <a:buFont typeface="Geomanist Light" pitchFamily="50" charset="0"/>
              <a:buChar char="–"/>
              <a:defRPr sz="149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67450" indent="-178859" algn="l" defTabSz="7154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25168" indent="-178859" algn="l" defTabSz="7154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82886" indent="-178859" algn="l" defTabSz="7154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40604" indent="-178859" algn="l" defTabSz="7154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15436" rtl="0" eaLnBrk="1" fontAlgn="auto" latinLnBrk="0" hangingPunct="1">
              <a:lnSpc>
                <a:spcPct val="110000"/>
              </a:lnSpc>
              <a:spcBef>
                <a:spcPts val="204"/>
              </a:spcBef>
              <a:spcAft>
                <a:spcPts val="204"/>
              </a:spcAft>
              <a:buClr>
                <a:prstClr val="black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nb-NO" sz="21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RNE UTVIKLINGSORIENTERTE IDEALISTER ER MEST OPPTATT AV HELSERIKTIG KOSTHOLD OG TRADISJONELLE FOLKELIGE MATERIALISTER MINST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B5D6EA9B-C52A-4684-BD30-9778BE4A02FE}"/>
              </a:ext>
            </a:extLst>
          </p:cNvPr>
          <p:cNvSpPr txBox="1"/>
          <p:nvPr/>
        </p:nvSpPr>
        <p:spPr>
          <a:xfrm>
            <a:off x="9506771" y="111868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416330932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09837" y="582669"/>
            <a:ext cx="11462912" cy="1015663"/>
          </a:xfrm>
        </p:spPr>
        <p:txBody>
          <a:bodyPr/>
          <a:lstStyle/>
          <a:p>
            <a:r>
              <a:rPr lang="nb-NO" sz="2400" cap="none" dirty="0"/>
              <a:t>Nordmenns egenoppfatning av egen helse ble bedre og bedre gjennom mange år, </a:t>
            </a:r>
            <a:br>
              <a:rPr lang="nb-NO" sz="2400" cap="none" dirty="0"/>
            </a:br>
            <a:r>
              <a:rPr lang="nb-NO" sz="2400" cap="none" dirty="0"/>
              <a:t>men har falt svakt tilbake igjen etter 2015</a:t>
            </a:r>
            <a:br>
              <a:rPr lang="nb-NO" sz="2400" cap="none" dirty="0"/>
            </a:br>
            <a:r>
              <a:rPr lang="nb-NO" sz="1800" cap="none" dirty="0"/>
              <a:t>Særlig oppsiktsvekkende var de eldres forbedrede helse, men også her ser toppen nå ut til å være passert</a:t>
            </a:r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3842933087"/>
              </p:ext>
            </p:extLst>
          </p:nvPr>
        </p:nvGraphicFramePr>
        <p:xfrm>
          <a:off x="599355" y="2364162"/>
          <a:ext cx="8678203" cy="37832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Rectangle 16"/>
          <p:cNvSpPr/>
          <p:nvPr/>
        </p:nvSpPr>
        <p:spPr>
          <a:xfrm>
            <a:off x="5226892" y="17991"/>
            <a:ext cx="1674525" cy="10978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32345"/>
            <a:endParaRPr lang="nb-NO" sz="1600" dirty="0">
              <a:solidFill>
                <a:srgbClr val="222223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09836" y="2066415"/>
            <a:ext cx="7887832" cy="67323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20000" tIns="120000" rIns="120000" bIns="120000" rtlCol="0">
            <a:spAutoFit/>
          </a:bodyPr>
          <a:lstStyle/>
          <a:p>
            <a:pPr marL="6351" algn="ctr" defTabSz="1232345">
              <a:spcBef>
                <a:spcPts val="1600"/>
              </a:spcBef>
            </a:pPr>
            <a:r>
              <a:rPr lang="nb-NO" sz="1400" b="1" dirty="0">
                <a:solidFill>
                  <a:srgbClr val="222223">
                    <a:lumMod val="75000"/>
                    <a:lumOff val="25000"/>
                  </a:srgbClr>
                </a:solidFill>
                <a:latin typeface="Segoe UI"/>
              </a:rPr>
              <a:t>Hvordan vurderer du din egen helse?</a:t>
            </a:r>
            <a:br>
              <a:rPr lang="nb-NO" sz="1400" b="1" dirty="0">
                <a:solidFill>
                  <a:srgbClr val="222223">
                    <a:lumMod val="75000"/>
                    <a:lumOff val="25000"/>
                  </a:srgbClr>
                </a:solidFill>
                <a:latin typeface="Segoe UI"/>
              </a:rPr>
            </a:br>
            <a:r>
              <a:rPr lang="nb-NO" sz="1400" b="1" dirty="0">
                <a:solidFill>
                  <a:srgbClr val="222223">
                    <a:lumMod val="75000"/>
                    <a:lumOff val="25000"/>
                  </a:srgbClr>
                </a:solidFill>
                <a:latin typeface="Segoe UI"/>
              </a:rPr>
              <a:t>Meget god/god</a:t>
            </a:r>
          </a:p>
        </p:txBody>
      </p:sp>
      <p:sp>
        <p:nvSpPr>
          <p:cNvPr id="20" name="Rectangle 16">
            <a:extLst>
              <a:ext uri="{FF2B5EF4-FFF2-40B4-BE49-F238E27FC236}">
                <a16:creationId xmlns:a16="http://schemas.microsoft.com/office/drawing/2014/main" id="{DDBE62AD-1D0A-48F7-A703-15494C4D2DD2}"/>
              </a:ext>
            </a:extLst>
          </p:cNvPr>
          <p:cNvSpPr/>
          <p:nvPr/>
        </p:nvSpPr>
        <p:spPr>
          <a:xfrm>
            <a:off x="7539203" y="132438"/>
            <a:ext cx="1918744" cy="10978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32345"/>
            <a:endParaRPr lang="nb-NO" sz="1600" dirty="0">
              <a:solidFill>
                <a:srgbClr val="222223"/>
              </a:solidFill>
              <a:latin typeface="Segoe UI"/>
            </a:endParaRP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E2258F30-DBE2-44AC-A2C5-9F77964883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1194" y="2066415"/>
            <a:ext cx="2568092" cy="3983509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690C9C80-2EF3-4D6D-8351-13A99CFCE395}"/>
              </a:ext>
            </a:extLst>
          </p:cNvPr>
          <p:cNvSpPr txBox="1"/>
          <p:nvPr/>
        </p:nvSpPr>
        <p:spPr>
          <a:xfrm>
            <a:off x="9525821" y="1321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9329233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26932" y="767282"/>
            <a:ext cx="9850227" cy="738664"/>
          </a:xfrm>
        </p:spPr>
        <p:txBody>
          <a:bodyPr/>
          <a:lstStyle/>
          <a:p>
            <a:r>
              <a:rPr lang="nb-NO" sz="2400" cap="none" dirty="0"/>
              <a:t>Trekker vi inn «fysisk form» i spørsmålet om oppfatning av egen helse</a:t>
            </a:r>
            <a:br>
              <a:rPr lang="nb-NO" sz="2400" cap="none" dirty="0"/>
            </a:br>
            <a:r>
              <a:rPr lang="nb-NO" sz="2400" cap="none" dirty="0"/>
              <a:t>blir det klart at tilfredshetsnivået nå har sunket litt igjen de siste år</a:t>
            </a:r>
            <a:endParaRPr lang="nb-NO" sz="1800" cap="none" dirty="0"/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709334767"/>
              </p:ext>
            </p:extLst>
          </p:nvPr>
        </p:nvGraphicFramePr>
        <p:xfrm>
          <a:off x="599355" y="2364162"/>
          <a:ext cx="8678203" cy="37832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Rectangle 16"/>
          <p:cNvSpPr/>
          <p:nvPr/>
        </p:nvSpPr>
        <p:spPr>
          <a:xfrm>
            <a:off x="5226892" y="17991"/>
            <a:ext cx="1674525" cy="10978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32345"/>
            <a:endParaRPr lang="nb-NO" sz="1600" dirty="0">
              <a:solidFill>
                <a:srgbClr val="222223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09837" y="1896079"/>
            <a:ext cx="7887832" cy="67323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20000" tIns="120000" rIns="120000" bIns="120000" rtlCol="0">
            <a:spAutoFit/>
          </a:bodyPr>
          <a:lstStyle/>
          <a:p>
            <a:pPr marL="6351" algn="ctr" defTabSz="1232345">
              <a:spcBef>
                <a:spcPts val="1600"/>
              </a:spcBef>
            </a:pPr>
            <a:r>
              <a:rPr lang="nb-NO" sz="1400" b="1" dirty="0">
                <a:solidFill>
                  <a:srgbClr val="222223">
                    <a:lumMod val="75000"/>
                    <a:lumOff val="25000"/>
                  </a:srgbClr>
                </a:solidFill>
                <a:latin typeface="Segoe UI"/>
              </a:rPr>
              <a:t>Hvor fornøyd er du med egen situasjon når det gjelder helse og fysisk form?</a:t>
            </a:r>
            <a:br>
              <a:rPr lang="nb-NO" sz="1400" b="1" dirty="0">
                <a:solidFill>
                  <a:srgbClr val="222223">
                    <a:lumMod val="75000"/>
                    <a:lumOff val="25000"/>
                  </a:srgbClr>
                </a:solidFill>
                <a:latin typeface="Segoe UI"/>
              </a:rPr>
            </a:br>
            <a:r>
              <a:rPr lang="nb-NO" sz="1400" b="1" dirty="0">
                <a:solidFill>
                  <a:srgbClr val="222223">
                    <a:lumMod val="75000"/>
                    <a:lumOff val="25000"/>
                  </a:srgbClr>
                </a:solidFill>
                <a:latin typeface="Segoe UI"/>
              </a:rPr>
              <a:t>Meget eller ganske fornøyd</a:t>
            </a:r>
          </a:p>
        </p:txBody>
      </p:sp>
      <p:sp>
        <p:nvSpPr>
          <p:cNvPr id="20" name="Rectangle 16">
            <a:extLst>
              <a:ext uri="{FF2B5EF4-FFF2-40B4-BE49-F238E27FC236}">
                <a16:creationId xmlns:a16="http://schemas.microsoft.com/office/drawing/2014/main" id="{DDBE62AD-1D0A-48F7-A703-15494C4D2DD2}"/>
              </a:ext>
            </a:extLst>
          </p:cNvPr>
          <p:cNvSpPr/>
          <p:nvPr/>
        </p:nvSpPr>
        <p:spPr>
          <a:xfrm>
            <a:off x="7539203" y="132438"/>
            <a:ext cx="1918744" cy="10978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32345"/>
            <a:endParaRPr lang="nb-NO" sz="1600" dirty="0">
              <a:solidFill>
                <a:srgbClr val="222223"/>
              </a:solidFill>
              <a:latin typeface="Segoe UI"/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47823BA4-97E1-4E34-9CCB-BA4F55FEEA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22631" y="2446421"/>
            <a:ext cx="3069633" cy="3226190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A70970AB-E3A2-4BF8-821E-81B26B38FBC5}"/>
              </a:ext>
            </a:extLst>
          </p:cNvPr>
          <p:cNvSpPr txBox="1"/>
          <p:nvPr/>
        </p:nvSpPr>
        <p:spPr>
          <a:xfrm>
            <a:off x="9535346" y="15115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658844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Graphique 7">
            <a:extLst>
              <a:ext uri="{FF2B5EF4-FFF2-40B4-BE49-F238E27FC236}">
                <a16:creationId xmlns:a16="http://schemas.microsoft.com/office/drawing/2014/main" id="{99110730-B33F-4810-BACF-5215BC9B553A}"/>
              </a:ext>
            </a:extLst>
          </p:cNvPr>
          <p:cNvGraphicFramePr/>
          <p:nvPr/>
        </p:nvGraphicFramePr>
        <p:xfrm>
          <a:off x="356410" y="2714482"/>
          <a:ext cx="9204169" cy="31104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200A53-2877-4A95-B7C9-99212D61751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7B7B6FE-A44E-4EC7-B82C-077B07602659}"/>
              </a:ext>
            </a:extLst>
          </p:cNvPr>
          <p:cNvSpPr/>
          <p:nvPr/>
        </p:nvSpPr>
        <p:spPr>
          <a:xfrm>
            <a:off x="873375" y="6483939"/>
            <a:ext cx="312457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800" dirty="0">
                <a:solidFill>
                  <a:schemeClr val="bg2">
                    <a:lumMod val="40000"/>
                    <a:lumOff val="60000"/>
                  </a:schemeClr>
                </a:solidFill>
              </a:rPr>
              <a:t>Q26 ** Hvor enig eller uenig er du i hver av følgende påstander?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20E399D-C4DE-4B28-90EC-B1DC9B1352D9}"/>
              </a:ext>
            </a:extLst>
          </p:cNvPr>
          <p:cNvSpPr txBox="1"/>
          <p:nvPr/>
        </p:nvSpPr>
        <p:spPr>
          <a:xfrm>
            <a:off x="409594" y="1958562"/>
            <a:ext cx="5674276" cy="3972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0000" tIns="90000" rIns="90000" bIns="90000" rtlCol="0">
            <a:spAutoFit/>
          </a:bodyPr>
          <a:lstStyle/>
          <a:p>
            <a:pPr marL="4763" algn="ctr"/>
            <a:r>
              <a:rPr lang="nb-NO" sz="1000" i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 </a:t>
            </a:r>
            <a:r>
              <a:rPr lang="nb-NO" sz="1400" i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Jeg er alltid opptatt av å leve sunt, og å holde meg i god fysisk form</a:t>
            </a:r>
            <a:r>
              <a:rPr lang="nb-NO" sz="1400" spc="120" dirty="0">
                <a:solidFill>
                  <a:schemeClr val="bg1">
                    <a:lumMod val="50000"/>
                  </a:schemeClr>
                </a:solidFill>
                <a:ea typeface="+mj-ea"/>
                <a:cs typeface="+mj-cs"/>
              </a:rPr>
              <a:t>»</a:t>
            </a:r>
          </a:p>
        </p:txBody>
      </p:sp>
      <p:sp>
        <p:nvSpPr>
          <p:cNvPr id="23" name="Rectangle 33">
            <a:extLst>
              <a:ext uri="{FF2B5EF4-FFF2-40B4-BE49-F238E27FC236}">
                <a16:creationId xmlns:a16="http://schemas.microsoft.com/office/drawing/2014/main" id="{51FDB3C6-2631-4AF1-92F4-91CABFE189E3}"/>
              </a:ext>
            </a:extLst>
          </p:cNvPr>
          <p:cNvSpPr/>
          <p:nvPr/>
        </p:nvSpPr>
        <p:spPr>
          <a:xfrm>
            <a:off x="9840893" y="2411083"/>
            <a:ext cx="1994697" cy="2372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nb-NO" sz="1000" dirty="0">
                <a:solidFill>
                  <a:prstClr val="black">
                    <a:lumMod val="65000"/>
                    <a:lumOff val="35000"/>
                  </a:prstClr>
                </a:solidFill>
              </a:rPr>
              <a:t>36 % oppgir at de er helt enig i påstanden </a:t>
            </a:r>
            <a:r>
              <a:rPr lang="nb-NO" sz="1000" i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jeg er alltid opptatt av å leve sunt, og å holde meg i god fysisk form. </a:t>
            </a:r>
            <a:r>
              <a:rPr lang="nb-NO" sz="1000" dirty="0">
                <a:solidFill>
                  <a:prstClr val="black">
                    <a:lumMod val="65000"/>
                    <a:lumOff val="35000"/>
                  </a:prstClr>
                </a:solidFill>
              </a:rPr>
              <a:t>Dette er en forlengelse av den positive  trenden vi har sett siden 2013.</a:t>
            </a:r>
          </a:p>
          <a:p>
            <a:pPr lvl="0">
              <a:lnSpc>
                <a:spcPct val="150000"/>
              </a:lnSpc>
            </a:pPr>
            <a:endParaRPr lang="nb-NO" sz="1000" dirty="0">
              <a:solidFill>
                <a:prstClr val="black">
                  <a:lumMod val="65000"/>
                  <a:lumOff val="35000"/>
                </a:prstClr>
              </a:solidFill>
            </a:endParaRPr>
          </a:p>
          <a:p>
            <a:pPr lvl="0">
              <a:lnSpc>
                <a:spcPct val="150000"/>
              </a:lnSpc>
            </a:pPr>
            <a:r>
              <a:rPr lang="nb-NO" sz="1000" dirty="0">
                <a:solidFill>
                  <a:prstClr val="black">
                    <a:lumMod val="65000"/>
                    <a:lumOff val="35000"/>
                  </a:prstClr>
                </a:solidFill>
              </a:rPr>
              <a:t>Kvinner er i større grad helt enig i dette enn menn. </a:t>
            </a:r>
          </a:p>
          <a:p>
            <a:pPr lvl="0">
              <a:lnSpc>
                <a:spcPct val="150000"/>
              </a:lnSpc>
            </a:pPr>
            <a:endParaRPr lang="nb-NO" sz="1000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25" name="Ellipse 2">
            <a:extLst>
              <a:ext uri="{FF2B5EF4-FFF2-40B4-BE49-F238E27FC236}">
                <a16:creationId xmlns:a16="http://schemas.microsoft.com/office/drawing/2014/main" id="{E08E1631-9F6D-48B3-A0E4-095BC93B9526}"/>
              </a:ext>
            </a:extLst>
          </p:cNvPr>
          <p:cNvSpPr/>
          <p:nvPr/>
        </p:nvSpPr>
        <p:spPr>
          <a:xfrm>
            <a:off x="9618184" y="2437555"/>
            <a:ext cx="45719" cy="3683484"/>
          </a:xfrm>
          <a:prstGeom prst="ellipse">
            <a:avLst/>
          </a:prstGeom>
          <a:solidFill>
            <a:srgbClr val="50C5B9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itle 6">
            <a:extLst>
              <a:ext uri="{FF2B5EF4-FFF2-40B4-BE49-F238E27FC236}">
                <a16:creationId xmlns:a16="http://schemas.microsoft.com/office/drawing/2014/main" id="{A5C15B7E-E551-4661-9DED-8AA0F81F4A4D}"/>
              </a:ext>
            </a:extLst>
          </p:cNvPr>
          <p:cNvSpPr txBox="1">
            <a:spLocks/>
          </p:cNvSpPr>
          <p:nvPr/>
        </p:nvSpPr>
        <p:spPr>
          <a:xfrm>
            <a:off x="229575" y="188086"/>
            <a:ext cx="9640744" cy="1200329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nb-NO" sz="1000" cap="none" dirty="0">
                <a:solidFill>
                  <a:schemeClr val="bg1">
                    <a:lumMod val="50000"/>
                  </a:schemeClr>
                </a:solidFill>
              </a:rPr>
              <a:t>LEVE SUNT OG HOLDE SEG I FORM</a:t>
            </a:r>
            <a:r>
              <a:rPr lang="nb-NO" sz="2400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br>
              <a:rPr lang="nb-NO" sz="2400" dirty="0">
                <a:solidFill>
                  <a:schemeClr val="accent6">
                    <a:lumMod val="10000"/>
                  </a:schemeClr>
                </a:solidFill>
              </a:rPr>
            </a:br>
            <a:r>
              <a:rPr lang="nb-NO" sz="2400" dirty="0">
                <a:solidFill>
                  <a:schemeClr val="accent6">
                    <a:lumMod val="10000"/>
                  </a:schemeClr>
                </a:solidFill>
              </a:rPr>
              <a:t>fokuset på «å ville» leve sunt og være i god fysisk form derimot, fortsetter en sakte oppadgående trend</a:t>
            </a:r>
          </a:p>
        </p:txBody>
      </p:sp>
      <p:pic>
        <p:nvPicPr>
          <p:cNvPr id="10" name="Bilde 20" descr="Et bilde som inneholder tegning&#10;&#10;Automatisk generert beskrivelse">
            <a:extLst>
              <a:ext uri="{FF2B5EF4-FFF2-40B4-BE49-F238E27FC236}">
                <a16:creationId xmlns:a16="http://schemas.microsoft.com/office/drawing/2014/main" id="{DAA2B2F8-DA04-4BE6-96E6-C1E0CFC2DBC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70035" y="1847476"/>
            <a:ext cx="507736" cy="461548"/>
          </a:xfrm>
          <a:prstGeom prst="rect">
            <a:avLst/>
          </a:prstGeom>
        </p:spPr>
      </p:pic>
      <p:sp>
        <p:nvSpPr>
          <p:cNvPr id="11" name="TekstSylinder 10">
            <a:extLst>
              <a:ext uri="{FF2B5EF4-FFF2-40B4-BE49-F238E27FC236}">
                <a16:creationId xmlns:a16="http://schemas.microsoft.com/office/drawing/2014/main" id="{F71378D0-8AB8-437F-BC83-FDEC698F4A38}"/>
              </a:ext>
            </a:extLst>
          </p:cNvPr>
          <p:cNvSpPr txBox="1"/>
          <p:nvPr/>
        </p:nvSpPr>
        <p:spPr>
          <a:xfrm>
            <a:off x="9458171" y="188086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415118160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aphique 7">
            <a:extLst>
              <a:ext uri="{FF2B5EF4-FFF2-40B4-BE49-F238E27FC236}">
                <a16:creationId xmlns:a16="http://schemas.microsoft.com/office/drawing/2014/main" id="{9FAC51D7-E816-442D-A127-D1696A9E27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0708484"/>
              </p:ext>
            </p:extLst>
          </p:nvPr>
        </p:nvGraphicFramePr>
        <p:xfrm>
          <a:off x="66675" y="2015231"/>
          <a:ext cx="7724775" cy="40640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33">
            <a:extLst>
              <a:ext uri="{FF2B5EF4-FFF2-40B4-BE49-F238E27FC236}">
                <a16:creationId xmlns:a16="http://schemas.microsoft.com/office/drawing/2014/main" id="{8E6310D8-C83F-4BFE-AC1D-1ED19B329BB4}"/>
              </a:ext>
            </a:extLst>
          </p:cNvPr>
          <p:cNvSpPr/>
          <p:nvPr/>
        </p:nvSpPr>
        <p:spPr>
          <a:xfrm>
            <a:off x="8086725" y="1589404"/>
            <a:ext cx="3505199" cy="3243388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nb-NO" dirty="0">
                <a:solidFill>
                  <a:prstClr val="black">
                    <a:lumMod val="65000"/>
                    <a:lumOff val="35000"/>
                  </a:prstClr>
                </a:solidFill>
              </a:rPr>
              <a:t>3 av 10 under 40 år skulker frokosten totalt minst to ganger i uka – andelen er sterkt økende </a:t>
            </a:r>
          </a:p>
          <a:p>
            <a:pPr lvl="0">
              <a:lnSpc>
                <a:spcPct val="150000"/>
              </a:lnSpc>
            </a:pPr>
            <a:endParaRPr lang="nb-NO" sz="1200" dirty="0">
              <a:solidFill>
                <a:prstClr val="black">
                  <a:lumMod val="65000"/>
                  <a:lumOff val="35000"/>
                </a:prstClr>
              </a:solidFill>
            </a:endParaRPr>
          </a:p>
          <a:p>
            <a:pPr lvl="0">
              <a:lnSpc>
                <a:spcPct val="150000"/>
              </a:lnSpc>
            </a:pPr>
            <a:r>
              <a:rPr lang="nb-NO" sz="12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rokostskulking (minst to ganger per uke) er mindre utbredt enn vanlig (22,4%) blant de som mosjonerer minst tre ganger per uke, men mer utbredt blant de som trener med høy intensitet (32,3%), hvilket jo er vanligst blant de under 40 år</a:t>
            </a:r>
          </a:p>
          <a:p>
            <a:pPr lvl="0">
              <a:lnSpc>
                <a:spcPct val="150000"/>
              </a:lnSpc>
            </a:pPr>
            <a:r>
              <a:rPr lang="nb-NO" sz="1200" dirty="0">
                <a:solidFill>
                  <a:prstClr val="black">
                    <a:lumMod val="65000"/>
                    <a:lumOff val="35000"/>
                  </a:prstClr>
                </a:solidFill>
              </a:rPr>
              <a:t>(De som trener hardest er jo de unge)</a:t>
            </a: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0E06284B-EA11-4ADA-9351-BF65D8E25E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23" y="917493"/>
            <a:ext cx="8510630" cy="369332"/>
          </a:xfrm>
        </p:spPr>
        <p:txBody>
          <a:bodyPr/>
          <a:lstStyle/>
          <a:p>
            <a:r>
              <a:rPr lang="nb-NO" sz="2400" dirty="0"/>
              <a:t>Skulking av frokostmåltidet er et økende fenomen</a:t>
            </a:r>
            <a:endParaRPr lang="nb-NO" sz="2000" dirty="0"/>
          </a:p>
        </p:txBody>
      </p:sp>
      <p:sp>
        <p:nvSpPr>
          <p:cNvPr id="7" name="TextBox 8">
            <a:extLst>
              <a:ext uri="{FF2B5EF4-FFF2-40B4-BE49-F238E27FC236}">
                <a16:creationId xmlns:a16="http://schemas.microsoft.com/office/drawing/2014/main" id="{6B92F208-50A6-4CBF-AB93-5359D2B4E4B6}"/>
              </a:ext>
            </a:extLst>
          </p:cNvPr>
          <p:cNvSpPr txBox="1"/>
          <p:nvPr/>
        </p:nvSpPr>
        <p:spPr>
          <a:xfrm>
            <a:off x="1120236" y="1521797"/>
            <a:ext cx="5967786" cy="366424"/>
          </a:xfrm>
          <a:prstGeom prst="rect">
            <a:avLst/>
          </a:prstGeom>
          <a:noFill/>
        </p:spPr>
        <p:txBody>
          <a:bodyPr vert="horz" wrap="square" lIns="90000" tIns="90000" rIns="90000" bIns="90000" rtlCol="0">
            <a:spAutoFit/>
          </a:bodyPr>
          <a:lstStyle/>
          <a:p>
            <a:pPr marL="4763" algn="ctr"/>
            <a:r>
              <a:rPr lang="nb-NO" sz="1200" b="1" dirty="0">
                <a:solidFill>
                  <a:srgbClr val="222223">
                    <a:lumMod val="75000"/>
                    <a:lumOff val="25000"/>
                  </a:srgbClr>
                </a:solidFill>
              </a:rPr>
              <a:t>Hvor ofte gjør du følgende…..? 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2049B678-834F-415A-B835-D662ED727E49}"/>
              </a:ext>
            </a:extLst>
          </p:cNvPr>
          <p:cNvSpPr txBox="1"/>
          <p:nvPr/>
        </p:nvSpPr>
        <p:spPr>
          <a:xfrm>
            <a:off x="9516296" y="1702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63177743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200A53-2877-4A95-B7C9-99212D61751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1600" y="6220800"/>
            <a:ext cx="360037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A189CE0-67AA-42A9-BDCB-DA6692C48E0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83922" y="239368"/>
            <a:ext cx="7806463" cy="1107996"/>
          </a:xfrm>
        </p:spPr>
        <p:txBody>
          <a:bodyPr/>
          <a:lstStyle/>
          <a:p>
            <a:pPr>
              <a:lnSpc>
                <a:spcPct val="100000"/>
              </a:lnSpc>
            </a:pPr>
            <a:br>
              <a:rPr lang="nb-NO" sz="2400" dirty="0">
                <a:solidFill>
                  <a:schemeClr val="accent6">
                    <a:lumMod val="10000"/>
                  </a:schemeClr>
                </a:solidFill>
              </a:rPr>
            </a:br>
            <a:r>
              <a:rPr lang="nb-NO" sz="2400" dirty="0">
                <a:solidFill>
                  <a:schemeClr val="accent6">
                    <a:lumMod val="10000"/>
                  </a:schemeClr>
                </a:solidFill>
              </a:rPr>
              <a:t>forbruket av brød kjøpt i bakeri/butikk synker</a:t>
            </a:r>
            <a:br>
              <a:rPr lang="nb-NO" sz="2400" dirty="0">
                <a:solidFill>
                  <a:schemeClr val="accent6">
                    <a:lumMod val="10000"/>
                  </a:schemeClr>
                </a:solidFill>
              </a:rPr>
            </a:br>
            <a:r>
              <a:rPr lang="nb-NO" sz="2400" dirty="0">
                <a:solidFill>
                  <a:schemeClr val="accent6">
                    <a:lumMod val="10000"/>
                  </a:schemeClr>
                </a:solidFill>
              </a:rPr>
              <a:t>brødforbruket er lavest blant de yngst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78B7AAC-326A-419E-95CE-2B6F770D30F0}"/>
              </a:ext>
            </a:extLst>
          </p:cNvPr>
          <p:cNvSpPr txBox="1">
            <a:spLocks/>
          </p:cNvSpPr>
          <p:nvPr/>
        </p:nvSpPr>
        <p:spPr>
          <a:xfrm>
            <a:off x="356410" y="2020558"/>
            <a:ext cx="8646971" cy="4615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800" b="0" i="0" u="none" strike="noStrike" kern="1200" cap="all" spc="120" normalizeH="0" baseline="0" noProof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B2E5DC8-C47F-419F-94B1-3527289803EB}"/>
              </a:ext>
            </a:extLst>
          </p:cNvPr>
          <p:cNvSpPr txBox="1"/>
          <p:nvPr/>
        </p:nvSpPr>
        <p:spPr>
          <a:xfrm>
            <a:off x="356410" y="1910427"/>
            <a:ext cx="5674276" cy="3356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0000" tIns="90000" rIns="90000" bIns="90000" rtlCol="0">
            <a:spAutoFit/>
          </a:bodyPr>
          <a:lstStyle/>
          <a:p>
            <a:pPr marL="47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12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NGER SPIST PER ÅR</a:t>
            </a:r>
          </a:p>
        </p:txBody>
      </p:sp>
      <p:graphicFrame>
        <p:nvGraphicFramePr>
          <p:cNvPr id="23" name="Graphique 7">
            <a:extLst>
              <a:ext uri="{FF2B5EF4-FFF2-40B4-BE49-F238E27FC236}">
                <a16:creationId xmlns:a16="http://schemas.microsoft.com/office/drawing/2014/main" id="{96AD45F7-3B0F-4FA2-B979-3BD5B7EEFADE}"/>
              </a:ext>
            </a:extLst>
          </p:cNvPr>
          <p:cNvGraphicFramePr/>
          <p:nvPr/>
        </p:nvGraphicFramePr>
        <p:xfrm>
          <a:off x="105204" y="2650029"/>
          <a:ext cx="7691777" cy="3451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Rectangle 33">
            <a:extLst>
              <a:ext uri="{FF2B5EF4-FFF2-40B4-BE49-F238E27FC236}">
                <a16:creationId xmlns:a16="http://schemas.microsoft.com/office/drawing/2014/main" id="{AA05F0EC-40AB-49CA-A746-BEF9AF5E85DC}"/>
              </a:ext>
            </a:extLst>
          </p:cNvPr>
          <p:cNvSpPr/>
          <p:nvPr/>
        </p:nvSpPr>
        <p:spPr>
          <a:xfrm>
            <a:off x="9840893" y="2411083"/>
            <a:ext cx="1934041" cy="5688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C322C2F-781C-4A9F-A2A5-22D64CAB0FE6}"/>
              </a:ext>
            </a:extLst>
          </p:cNvPr>
          <p:cNvSpPr/>
          <p:nvPr/>
        </p:nvSpPr>
        <p:spPr>
          <a:xfrm>
            <a:off x="741637" y="6113078"/>
            <a:ext cx="284244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252 ** Hvor ofte spiser du følgende kaker og bakevarer?</a:t>
            </a:r>
          </a:p>
        </p:txBody>
      </p:sp>
      <p:pic>
        <p:nvPicPr>
          <p:cNvPr id="6" name="Bilde 5" descr="Et bilde som inneholder mat, sitter, sjokolade, bord&#10;&#10;Automatisk generert beskrivelse">
            <a:extLst>
              <a:ext uri="{FF2B5EF4-FFF2-40B4-BE49-F238E27FC236}">
                <a16:creationId xmlns:a16="http://schemas.microsoft.com/office/drawing/2014/main" id="{E0109FB7-6282-4097-95D5-A076D0DD675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81952" y="1682035"/>
            <a:ext cx="3102486" cy="3878107"/>
          </a:xfrm>
          <a:prstGeom prst="rect">
            <a:avLst/>
          </a:prstGeo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C9B2D2FF-7E70-4904-AEF3-CFF7B775F371}"/>
              </a:ext>
            </a:extLst>
          </p:cNvPr>
          <p:cNvSpPr txBox="1"/>
          <p:nvPr/>
        </p:nvSpPr>
        <p:spPr>
          <a:xfrm>
            <a:off x="9555786" y="239368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12472353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Graphique 7">
            <a:extLst>
              <a:ext uri="{FF2B5EF4-FFF2-40B4-BE49-F238E27FC236}">
                <a16:creationId xmlns:a16="http://schemas.microsoft.com/office/drawing/2014/main" id="{99110730-B33F-4810-BACF-5215BC9B553A}"/>
              </a:ext>
            </a:extLst>
          </p:cNvPr>
          <p:cNvGraphicFramePr/>
          <p:nvPr/>
        </p:nvGraphicFramePr>
        <p:xfrm>
          <a:off x="356410" y="2377156"/>
          <a:ext cx="9084784" cy="34686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200A53-2877-4A95-B7C9-99212D61751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7B7B6FE-A44E-4EC7-B82C-077B07602659}"/>
              </a:ext>
            </a:extLst>
          </p:cNvPr>
          <p:cNvSpPr/>
          <p:nvPr/>
        </p:nvSpPr>
        <p:spPr>
          <a:xfrm>
            <a:off x="873375" y="6483939"/>
            <a:ext cx="820288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* Spm:Q232_1 ** </a:t>
            </a:r>
            <a:r>
              <a:rPr lang="nb-NO" sz="800" dirty="0">
                <a:solidFill>
                  <a:srgbClr val="2F469C">
                    <a:lumMod val="40000"/>
                    <a:lumOff val="60000"/>
                  </a:srgbClr>
                </a:solidFill>
              </a:rPr>
              <a:t>Her er en liste med næringsstoffer som noen sier at de er opptatt av å få i seg. Kryss av for de næringsstoffene som du mener er spesielt viktige for deg.</a:t>
            </a:r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2F469C">
                  <a:lumMod val="40000"/>
                  <a:lumOff val="6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itle 6">
            <a:extLst>
              <a:ext uri="{FF2B5EF4-FFF2-40B4-BE49-F238E27FC236}">
                <a16:creationId xmlns:a16="http://schemas.microsoft.com/office/drawing/2014/main" id="{F1B43855-E2A3-4426-A6B9-CC1F244F01BD}"/>
              </a:ext>
            </a:extLst>
          </p:cNvPr>
          <p:cNvSpPr txBox="1">
            <a:spLocks/>
          </p:cNvSpPr>
          <p:nvPr/>
        </p:nvSpPr>
        <p:spPr>
          <a:xfrm>
            <a:off x="229574" y="188086"/>
            <a:ext cx="10026387" cy="984885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00" cap="none" dirty="0">
                <a:solidFill>
                  <a:prstClr val="white">
                    <a:lumMod val="50000"/>
                  </a:prstClr>
                </a:solidFill>
                <a:latin typeface="Arial"/>
              </a:rPr>
              <a:t>VIKTIGE NÆRINGSSTOFFER</a:t>
            </a:r>
            <a:br>
              <a:rPr kumimoji="0" lang="nb-NO" sz="2400" b="0" i="0" u="none" strike="noStrike" kern="1200" cap="all" spc="120" normalizeH="0" baseline="0" noProof="0" dirty="0">
                <a:ln>
                  <a:noFill/>
                </a:ln>
                <a:solidFill>
                  <a:srgbClr val="BEDBFF">
                    <a:lumMod val="10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nb-NO" sz="2400" b="0" i="0" u="none" strike="noStrike" kern="1200" cap="all" spc="120" normalizeH="0" baseline="0" noProof="0" dirty="0">
                <a:ln>
                  <a:noFill/>
                </a:ln>
                <a:solidFill>
                  <a:srgbClr val="BEDBFF">
                    <a:lumMod val="10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mindre fokus på å få i seg spesielle nærings- stoffer. størst nedgang for antioksidanter</a:t>
            </a:r>
          </a:p>
        </p:txBody>
      </p:sp>
      <p:sp>
        <p:nvSpPr>
          <p:cNvPr id="18" name="Rectangle 33">
            <a:extLst>
              <a:ext uri="{FF2B5EF4-FFF2-40B4-BE49-F238E27FC236}">
                <a16:creationId xmlns:a16="http://schemas.microsoft.com/office/drawing/2014/main" id="{5D116E89-3BA1-4D04-AC99-13C5E1857350}"/>
              </a:ext>
            </a:extLst>
          </p:cNvPr>
          <p:cNvSpPr/>
          <p:nvPr/>
        </p:nvSpPr>
        <p:spPr>
          <a:xfrm>
            <a:off x="9785339" y="2166539"/>
            <a:ext cx="2168974" cy="1679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000" dirty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 eldre over 60 år og kvinner er mest opptatt av å få i seg næringsstoffene. Et unntak er proteiner, dette er menn like interessert i, og yngre mer interessert i enn eldre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E479F79-F6BD-4847-AC00-7BE2CD15425B}"/>
              </a:ext>
            </a:extLst>
          </p:cNvPr>
          <p:cNvSpPr txBox="1"/>
          <p:nvPr/>
        </p:nvSpPr>
        <p:spPr>
          <a:xfrm>
            <a:off x="356410" y="1910427"/>
            <a:ext cx="8719852" cy="3356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0000" tIns="90000" rIns="90000" bIns="90000" rtlCol="0">
            <a:spAutoFit/>
          </a:bodyPr>
          <a:lstStyle/>
          <a:p>
            <a:pPr marL="47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00" spc="120" dirty="0">
                <a:solidFill>
                  <a:prstClr val="white">
                    <a:lumMod val="50000"/>
                  </a:prstClr>
                </a:solidFill>
                <a:latin typeface="Arial"/>
              </a:rPr>
              <a:t>SPESIELT VIKTIGE NÆRINGSSTOFFER</a:t>
            </a:r>
          </a:p>
        </p:txBody>
      </p:sp>
      <p:sp>
        <p:nvSpPr>
          <p:cNvPr id="21" name="Ellipse 2">
            <a:extLst>
              <a:ext uri="{FF2B5EF4-FFF2-40B4-BE49-F238E27FC236}">
                <a16:creationId xmlns:a16="http://schemas.microsoft.com/office/drawing/2014/main" id="{77B0BAD2-80DA-48E3-A0E0-2D3E60C80E3F}"/>
              </a:ext>
            </a:extLst>
          </p:cNvPr>
          <p:cNvSpPr/>
          <p:nvPr/>
        </p:nvSpPr>
        <p:spPr>
          <a:xfrm>
            <a:off x="9618184" y="2437555"/>
            <a:ext cx="45719" cy="3683484"/>
          </a:xfrm>
          <a:prstGeom prst="ellipse">
            <a:avLst/>
          </a:prstGeom>
          <a:solidFill>
            <a:srgbClr val="50C5B9">
              <a:alpha val="5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Bilde 20" descr="Et bilde som inneholder tegning&#10;&#10;Automatisk generert beskrivelse">
            <a:extLst>
              <a:ext uri="{FF2B5EF4-FFF2-40B4-BE49-F238E27FC236}">
                <a16:creationId xmlns:a16="http://schemas.microsoft.com/office/drawing/2014/main" id="{17A9AFC5-BD7E-4002-8372-FA7B8226FA2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15958" y="1330479"/>
            <a:ext cx="507736" cy="461548"/>
          </a:xfrm>
          <a:prstGeom prst="rect">
            <a:avLst/>
          </a:prstGeom>
        </p:spPr>
      </p:pic>
      <p:sp>
        <p:nvSpPr>
          <p:cNvPr id="11" name="TekstSylinder 10">
            <a:extLst>
              <a:ext uri="{FF2B5EF4-FFF2-40B4-BE49-F238E27FC236}">
                <a16:creationId xmlns:a16="http://schemas.microsoft.com/office/drawing/2014/main" id="{72E2CF8C-8703-4432-B81E-72F92AAB8C97}"/>
              </a:ext>
            </a:extLst>
          </p:cNvPr>
          <p:cNvSpPr txBox="1"/>
          <p:nvPr/>
        </p:nvSpPr>
        <p:spPr>
          <a:xfrm>
            <a:off x="9458172" y="190356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5292083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200A53-2877-4A95-B7C9-99212D61751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7B7B6FE-A44E-4EC7-B82C-077B07602659}"/>
              </a:ext>
            </a:extLst>
          </p:cNvPr>
          <p:cNvSpPr/>
          <p:nvPr/>
        </p:nvSpPr>
        <p:spPr>
          <a:xfrm>
            <a:off x="873375" y="6483939"/>
            <a:ext cx="418576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* Spm:Q230 ** Hvilke av disse tingene vil du helst ikke spise eller drikke for mye av?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20E399D-C4DE-4B28-90EC-B1DC9B1352D9}"/>
              </a:ext>
            </a:extLst>
          </p:cNvPr>
          <p:cNvSpPr txBox="1"/>
          <p:nvPr/>
        </p:nvSpPr>
        <p:spPr>
          <a:xfrm>
            <a:off x="356410" y="1910427"/>
            <a:ext cx="5674276" cy="64342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0000" tIns="90000" rIns="90000" bIns="90000" rtlCol="0">
            <a:spAutoFit/>
          </a:bodyPr>
          <a:lstStyle/>
          <a:p>
            <a:pPr marL="47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12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VILKE AV DISSE TINGENE VIL DU HELST IKKE SPISE ELLER DRIKKE FOR MYE AV?</a:t>
            </a:r>
            <a:br>
              <a:rPr kumimoji="0" lang="nb-NO" sz="1000" b="0" i="0" u="none" strike="noStrike" kern="1200" cap="none" spc="12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nb-NO" sz="1000" b="0" i="0" u="none" strike="noStrike" kern="1200" cap="none" spc="12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KJØTT</a:t>
            </a:r>
          </a:p>
        </p:txBody>
      </p:sp>
      <p:sp>
        <p:nvSpPr>
          <p:cNvPr id="40" name="Title 6">
            <a:extLst>
              <a:ext uri="{FF2B5EF4-FFF2-40B4-BE49-F238E27FC236}">
                <a16:creationId xmlns:a16="http://schemas.microsoft.com/office/drawing/2014/main" id="{A5C15B7E-E551-4661-9DED-8AA0F81F4A4D}"/>
              </a:ext>
            </a:extLst>
          </p:cNvPr>
          <p:cNvSpPr txBox="1">
            <a:spLocks/>
          </p:cNvSpPr>
          <p:nvPr/>
        </p:nvSpPr>
        <p:spPr>
          <a:xfrm>
            <a:off x="229575" y="188086"/>
            <a:ext cx="9640744" cy="984885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12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BEGRENSE KJØTT</a:t>
            </a:r>
            <a:br>
              <a:rPr kumimoji="0" lang="nb-NO" sz="2400" b="0" i="0" u="none" strike="noStrike" kern="1200" cap="all" spc="120" normalizeH="0" baseline="0" noProof="0" dirty="0">
                <a:ln>
                  <a:noFill/>
                </a:ln>
                <a:solidFill>
                  <a:srgbClr val="BEDBFF">
                    <a:lumMod val="10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nb-NO" sz="2400" b="0" i="0" u="none" strike="noStrike" kern="1200" cap="all" spc="120" normalizeH="0" baseline="0" noProof="0" dirty="0">
                <a:ln>
                  <a:noFill/>
                </a:ln>
                <a:solidFill>
                  <a:srgbClr val="BEDBFF">
                    <a:lumMod val="10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andelen som vil begrense bruk av kjøtt fortsetter å øke markant </a:t>
            </a:r>
          </a:p>
        </p:txBody>
      </p:sp>
      <p:graphicFrame>
        <p:nvGraphicFramePr>
          <p:cNvPr id="22" name="Diagram 58">
            <a:extLst>
              <a:ext uri="{FF2B5EF4-FFF2-40B4-BE49-F238E27FC236}">
                <a16:creationId xmlns:a16="http://schemas.microsoft.com/office/drawing/2014/main" id="{25F093AE-27E7-4D12-87BD-8B4AD33FF77A}"/>
              </a:ext>
            </a:extLst>
          </p:cNvPr>
          <p:cNvGraphicFramePr/>
          <p:nvPr/>
        </p:nvGraphicFramePr>
        <p:xfrm>
          <a:off x="356409" y="2705716"/>
          <a:ext cx="7038801" cy="3318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5" name="Bilde 4" descr="Et bilde som inneholder person, innendørs, bord, sitter&#10;&#10;Automatisk generert beskrivelse">
            <a:extLst>
              <a:ext uri="{FF2B5EF4-FFF2-40B4-BE49-F238E27FC236}">
                <a16:creationId xmlns:a16="http://schemas.microsoft.com/office/drawing/2014/main" id="{A979741D-498A-48CF-B6A2-2866848EE79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8090" y="2865393"/>
            <a:ext cx="4257501" cy="2848268"/>
          </a:xfrm>
          <a:prstGeom prst="rect">
            <a:avLst/>
          </a:prstGeom>
        </p:spPr>
      </p:pic>
      <p:sp>
        <p:nvSpPr>
          <p:cNvPr id="8" name="Rectangle 33">
            <a:extLst>
              <a:ext uri="{FF2B5EF4-FFF2-40B4-BE49-F238E27FC236}">
                <a16:creationId xmlns:a16="http://schemas.microsoft.com/office/drawing/2014/main" id="{B4B58B44-EB34-4156-9FD0-D46DEF4F4151}"/>
              </a:ext>
            </a:extLst>
          </p:cNvPr>
          <p:cNvSpPr/>
          <p:nvPr/>
        </p:nvSpPr>
        <p:spPr>
          <a:xfrm>
            <a:off x="7578090" y="1834003"/>
            <a:ext cx="4257500" cy="871713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lvl="0" algn="ctr">
              <a:lnSpc>
                <a:spcPct val="150000"/>
              </a:lnSpc>
            </a:pPr>
            <a:r>
              <a:rPr lang="nb-NO" dirty="0">
                <a:solidFill>
                  <a:prstClr val="black">
                    <a:lumMod val="65000"/>
                    <a:lumOff val="35000"/>
                  </a:prstClr>
                </a:solidFill>
              </a:rPr>
              <a:t>Ønske om kjøttbegrensning øker ekstra blant de yngste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8A47CC9D-296D-4CAB-94A5-C62E22B073BE}"/>
              </a:ext>
            </a:extLst>
          </p:cNvPr>
          <p:cNvSpPr txBox="1"/>
          <p:nvPr/>
        </p:nvSpPr>
        <p:spPr>
          <a:xfrm>
            <a:off x="9448646" y="2464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60115711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200A53-2877-4A95-B7C9-99212D61751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A189CE0-67AA-42A9-BDCB-DA6692C48E0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83922" y="193202"/>
            <a:ext cx="9640744" cy="135421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 sz="1000" cap="none" dirty="0">
                <a:solidFill>
                  <a:schemeClr val="bg1">
                    <a:lumMod val="50000"/>
                  </a:schemeClr>
                </a:solidFill>
              </a:rPr>
              <a:t>DIETTER</a:t>
            </a:r>
            <a:br>
              <a:rPr lang="nb-NO" sz="2400" dirty="0">
                <a:solidFill>
                  <a:schemeClr val="accent6">
                    <a:lumMod val="10000"/>
                  </a:schemeClr>
                </a:solidFill>
              </a:rPr>
            </a:br>
            <a:r>
              <a:rPr lang="nb-NO" sz="2400" dirty="0">
                <a:solidFill>
                  <a:schemeClr val="accent6">
                    <a:lumMod val="10000"/>
                  </a:schemeClr>
                </a:solidFill>
              </a:rPr>
              <a:t>9 av 10 definerer seg selv som altetende, </a:t>
            </a:r>
            <a:br>
              <a:rPr lang="nb-NO" sz="2400" dirty="0">
                <a:solidFill>
                  <a:schemeClr val="accent6">
                    <a:lumMod val="10000"/>
                  </a:schemeClr>
                </a:solidFill>
              </a:rPr>
            </a:br>
            <a:r>
              <a:rPr lang="nb-NO" sz="2400" dirty="0">
                <a:solidFill>
                  <a:schemeClr val="accent6">
                    <a:lumMod val="10000"/>
                  </a:schemeClr>
                </a:solidFill>
              </a:rPr>
              <a:t>1 av 10 ANSER seg som fleksitarianer.</a:t>
            </a:r>
            <a:br>
              <a:rPr lang="nb-NO" sz="2400" dirty="0">
                <a:solidFill>
                  <a:schemeClr val="accent6">
                    <a:lumMod val="10000"/>
                  </a:schemeClr>
                </a:solidFill>
              </a:rPr>
            </a:br>
            <a:endParaRPr lang="nb-NO" sz="2400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78B7AAC-326A-419E-95CE-2B6F770D30F0}"/>
              </a:ext>
            </a:extLst>
          </p:cNvPr>
          <p:cNvSpPr txBox="1">
            <a:spLocks/>
          </p:cNvSpPr>
          <p:nvPr/>
        </p:nvSpPr>
        <p:spPr>
          <a:xfrm>
            <a:off x="356410" y="2020558"/>
            <a:ext cx="8646971" cy="4615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800" b="0" i="0" u="none" strike="noStrike" kern="1200" cap="all" spc="120" normalizeH="0" baseline="0" noProof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B2E5DC8-C47F-419F-94B1-3527289803EB}"/>
              </a:ext>
            </a:extLst>
          </p:cNvPr>
          <p:cNvSpPr txBox="1"/>
          <p:nvPr/>
        </p:nvSpPr>
        <p:spPr>
          <a:xfrm>
            <a:off x="356410" y="1910427"/>
            <a:ext cx="5674276" cy="3356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0000" tIns="90000" rIns="90000" bIns="90000" rtlCol="0">
            <a:spAutoFit/>
          </a:bodyPr>
          <a:lstStyle/>
          <a:p>
            <a:pPr marL="47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12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EG ANSER MEG SELV SOM…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7B7B6FE-A44E-4EC7-B82C-077B07602659}"/>
              </a:ext>
            </a:extLst>
          </p:cNvPr>
          <p:cNvSpPr/>
          <p:nvPr/>
        </p:nvSpPr>
        <p:spPr>
          <a:xfrm>
            <a:off x="873375" y="6483939"/>
            <a:ext cx="202811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220 ** Hvor ofte gjør du følgende ting?</a:t>
            </a:r>
          </a:p>
        </p:txBody>
      </p:sp>
      <p:graphicFrame>
        <p:nvGraphicFramePr>
          <p:cNvPr id="23" name="Chart 1">
            <a:extLst>
              <a:ext uri="{FF2B5EF4-FFF2-40B4-BE49-F238E27FC236}">
                <a16:creationId xmlns:a16="http://schemas.microsoft.com/office/drawing/2014/main" id="{EA552AC7-509C-422B-9E19-1D591F6DF95C}"/>
              </a:ext>
            </a:extLst>
          </p:cNvPr>
          <p:cNvGraphicFramePr/>
          <p:nvPr/>
        </p:nvGraphicFramePr>
        <p:xfrm>
          <a:off x="283922" y="2357705"/>
          <a:ext cx="8217105" cy="41262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Rectangle 33">
            <a:extLst>
              <a:ext uri="{FF2B5EF4-FFF2-40B4-BE49-F238E27FC236}">
                <a16:creationId xmlns:a16="http://schemas.microsoft.com/office/drawing/2014/main" id="{24934652-0D4E-4E43-80B8-53157605BDD3}"/>
              </a:ext>
            </a:extLst>
          </p:cNvPr>
          <p:cNvSpPr/>
          <p:nvPr/>
        </p:nvSpPr>
        <p:spPr>
          <a:xfrm>
            <a:off x="4951337" y="5970445"/>
            <a:ext cx="1320976" cy="4821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åde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jøtt og fisk</a:t>
            </a:r>
          </a:p>
        </p:txBody>
      </p:sp>
      <p:sp>
        <p:nvSpPr>
          <p:cNvPr id="25" name="Rectangle 33">
            <a:extLst>
              <a:ext uri="{FF2B5EF4-FFF2-40B4-BE49-F238E27FC236}">
                <a16:creationId xmlns:a16="http://schemas.microsoft.com/office/drawing/2014/main" id="{019B95EE-68BF-440D-862A-E6BE43E59B5C}"/>
              </a:ext>
            </a:extLst>
          </p:cNvPr>
          <p:cNvSpPr/>
          <p:nvPr/>
        </p:nvSpPr>
        <p:spPr>
          <a:xfrm>
            <a:off x="3767956" y="5954869"/>
            <a:ext cx="1320976" cy="4821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iser bare sporadisk kjøtt</a:t>
            </a:r>
          </a:p>
        </p:txBody>
      </p:sp>
      <p:sp>
        <p:nvSpPr>
          <p:cNvPr id="26" name="Rectangle 33">
            <a:extLst>
              <a:ext uri="{FF2B5EF4-FFF2-40B4-BE49-F238E27FC236}">
                <a16:creationId xmlns:a16="http://schemas.microsoft.com/office/drawing/2014/main" id="{E58E5F15-807E-4E1A-9995-9857D510B43B}"/>
              </a:ext>
            </a:extLst>
          </p:cNvPr>
          <p:cNvSpPr/>
          <p:nvPr/>
        </p:nvSpPr>
        <p:spPr>
          <a:xfrm>
            <a:off x="2619960" y="5961250"/>
            <a:ext cx="1320976" cy="4821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iser ikke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jøtt, men fisk</a:t>
            </a:r>
          </a:p>
        </p:txBody>
      </p:sp>
      <p:sp>
        <p:nvSpPr>
          <p:cNvPr id="27" name="Rectangle 33">
            <a:extLst>
              <a:ext uri="{FF2B5EF4-FFF2-40B4-BE49-F238E27FC236}">
                <a16:creationId xmlns:a16="http://schemas.microsoft.com/office/drawing/2014/main" id="{F23AB938-B24C-492F-B555-5AD1A5843C09}"/>
              </a:ext>
            </a:extLst>
          </p:cNvPr>
          <p:cNvSpPr/>
          <p:nvPr/>
        </p:nvSpPr>
        <p:spPr>
          <a:xfrm>
            <a:off x="1466715" y="5970445"/>
            <a:ext cx="1320976" cy="4821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iser ikke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imalske produkter</a:t>
            </a: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68A368F4-5E49-4A0C-90AB-01C3A93F1CB0}"/>
              </a:ext>
            </a:extLst>
          </p:cNvPr>
          <p:cNvSpPr/>
          <p:nvPr/>
        </p:nvSpPr>
        <p:spPr>
          <a:xfrm>
            <a:off x="327127" y="5970445"/>
            <a:ext cx="1320976" cy="4821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iser ikke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jøtt</a:t>
            </a:r>
          </a:p>
        </p:txBody>
      </p:sp>
      <p:pic>
        <p:nvPicPr>
          <p:cNvPr id="19" name="Bilde 18" descr="Et bilde som inneholder sitter, mat&#10;&#10;Automatisk generert beskrivelse">
            <a:extLst>
              <a:ext uri="{FF2B5EF4-FFF2-40B4-BE49-F238E27FC236}">
                <a16:creationId xmlns:a16="http://schemas.microsoft.com/office/drawing/2014/main" id="{15CBFB30-BB09-4E47-B9F3-1BF31E1977C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85983" y="3170099"/>
            <a:ext cx="3678890" cy="2641216"/>
          </a:xfrm>
          <a:prstGeom prst="rect">
            <a:avLst/>
          </a:prstGeom>
        </p:spPr>
      </p:pic>
      <p:sp>
        <p:nvSpPr>
          <p:cNvPr id="14" name="TekstSylinder 13">
            <a:extLst>
              <a:ext uri="{FF2B5EF4-FFF2-40B4-BE49-F238E27FC236}">
                <a16:creationId xmlns:a16="http://schemas.microsoft.com/office/drawing/2014/main" id="{420C80CD-1666-49FA-B8D5-6D1B96936E20}"/>
              </a:ext>
            </a:extLst>
          </p:cNvPr>
          <p:cNvSpPr txBox="1"/>
          <p:nvPr/>
        </p:nvSpPr>
        <p:spPr>
          <a:xfrm>
            <a:off x="9573446" y="11305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47906063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200A53-2877-4A95-B7C9-99212D61751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7B7B6FE-A44E-4EC7-B82C-077B07602659}"/>
              </a:ext>
            </a:extLst>
          </p:cNvPr>
          <p:cNvSpPr/>
          <p:nvPr/>
        </p:nvSpPr>
        <p:spPr>
          <a:xfrm>
            <a:off x="873375" y="6483939"/>
            <a:ext cx="489108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* Spm:Q222 ** Når på dagen spiser du vanligvis middag på vanlige hverdager, lørdager og søndager?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20E399D-C4DE-4B28-90EC-B1DC9B1352D9}"/>
              </a:ext>
            </a:extLst>
          </p:cNvPr>
          <p:cNvSpPr txBox="1"/>
          <p:nvPr/>
        </p:nvSpPr>
        <p:spPr>
          <a:xfrm>
            <a:off x="356410" y="1910427"/>
            <a:ext cx="5674276" cy="3356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90000" tIns="90000" rIns="90000" bIns="90000" rtlCol="0">
            <a:spAutoFit/>
          </a:bodyPr>
          <a:lstStyle/>
          <a:p>
            <a:pPr marL="4763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12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ÅR PÅ DAGEN SPISER DU VANLIGVIS MIDDAG?</a:t>
            </a:r>
          </a:p>
        </p:txBody>
      </p:sp>
      <p:graphicFrame>
        <p:nvGraphicFramePr>
          <p:cNvPr id="17" name="Chart 1">
            <a:extLst>
              <a:ext uri="{FF2B5EF4-FFF2-40B4-BE49-F238E27FC236}">
                <a16:creationId xmlns:a16="http://schemas.microsoft.com/office/drawing/2014/main" id="{50BFBC33-487A-4167-8867-61A260B194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8332485"/>
              </p:ext>
            </p:extLst>
          </p:nvPr>
        </p:nvGraphicFramePr>
        <p:xfrm>
          <a:off x="356410" y="2684490"/>
          <a:ext cx="6741875" cy="34365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" name="Title 6">
            <a:extLst>
              <a:ext uri="{FF2B5EF4-FFF2-40B4-BE49-F238E27FC236}">
                <a16:creationId xmlns:a16="http://schemas.microsoft.com/office/drawing/2014/main" id="{7B683068-2DD4-4A63-9167-C60B21E5DF89}"/>
              </a:ext>
            </a:extLst>
          </p:cNvPr>
          <p:cNvSpPr txBox="1">
            <a:spLocks/>
          </p:cNvSpPr>
          <p:nvPr/>
        </p:nvSpPr>
        <p:spPr>
          <a:xfrm>
            <a:off x="229575" y="188086"/>
            <a:ext cx="9640744" cy="615553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12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TIDSPUNKT FOR MIDDAG</a:t>
            </a:r>
            <a:br>
              <a:rPr kumimoji="0" lang="nb-NO" sz="2400" b="0" i="0" u="none" strike="noStrike" kern="1200" cap="all" spc="120" normalizeH="0" baseline="0" noProof="0" dirty="0">
                <a:ln>
                  <a:noFill/>
                </a:ln>
                <a:solidFill>
                  <a:srgbClr val="BEDBFF">
                    <a:lumMod val="10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nb-NO" sz="2400" b="0" i="0" u="none" strike="noStrike" kern="1200" cap="all" spc="120" normalizeH="0" baseline="0" noProof="0" dirty="0">
                <a:ln>
                  <a:noFill/>
                </a:ln>
                <a:solidFill>
                  <a:srgbClr val="BEDBFF">
                    <a:lumMod val="10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hverdagsmiddagen spises stadig senere</a:t>
            </a:r>
          </a:p>
        </p:txBody>
      </p:sp>
      <p:pic>
        <p:nvPicPr>
          <p:cNvPr id="7" name="Bilde 6" descr="Et bilde som inneholder person, mobil, vann, telefon&#10;&#10;Automatisk generert beskrivelse">
            <a:extLst>
              <a:ext uri="{FF2B5EF4-FFF2-40B4-BE49-F238E27FC236}">
                <a16:creationId xmlns:a16="http://schemas.microsoft.com/office/drawing/2014/main" id="{6D34E79A-6691-4574-873E-F8476CE61B3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7907" y="3164608"/>
            <a:ext cx="3408561" cy="2717995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B519C4E2-1EB7-4FDF-9204-62E43A29E796}"/>
              </a:ext>
            </a:extLst>
          </p:cNvPr>
          <p:cNvSpPr txBox="1"/>
          <p:nvPr/>
        </p:nvSpPr>
        <p:spPr>
          <a:xfrm>
            <a:off x="6733454" y="2684490"/>
            <a:ext cx="5335930" cy="353486"/>
          </a:xfrm>
          <a:prstGeom prst="rect">
            <a:avLst/>
          </a:prstGeom>
          <a:noFill/>
        </p:spPr>
        <p:txBody>
          <a:bodyPr wrap="none" lIns="72000" tIns="36000" rIns="72000" bIns="36000" rtlCol="0">
            <a:spAutoFit/>
          </a:bodyPr>
          <a:lstStyle/>
          <a:p>
            <a:pPr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r>
              <a:rPr lang="nb-NO" dirty="0"/>
              <a:t>I Oslo er det kun 20% som spiser middag før 17.00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C4EC4849-0FBB-4D8A-B192-8FAF3ED54AEC}"/>
              </a:ext>
            </a:extLst>
          </p:cNvPr>
          <p:cNvSpPr txBox="1"/>
          <p:nvPr/>
        </p:nvSpPr>
        <p:spPr>
          <a:xfrm>
            <a:off x="9565130" y="157308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5476000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80000"/>
                    </a14:imgEffect>
                  </a14:imgLayer>
                </a14:imgProps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88A7A8B2-1711-4E89-8925-DA49ADAF1D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596" name="Diapositive think-cell" r:id="rId8" imgW="532" imgH="530" progId="TCLayout.ActiveDocument.1">
                  <p:embed/>
                </p:oleObj>
              </mc:Choice>
              <mc:Fallback>
                <p:oleObj name="Diapositive think-cell" r:id="rId8" imgW="532" imgH="530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88A7A8B2-1711-4E89-8925-DA49ADAF1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F78FA6-B8EF-46BB-9A79-56ABFA2FA5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4" name="Espace réservé du numéro de diapositive 23">
            <a:extLst>
              <a:ext uri="{FF2B5EF4-FFF2-40B4-BE49-F238E27FC236}">
                <a16:creationId xmlns:a16="http://schemas.microsoft.com/office/drawing/2014/main" id="{3435B3C3-079E-48EB-808A-101DEF0DA2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nb-NO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4E0285F9-ED70-45DE-A37C-E96901938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584" y="315415"/>
            <a:ext cx="11382428" cy="341632"/>
          </a:xfrm>
        </p:spPr>
        <p:txBody>
          <a:bodyPr/>
          <a:lstStyle/>
          <a:p>
            <a:r>
              <a:rPr lang="nb-NO" sz="1800" spc="600" dirty="0"/>
              <a:t>NØKKELTALL</a:t>
            </a:r>
          </a:p>
        </p:txBody>
      </p:sp>
      <p:cxnSp>
        <p:nvCxnSpPr>
          <p:cNvPr id="23" name="Connecteur droit 7">
            <a:extLst>
              <a:ext uri="{FF2B5EF4-FFF2-40B4-BE49-F238E27FC236}">
                <a16:creationId xmlns:a16="http://schemas.microsoft.com/office/drawing/2014/main" id="{1D95BAD5-2A66-4EEA-B478-C348A5C351C1}"/>
              </a:ext>
            </a:extLst>
          </p:cNvPr>
          <p:cNvCxnSpPr>
            <a:cxnSpLocks/>
          </p:cNvCxnSpPr>
          <p:nvPr/>
        </p:nvCxnSpPr>
        <p:spPr>
          <a:xfrm>
            <a:off x="2869811" y="1857700"/>
            <a:ext cx="2879303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9">
            <a:extLst>
              <a:ext uri="{FF2B5EF4-FFF2-40B4-BE49-F238E27FC236}">
                <a16:creationId xmlns:a16="http://schemas.microsoft.com/office/drawing/2014/main" id="{0AF6884D-7445-4C6A-9FFC-91CB74851D03}"/>
              </a:ext>
            </a:extLst>
          </p:cNvPr>
          <p:cNvCxnSpPr>
            <a:cxnSpLocks/>
          </p:cNvCxnSpPr>
          <p:nvPr/>
        </p:nvCxnSpPr>
        <p:spPr>
          <a:xfrm>
            <a:off x="2807823" y="4052331"/>
            <a:ext cx="3179279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10">
            <a:extLst>
              <a:ext uri="{FF2B5EF4-FFF2-40B4-BE49-F238E27FC236}">
                <a16:creationId xmlns:a16="http://schemas.microsoft.com/office/drawing/2014/main" id="{079C1741-5AE4-4B49-A691-F2D56011555C}"/>
              </a:ext>
            </a:extLst>
          </p:cNvPr>
          <p:cNvCxnSpPr>
            <a:cxnSpLocks/>
          </p:cNvCxnSpPr>
          <p:nvPr/>
        </p:nvCxnSpPr>
        <p:spPr>
          <a:xfrm>
            <a:off x="7132325" y="4097488"/>
            <a:ext cx="2194563" cy="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ZoneTexte 11">
            <a:extLst>
              <a:ext uri="{FF2B5EF4-FFF2-40B4-BE49-F238E27FC236}">
                <a16:creationId xmlns:a16="http://schemas.microsoft.com/office/drawing/2014/main" id="{F0D154F2-2E0B-4C6B-8492-7B4DB1B8C139}"/>
              </a:ext>
            </a:extLst>
          </p:cNvPr>
          <p:cNvSpPr txBox="1"/>
          <p:nvPr/>
        </p:nvSpPr>
        <p:spPr>
          <a:xfrm>
            <a:off x="2987139" y="542296"/>
            <a:ext cx="2455800" cy="13234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00</a:t>
            </a:r>
            <a:endParaRPr kumimoji="0" lang="nb-NO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ZoneTexte 14">
            <a:extLst>
              <a:ext uri="{FF2B5EF4-FFF2-40B4-BE49-F238E27FC236}">
                <a16:creationId xmlns:a16="http://schemas.microsoft.com/office/drawing/2014/main" id="{E4126A00-4554-4ABE-9EAF-8D5D5A2694B4}"/>
              </a:ext>
            </a:extLst>
          </p:cNvPr>
          <p:cNvSpPr txBox="1"/>
          <p:nvPr/>
        </p:nvSpPr>
        <p:spPr>
          <a:xfrm>
            <a:off x="7518646" y="2741212"/>
            <a:ext cx="1368965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</a:t>
            </a:r>
          </a:p>
        </p:txBody>
      </p:sp>
      <p:sp>
        <p:nvSpPr>
          <p:cNvPr id="30" name="ZoneTexte 15">
            <a:extLst>
              <a:ext uri="{FF2B5EF4-FFF2-40B4-BE49-F238E27FC236}">
                <a16:creationId xmlns:a16="http://schemas.microsoft.com/office/drawing/2014/main" id="{15D5E2F0-7531-4EFD-BCA2-EDE810D7C73A}"/>
              </a:ext>
            </a:extLst>
          </p:cNvPr>
          <p:cNvSpPr txBox="1"/>
          <p:nvPr/>
        </p:nvSpPr>
        <p:spPr>
          <a:xfrm>
            <a:off x="2609958" y="1977714"/>
            <a:ext cx="342498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ANTALL SPØRSMÅ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/AVKRYSNINGSMULIGHETER </a:t>
            </a:r>
          </a:p>
        </p:txBody>
      </p:sp>
      <p:sp>
        <p:nvSpPr>
          <p:cNvPr id="32" name="ZoneTexte 17">
            <a:extLst>
              <a:ext uri="{FF2B5EF4-FFF2-40B4-BE49-F238E27FC236}">
                <a16:creationId xmlns:a16="http://schemas.microsoft.com/office/drawing/2014/main" id="{E9F6FD2C-D97C-45DB-8B9F-DA63AF7A5D1A}"/>
              </a:ext>
            </a:extLst>
          </p:cNvPr>
          <p:cNvSpPr txBox="1"/>
          <p:nvPr/>
        </p:nvSpPr>
        <p:spPr>
          <a:xfrm>
            <a:off x="2827609" y="4179971"/>
            <a:ext cx="316523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TOTALT  3710 RESPONDENTER I 2019/20-RUNDEN</a:t>
            </a:r>
          </a:p>
        </p:txBody>
      </p:sp>
      <p:sp>
        <p:nvSpPr>
          <p:cNvPr id="34" name="ZoneTexte 18">
            <a:extLst>
              <a:ext uri="{FF2B5EF4-FFF2-40B4-BE49-F238E27FC236}">
                <a16:creationId xmlns:a16="http://schemas.microsoft.com/office/drawing/2014/main" id="{D6AF9CB7-8F22-4B51-A938-72B88E85F40F}"/>
              </a:ext>
            </a:extLst>
          </p:cNvPr>
          <p:cNvSpPr txBox="1"/>
          <p:nvPr/>
        </p:nvSpPr>
        <p:spPr>
          <a:xfrm>
            <a:off x="7362173" y="4211448"/>
            <a:ext cx="179151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18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HOVEDTEMAER</a:t>
            </a:r>
          </a:p>
        </p:txBody>
      </p:sp>
      <p:cxnSp>
        <p:nvCxnSpPr>
          <p:cNvPr id="40" name="Connecteur droit 10">
            <a:extLst>
              <a:ext uri="{FF2B5EF4-FFF2-40B4-BE49-F238E27FC236}">
                <a16:creationId xmlns:a16="http://schemas.microsoft.com/office/drawing/2014/main" id="{D5AAEF94-7957-4A15-AE49-A05E512AB3C5}"/>
              </a:ext>
            </a:extLst>
          </p:cNvPr>
          <p:cNvCxnSpPr>
            <a:cxnSpLocks/>
          </p:cNvCxnSpPr>
          <p:nvPr/>
        </p:nvCxnSpPr>
        <p:spPr>
          <a:xfrm>
            <a:off x="6817095" y="1882538"/>
            <a:ext cx="2586789" cy="20492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ZoneTexte 14">
            <a:extLst>
              <a:ext uri="{FF2B5EF4-FFF2-40B4-BE49-F238E27FC236}">
                <a16:creationId xmlns:a16="http://schemas.microsoft.com/office/drawing/2014/main" id="{A2CC1CD4-5094-4D41-BA85-B22A561AA312}"/>
              </a:ext>
            </a:extLst>
          </p:cNvPr>
          <p:cNvSpPr txBox="1"/>
          <p:nvPr/>
        </p:nvSpPr>
        <p:spPr>
          <a:xfrm>
            <a:off x="6623301" y="542296"/>
            <a:ext cx="3079369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85 </a:t>
            </a:r>
          </a:p>
        </p:txBody>
      </p:sp>
      <p:sp>
        <p:nvSpPr>
          <p:cNvPr id="42" name="ZoneTexte 18">
            <a:extLst>
              <a:ext uri="{FF2B5EF4-FFF2-40B4-BE49-F238E27FC236}">
                <a16:creationId xmlns:a16="http://schemas.microsoft.com/office/drawing/2014/main" id="{6FC48357-9F83-4076-A44B-D4C700523ECA}"/>
              </a:ext>
            </a:extLst>
          </p:cNvPr>
          <p:cNvSpPr txBox="1"/>
          <p:nvPr/>
        </p:nvSpPr>
        <p:spPr>
          <a:xfrm>
            <a:off x="6426470" y="2013020"/>
            <a:ext cx="330837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DET FØRSTE ÅRET I 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SAMMENHENGENDE  TIDSSERI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MED DATA</a:t>
            </a:r>
          </a:p>
        </p:txBody>
      </p:sp>
      <p:sp>
        <p:nvSpPr>
          <p:cNvPr id="52" name="TekstSylinder 51">
            <a:extLst>
              <a:ext uri="{FF2B5EF4-FFF2-40B4-BE49-F238E27FC236}">
                <a16:creationId xmlns:a16="http://schemas.microsoft.com/office/drawing/2014/main" id="{AC84F46C-5FD8-42B6-AC7C-9A360715A9ED}"/>
              </a:ext>
            </a:extLst>
          </p:cNvPr>
          <p:cNvSpPr txBox="1"/>
          <p:nvPr/>
        </p:nvSpPr>
        <p:spPr>
          <a:xfrm>
            <a:off x="10217592" y="222949"/>
            <a:ext cx="17735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2020</a:t>
            </a:r>
          </a:p>
        </p:txBody>
      </p:sp>
      <p:sp>
        <p:nvSpPr>
          <p:cNvPr id="31" name="ZoneTexte 11">
            <a:extLst>
              <a:ext uri="{FF2B5EF4-FFF2-40B4-BE49-F238E27FC236}">
                <a16:creationId xmlns:a16="http://schemas.microsoft.com/office/drawing/2014/main" id="{89AB6D16-11B1-425B-9A88-16FDC26112F5}"/>
              </a:ext>
            </a:extLst>
          </p:cNvPr>
          <p:cNvSpPr txBox="1"/>
          <p:nvPr/>
        </p:nvSpPr>
        <p:spPr>
          <a:xfrm>
            <a:off x="2743428" y="2741212"/>
            <a:ext cx="3375924" cy="132343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3 946</a:t>
            </a:r>
            <a:endParaRPr kumimoji="0" lang="nb-NO" sz="9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Espace réservé du pied de page 4">
            <a:extLst>
              <a:ext uri="{FF2B5EF4-FFF2-40B4-BE49-F238E27FC236}">
                <a16:creationId xmlns:a16="http://schemas.microsoft.com/office/drawing/2014/main" id="{93ED2449-3E7E-4C1D-B2B9-7BF7BB2A44D4}"/>
              </a:ext>
            </a:extLst>
          </p:cNvPr>
          <p:cNvSpPr txBox="1">
            <a:spLocks/>
          </p:cNvSpPr>
          <p:nvPr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nb-NO" sz="9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roduksjon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D56456BA-1BE6-477C-9CE9-C6E6A7DDC6E4}"/>
              </a:ext>
            </a:extLst>
          </p:cNvPr>
          <p:cNvSpPr/>
          <p:nvPr/>
        </p:nvSpPr>
        <p:spPr>
          <a:xfrm>
            <a:off x="1378689" y="4862748"/>
            <a:ext cx="988433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2400" dirty="0">
                <a:solidFill>
                  <a:schemeClr val="bg1"/>
                </a:solidFill>
              </a:rPr>
              <a:t>Norsk Monitors abonnenter inkluderer kjente norske forskningsmiljøer, politiske partier, departementer, direktorater, interesseorganisasjoner, mediehus samt bedrifter/konsern – et mangfold! </a:t>
            </a:r>
          </a:p>
        </p:txBody>
      </p:sp>
    </p:spTree>
    <p:extLst>
      <p:ext uri="{BB962C8B-B14F-4D97-AF65-F5344CB8AC3E}">
        <p14:creationId xmlns:p14="http://schemas.microsoft.com/office/powerpoint/2010/main" val="23008556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28E252F-24C2-4363-939A-1F661DC487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4931" y="692695"/>
            <a:ext cx="11253417" cy="1818029"/>
          </a:xfrm>
        </p:spPr>
        <p:txBody>
          <a:bodyPr/>
          <a:lstStyle/>
          <a:p>
            <a:r>
              <a:rPr lang="nb-NO" sz="5400" dirty="0"/>
              <a:t>utviklings i mosjons og treningsinteresse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506A23DE-301E-420C-A4D9-96508013746E}"/>
              </a:ext>
            </a:extLst>
          </p:cNvPr>
          <p:cNvSpPr txBox="1"/>
          <p:nvPr/>
        </p:nvSpPr>
        <p:spPr>
          <a:xfrm>
            <a:off x="9563921" y="11305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93804221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75630" y="635275"/>
            <a:ext cx="10177047" cy="1456874"/>
          </a:xfrm>
        </p:spPr>
        <p:txBody>
          <a:bodyPr/>
          <a:lstStyle/>
          <a:p>
            <a:r>
              <a:rPr lang="nb-NO" sz="2400" cap="none" dirty="0"/>
              <a:t>Mosjons- og treningsiveren har øket jevnt og trutt gjennom mange år og </a:t>
            </a:r>
            <a:br>
              <a:rPr lang="nb-NO" sz="2400" cap="none" dirty="0"/>
            </a:br>
            <a:r>
              <a:rPr lang="nb-NO" sz="2400" cap="none" dirty="0"/>
              <a:t>økte enda litt til i siste periode</a:t>
            </a:r>
            <a:br>
              <a:rPr lang="nb-NO" sz="2400" cap="none" dirty="0"/>
            </a:br>
            <a:br>
              <a:rPr lang="nb-NO" sz="2400" cap="none" dirty="0"/>
            </a:br>
            <a:endParaRPr lang="nb-NO" sz="2267" cap="none" dirty="0"/>
          </a:p>
        </p:txBody>
      </p:sp>
      <p:sp>
        <p:nvSpPr>
          <p:cNvPr id="17" name="Rectangle 16"/>
          <p:cNvSpPr/>
          <p:nvPr/>
        </p:nvSpPr>
        <p:spPr>
          <a:xfrm>
            <a:off x="5226892" y="17991"/>
            <a:ext cx="1674525" cy="10978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32345"/>
            <a:endParaRPr lang="nb-NO" sz="1600" dirty="0">
              <a:solidFill>
                <a:srgbClr val="222223"/>
              </a:solidFill>
              <a:latin typeface="Segoe UI"/>
            </a:endParaRPr>
          </a:p>
        </p:txBody>
      </p:sp>
      <p:sp>
        <p:nvSpPr>
          <p:cNvPr id="20" name="Rectangle 16">
            <a:extLst>
              <a:ext uri="{FF2B5EF4-FFF2-40B4-BE49-F238E27FC236}">
                <a16:creationId xmlns:a16="http://schemas.microsoft.com/office/drawing/2014/main" id="{DDBE62AD-1D0A-48F7-A703-15494C4D2DD2}"/>
              </a:ext>
            </a:extLst>
          </p:cNvPr>
          <p:cNvSpPr/>
          <p:nvPr/>
        </p:nvSpPr>
        <p:spPr>
          <a:xfrm>
            <a:off x="7539203" y="132438"/>
            <a:ext cx="1918744" cy="10978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32345"/>
            <a:endParaRPr lang="nb-NO" sz="1600" dirty="0">
              <a:solidFill>
                <a:srgbClr val="222223"/>
              </a:solidFill>
              <a:latin typeface="Segoe UI"/>
            </a:endParaRP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76EFB0C7-6E20-4D8C-9ACF-BC1E4A8A6B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02894" y="2022920"/>
            <a:ext cx="2391918" cy="3001509"/>
          </a:xfrm>
          <a:prstGeom prst="rect">
            <a:avLst/>
          </a:prstGeom>
        </p:spPr>
      </p:pic>
      <p:sp>
        <p:nvSpPr>
          <p:cNvPr id="10" name="Rektangel 9">
            <a:extLst>
              <a:ext uri="{FF2B5EF4-FFF2-40B4-BE49-F238E27FC236}">
                <a16:creationId xmlns:a16="http://schemas.microsoft.com/office/drawing/2014/main" id="{C08B27C2-2920-4ECA-B05A-BC7E4A279A37}"/>
              </a:ext>
            </a:extLst>
          </p:cNvPr>
          <p:cNvSpPr/>
          <p:nvPr/>
        </p:nvSpPr>
        <p:spPr>
          <a:xfrm>
            <a:off x="8802894" y="5105517"/>
            <a:ext cx="2391918" cy="938719"/>
          </a:xfrm>
          <a:prstGeom prst="rect">
            <a:avLst/>
          </a:prstGeom>
          <a:solidFill>
            <a:srgbClr val="E2E2E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 dirty="0">
                <a:solidFill>
                  <a:prstClr val="black">
                    <a:lumMod val="90000"/>
                    <a:lumOff val="10000"/>
                  </a:prstClr>
                </a:solidFill>
                <a:latin typeface="Arial"/>
              </a:rPr>
              <a:t>Så mange som 42% svarer at de gjør en form for trenings eller mosjonsaktivitet minst tre-fire dager i uka. Dette gjelder både for kvinner og for menn</a:t>
            </a:r>
            <a:endParaRPr kumimoji="0" lang="nb-NO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264AD072-82DE-4B8A-B57B-3BE904A8D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45234998"/>
              </p:ext>
            </p:extLst>
          </p:nvPr>
        </p:nvGraphicFramePr>
        <p:xfrm>
          <a:off x="997188" y="2213637"/>
          <a:ext cx="7224248" cy="40096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C540A94E-A031-4948-A862-3CFD989ACEFA}"/>
              </a:ext>
            </a:extLst>
          </p:cNvPr>
          <p:cNvSpPr/>
          <p:nvPr/>
        </p:nvSpPr>
        <p:spPr>
          <a:xfrm>
            <a:off x="1354426" y="1821690"/>
            <a:ext cx="6096000" cy="27045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nb-NO" sz="1100" b="1" dirty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Hvor ofte vil du si at du driver fysisk aktivitet i form av trening eller mosjon?</a:t>
            </a:r>
            <a:endParaRPr lang="nb-NO" sz="11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6C750944-5332-4BF0-84C2-D9DB8D5A80B1}"/>
              </a:ext>
            </a:extLst>
          </p:cNvPr>
          <p:cNvSpPr txBox="1"/>
          <p:nvPr/>
        </p:nvSpPr>
        <p:spPr>
          <a:xfrm>
            <a:off x="9553197" y="132438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93987763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CDF3AF6D-D5FD-4802-AE13-F9EA6ED075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672661"/>
            <a:ext cx="2987045" cy="3185339"/>
          </a:xfrm>
          <a:prstGeom prst="rect">
            <a:avLst/>
          </a:prstGeom>
        </p:spPr>
      </p:pic>
      <p:sp>
        <p:nvSpPr>
          <p:cNvPr id="6" name="Tittel 1">
            <a:extLst>
              <a:ext uri="{FF2B5EF4-FFF2-40B4-BE49-F238E27FC236}">
                <a16:creationId xmlns:a16="http://schemas.microsoft.com/office/drawing/2014/main" id="{67715735-F75C-4E29-962A-1D52919E0A32}"/>
              </a:ext>
            </a:extLst>
          </p:cNvPr>
          <p:cNvSpPr txBox="1">
            <a:spLocks/>
          </p:cNvSpPr>
          <p:nvPr/>
        </p:nvSpPr>
        <p:spPr bwMode="gray">
          <a:xfrm>
            <a:off x="368992" y="2825688"/>
            <a:ext cx="2249061" cy="492443"/>
          </a:xfrm>
          <a:prstGeom prst="rect">
            <a:avLst/>
          </a:prstGeom>
          <a:noFill/>
        </p:spPr>
        <p:txBody>
          <a:bodyPr wrap="square" lIns="110425" tIns="0" rIns="110425" bIns="0" rtlCol="0" anchor="ctr">
            <a:sp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ctr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ener minst 3 ganger i uken (42%) 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8ACE9AB0-DACB-4859-9A90-E7F9C5FDF3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20976" y="3656427"/>
            <a:ext cx="3044809" cy="3185339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96A15E6B-4682-4294-9C38-DCBF596FDD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0018" y="3656427"/>
            <a:ext cx="2952084" cy="3118165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BB70F5CA-4FEC-45B2-9636-7EE9929EB7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94366" y="3683000"/>
            <a:ext cx="3027356" cy="3158064"/>
          </a:xfrm>
          <a:prstGeom prst="rect">
            <a:avLst/>
          </a:prstGeom>
        </p:spPr>
      </p:pic>
      <p:sp>
        <p:nvSpPr>
          <p:cNvPr id="13" name="Tittel 1">
            <a:extLst>
              <a:ext uri="{FF2B5EF4-FFF2-40B4-BE49-F238E27FC236}">
                <a16:creationId xmlns:a16="http://schemas.microsoft.com/office/drawing/2014/main" id="{21C8EE83-BE15-4FB0-88E6-FB7CB2394980}"/>
              </a:ext>
            </a:extLst>
          </p:cNvPr>
          <p:cNvSpPr txBox="1">
            <a:spLocks/>
          </p:cNvSpPr>
          <p:nvPr/>
        </p:nvSpPr>
        <p:spPr bwMode="gray">
          <a:xfrm>
            <a:off x="3369578" y="2825689"/>
            <a:ext cx="2249061" cy="492443"/>
          </a:xfrm>
          <a:prstGeom prst="rect">
            <a:avLst/>
          </a:prstGeom>
          <a:noFill/>
        </p:spPr>
        <p:txBody>
          <a:bodyPr wrap="square" lIns="110425" tIns="0" rIns="110425" bIns="0" rtlCol="0" anchor="ctr">
            <a:sp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ctr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ener 1 gang i uka (17%)</a:t>
            </a:r>
          </a:p>
        </p:txBody>
      </p:sp>
      <p:sp>
        <p:nvSpPr>
          <p:cNvPr id="14" name="Tittel 1">
            <a:extLst>
              <a:ext uri="{FF2B5EF4-FFF2-40B4-BE49-F238E27FC236}">
                <a16:creationId xmlns:a16="http://schemas.microsoft.com/office/drawing/2014/main" id="{8E74A64E-49EF-40DC-BCE8-6C4D337BDB77}"/>
              </a:ext>
            </a:extLst>
          </p:cNvPr>
          <p:cNvSpPr txBox="1">
            <a:spLocks/>
          </p:cNvSpPr>
          <p:nvPr/>
        </p:nvSpPr>
        <p:spPr bwMode="gray">
          <a:xfrm>
            <a:off x="6370163" y="3120963"/>
            <a:ext cx="2249061" cy="492443"/>
          </a:xfrm>
          <a:prstGeom prst="rect">
            <a:avLst/>
          </a:prstGeom>
          <a:noFill/>
        </p:spPr>
        <p:txBody>
          <a:bodyPr wrap="square" lIns="110425" tIns="0" rIns="110425" bIns="0" rtlCol="0" anchor="ctr">
            <a:sp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ctr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ener hver 14 dag eller sjeldnere (14%)</a:t>
            </a:r>
          </a:p>
        </p:txBody>
      </p:sp>
      <p:sp>
        <p:nvSpPr>
          <p:cNvPr id="15" name="Tittel 1">
            <a:extLst>
              <a:ext uri="{FF2B5EF4-FFF2-40B4-BE49-F238E27FC236}">
                <a16:creationId xmlns:a16="http://schemas.microsoft.com/office/drawing/2014/main" id="{E353A554-D2DD-4784-9DC9-78AD0B57FD47}"/>
              </a:ext>
            </a:extLst>
          </p:cNvPr>
          <p:cNvSpPr txBox="1">
            <a:spLocks/>
          </p:cNvSpPr>
          <p:nvPr/>
        </p:nvSpPr>
        <p:spPr bwMode="gray">
          <a:xfrm>
            <a:off x="9370747" y="3120964"/>
            <a:ext cx="2249061" cy="246221"/>
          </a:xfrm>
          <a:prstGeom prst="rect">
            <a:avLst/>
          </a:prstGeom>
          <a:noFill/>
        </p:spPr>
        <p:txBody>
          <a:bodyPr wrap="square" lIns="110425" tIns="0" rIns="110425" bIns="0" rtlCol="0" anchor="ctr">
            <a:sp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ctr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ener aldri (8%)</a:t>
            </a:r>
          </a:p>
        </p:txBody>
      </p:sp>
      <p:sp>
        <p:nvSpPr>
          <p:cNvPr id="17" name="Tittel 16">
            <a:extLst>
              <a:ext uri="{FF2B5EF4-FFF2-40B4-BE49-F238E27FC236}">
                <a16:creationId xmlns:a16="http://schemas.microsoft.com/office/drawing/2014/main" id="{F19FDD62-60E4-4832-9406-504B375DE9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114" y="847531"/>
            <a:ext cx="5793924" cy="246221"/>
          </a:xfrm>
        </p:spPr>
        <p:txBody>
          <a:bodyPr/>
          <a:lstStyle/>
          <a:p>
            <a:r>
              <a:rPr lang="nb-NO" sz="1600" cap="none" dirty="0"/>
              <a:t>Flest som trener ofte blant intellektuelle moderne materialister</a:t>
            </a:r>
          </a:p>
        </p:txBody>
      </p:sp>
      <p:pic>
        <p:nvPicPr>
          <p:cNvPr id="18" name="Bilde 17">
            <a:extLst>
              <a:ext uri="{FF2B5EF4-FFF2-40B4-BE49-F238E27FC236}">
                <a16:creationId xmlns:a16="http://schemas.microsoft.com/office/drawing/2014/main" id="{BCF38CA4-5DA8-4B75-B861-CAA923FDE7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12885" y="781577"/>
            <a:ext cx="2508837" cy="2090699"/>
          </a:xfrm>
          <a:prstGeom prst="rect">
            <a:avLst/>
          </a:prstGeom>
        </p:spPr>
      </p:pic>
      <p:sp>
        <p:nvSpPr>
          <p:cNvPr id="20" name="Tittel 16">
            <a:extLst>
              <a:ext uri="{FF2B5EF4-FFF2-40B4-BE49-F238E27FC236}">
                <a16:creationId xmlns:a16="http://schemas.microsoft.com/office/drawing/2014/main" id="{774456C9-43F1-41C4-AB4C-AA7AF61AF4EE}"/>
              </a:ext>
            </a:extLst>
          </p:cNvPr>
          <p:cNvSpPr txBox="1">
            <a:spLocks/>
          </p:cNvSpPr>
          <p:nvPr/>
        </p:nvSpPr>
        <p:spPr bwMode="gray">
          <a:xfrm>
            <a:off x="344114" y="1247827"/>
            <a:ext cx="4321116" cy="246221"/>
          </a:xfrm>
          <a:prstGeom prst="rect">
            <a:avLst/>
          </a:prstGeom>
          <a:noFill/>
        </p:spPr>
        <p:txBody>
          <a:bodyPr wrap="none" lIns="110425" tIns="0" rIns="110425" bIns="0" rtlCol="0" anchor="ctr">
            <a:sp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n gang i uke er normalfordelt i befolkningen</a:t>
            </a:r>
          </a:p>
        </p:txBody>
      </p:sp>
      <p:sp>
        <p:nvSpPr>
          <p:cNvPr id="21" name="Tittel 16">
            <a:extLst>
              <a:ext uri="{FF2B5EF4-FFF2-40B4-BE49-F238E27FC236}">
                <a16:creationId xmlns:a16="http://schemas.microsoft.com/office/drawing/2014/main" id="{7BE9BFF8-C29A-46FC-9972-8C326925D8A6}"/>
              </a:ext>
            </a:extLst>
          </p:cNvPr>
          <p:cNvSpPr txBox="1">
            <a:spLocks/>
          </p:cNvSpPr>
          <p:nvPr/>
        </p:nvSpPr>
        <p:spPr bwMode="gray">
          <a:xfrm>
            <a:off x="344114" y="1647563"/>
            <a:ext cx="4333619" cy="246221"/>
          </a:xfrm>
          <a:prstGeom prst="rect">
            <a:avLst/>
          </a:prstGeom>
          <a:noFill/>
        </p:spPr>
        <p:txBody>
          <a:bodyPr wrap="none" lIns="110425" tIns="0" rIns="110425" bIns="0" rtlCol="0" anchor="ctr">
            <a:sp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lest materialister blant de som trener sjelden</a:t>
            </a:r>
          </a:p>
        </p:txBody>
      </p:sp>
      <p:sp>
        <p:nvSpPr>
          <p:cNvPr id="22" name="Tittel 16">
            <a:extLst>
              <a:ext uri="{FF2B5EF4-FFF2-40B4-BE49-F238E27FC236}">
                <a16:creationId xmlns:a16="http://schemas.microsoft.com/office/drawing/2014/main" id="{9684F8C5-1512-4103-B2A8-25DE45EC12D5}"/>
              </a:ext>
            </a:extLst>
          </p:cNvPr>
          <p:cNvSpPr txBox="1">
            <a:spLocks/>
          </p:cNvSpPr>
          <p:nvPr/>
        </p:nvSpPr>
        <p:spPr bwMode="gray">
          <a:xfrm>
            <a:off x="344114" y="2066994"/>
            <a:ext cx="4836064" cy="246221"/>
          </a:xfrm>
          <a:prstGeom prst="rect">
            <a:avLst/>
          </a:prstGeom>
          <a:noFill/>
        </p:spPr>
        <p:txBody>
          <a:bodyPr wrap="none" lIns="110425" tIns="0" rIns="110425" bIns="0" rtlCol="0" anchor="ctr">
            <a:sp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lest folkelige tradisjonelle materialister trener aldri</a:t>
            </a:r>
          </a:p>
        </p:txBody>
      </p:sp>
      <p:sp>
        <p:nvSpPr>
          <p:cNvPr id="23" name="Tittel 16">
            <a:extLst>
              <a:ext uri="{FF2B5EF4-FFF2-40B4-BE49-F238E27FC236}">
                <a16:creationId xmlns:a16="http://schemas.microsoft.com/office/drawing/2014/main" id="{699AADC5-F71B-4332-9ED2-E7BACDED81FE}"/>
              </a:ext>
            </a:extLst>
          </p:cNvPr>
          <p:cNvSpPr txBox="1">
            <a:spLocks/>
          </p:cNvSpPr>
          <p:nvPr/>
        </p:nvSpPr>
        <p:spPr bwMode="gray">
          <a:xfrm>
            <a:off x="70278" y="399096"/>
            <a:ext cx="11785980" cy="410433"/>
          </a:xfrm>
          <a:prstGeom prst="rect">
            <a:avLst/>
          </a:prstGeom>
          <a:noFill/>
        </p:spPr>
        <p:txBody>
          <a:bodyPr wrap="none" lIns="110425" tIns="0" rIns="110425" bIns="0" rtlCol="0" anchor="ctr">
            <a:spAutoFit/>
          </a:bodyPr>
          <a:lstStyle>
            <a:lvl1pPr algn="l" defTabSz="715436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2449" b="0" kern="1200" cap="all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53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667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eningshyppighet varierer sterkt med hvilke grunnleggende verdier man har</a:t>
            </a:r>
          </a:p>
        </p:txBody>
      </p:sp>
      <p:pic>
        <p:nvPicPr>
          <p:cNvPr id="24" name="Bilde 31" descr="Et bilde som inneholder person, innendørs, bord, spise&#10;&#10;Automatisk generert beskrivelse">
            <a:extLst>
              <a:ext uri="{FF2B5EF4-FFF2-40B4-BE49-F238E27FC236}">
                <a16:creationId xmlns:a16="http://schemas.microsoft.com/office/drawing/2014/main" id="{FF5B33C9-4B9A-476B-81E0-26898390342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96120" y="845031"/>
            <a:ext cx="1279651" cy="943166"/>
          </a:xfrm>
          <a:prstGeom prst="rect">
            <a:avLst/>
          </a:prstGeom>
        </p:spPr>
      </p:pic>
      <p:pic>
        <p:nvPicPr>
          <p:cNvPr id="25" name="Bilde 7" descr="Et bilde som inneholder bygning, person, utendørs, kvinne&#10;&#10;Automatisk generert beskrivelse">
            <a:extLst>
              <a:ext uri="{FF2B5EF4-FFF2-40B4-BE49-F238E27FC236}">
                <a16:creationId xmlns:a16="http://schemas.microsoft.com/office/drawing/2014/main" id="{7FD9C91B-E23B-42EC-895E-E58D2745F4A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07"/>
          <a:stretch/>
        </p:blipFill>
        <p:spPr>
          <a:xfrm>
            <a:off x="8360482" y="852986"/>
            <a:ext cx="1221889" cy="927257"/>
          </a:xfrm>
          <a:prstGeom prst="rect">
            <a:avLst/>
          </a:prstGeom>
        </p:spPr>
      </p:pic>
      <p:pic>
        <p:nvPicPr>
          <p:cNvPr id="26" name="Bilde 10" descr="Et bilde som inneholder person, innendørs, bord, mann&#10;&#10;Automatisk generert beskrivelse">
            <a:extLst>
              <a:ext uri="{FF2B5EF4-FFF2-40B4-BE49-F238E27FC236}">
                <a16:creationId xmlns:a16="http://schemas.microsoft.com/office/drawing/2014/main" id="{4531FA6C-EA6E-4724-A36F-6BCBCF81FE2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59820" y="1833437"/>
            <a:ext cx="1233202" cy="902689"/>
          </a:xfrm>
          <a:prstGeom prst="rect">
            <a:avLst/>
          </a:prstGeom>
        </p:spPr>
      </p:pic>
      <p:pic>
        <p:nvPicPr>
          <p:cNvPr id="27" name="Bilde 4" descr="Et bilde som inneholder person, innendørs, bord, barn&#10;&#10;Automatisk generert beskrivelse">
            <a:extLst>
              <a:ext uri="{FF2B5EF4-FFF2-40B4-BE49-F238E27FC236}">
                <a16:creationId xmlns:a16="http://schemas.microsoft.com/office/drawing/2014/main" id="{7F03B837-31F0-4A1E-AD02-095E2024633B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6986803" y="1842147"/>
            <a:ext cx="1298284" cy="902753"/>
          </a:xfrm>
          <a:prstGeom prst="rect">
            <a:avLst/>
          </a:prstGeom>
        </p:spPr>
      </p:pic>
      <p:sp>
        <p:nvSpPr>
          <p:cNvPr id="28" name="TekstSylinder 27">
            <a:extLst>
              <a:ext uri="{FF2B5EF4-FFF2-40B4-BE49-F238E27FC236}">
                <a16:creationId xmlns:a16="http://schemas.microsoft.com/office/drawing/2014/main" id="{2ABFCE93-B8F8-4C00-8107-90E23625C8C2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94568681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3" grpId="0"/>
      <p:bldP spid="14" grpId="0"/>
      <p:bldP spid="15" grpId="0"/>
      <p:bldP spid="17" grpId="0"/>
      <p:bldP spid="20" grpId="0"/>
      <p:bldP spid="21" grpId="0"/>
      <p:bldP spid="22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97188" y="756709"/>
            <a:ext cx="9675949" cy="718210"/>
          </a:xfrm>
        </p:spPr>
        <p:txBody>
          <a:bodyPr/>
          <a:lstStyle/>
          <a:p>
            <a:r>
              <a:rPr lang="nb-NO" sz="2400" cap="none" dirty="0"/>
              <a:t>Ungdommen holder høyest treningsfrekvens og 25-40 åringene lavest</a:t>
            </a:r>
            <a:br>
              <a:rPr lang="nb-NO" sz="2400" cap="none" dirty="0"/>
            </a:br>
            <a:endParaRPr lang="nb-NO" sz="2267" cap="none" dirty="0"/>
          </a:p>
        </p:txBody>
      </p:sp>
      <p:sp>
        <p:nvSpPr>
          <p:cNvPr id="17" name="Rectangle 16"/>
          <p:cNvSpPr/>
          <p:nvPr/>
        </p:nvSpPr>
        <p:spPr>
          <a:xfrm>
            <a:off x="5226892" y="17991"/>
            <a:ext cx="1674525" cy="10978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32345"/>
            <a:endParaRPr lang="nb-NO" sz="1600" dirty="0">
              <a:solidFill>
                <a:srgbClr val="222223"/>
              </a:solidFill>
              <a:latin typeface="Segoe UI"/>
            </a:endParaRPr>
          </a:p>
        </p:txBody>
      </p:sp>
      <p:sp>
        <p:nvSpPr>
          <p:cNvPr id="20" name="Rectangle 16">
            <a:extLst>
              <a:ext uri="{FF2B5EF4-FFF2-40B4-BE49-F238E27FC236}">
                <a16:creationId xmlns:a16="http://schemas.microsoft.com/office/drawing/2014/main" id="{DDBE62AD-1D0A-48F7-A703-15494C4D2DD2}"/>
              </a:ext>
            </a:extLst>
          </p:cNvPr>
          <p:cNvSpPr/>
          <p:nvPr/>
        </p:nvSpPr>
        <p:spPr>
          <a:xfrm>
            <a:off x="7539203" y="132438"/>
            <a:ext cx="1918744" cy="10978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32345"/>
            <a:endParaRPr lang="nb-NO" sz="1600" dirty="0">
              <a:solidFill>
                <a:srgbClr val="222223"/>
              </a:solidFill>
              <a:latin typeface="Segoe UI"/>
            </a:endParaRP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76EFB0C7-6E20-4D8C-9ACF-BC1E4A8A6B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02894" y="2022920"/>
            <a:ext cx="2391918" cy="3001509"/>
          </a:xfrm>
          <a:prstGeom prst="rect">
            <a:avLst/>
          </a:prstGeom>
        </p:spPr>
      </p:pic>
      <p:sp>
        <p:nvSpPr>
          <p:cNvPr id="5" name="Rektangel 4">
            <a:extLst>
              <a:ext uri="{FF2B5EF4-FFF2-40B4-BE49-F238E27FC236}">
                <a16:creationId xmlns:a16="http://schemas.microsoft.com/office/drawing/2014/main" id="{C540A94E-A031-4948-A862-3CFD989ACEFA}"/>
              </a:ext>
            </a:extLst>
          </p:cNvPr>
          <p:cNvSpPr/>
          <p:nvPr/>
        </p:nvSpPr>
        <p:spPr>
          <a:xfrm>
            <a:off x="1443203" y="2213637"/>
            <a:ext cx="6096000" cy="65979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nb-NO" sz="1100" b="1" dirty="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</a:rPr>
              <a:t>Hvor ofte vil du si at du driver fysisk aktivitet i form av trening eller mosjon?</a:t>
            </a:r>
          </a:p>
          <a:p>
            <a:pPr>
              <a:lnSpc>
                <a:spcPct val="115000"/>
              </a:lnSpc>
            </a:pPr>
            <a:r>
              <a:rPr lang="nb-NO" sz="1100" b="1" i="1" dirty="0">
                <a:latin typeface="Arial" panose="020B0604020202020204" pitchFamily="34" charset="0"/>
                <a:cs typeface="Arial" panose="020B0604020202020204" pitchFamily="34" charset="0"/>
              </a:rPr>
              <a:t>– Tre ganger i uka eller oftere</a:t>
            </a:r>
            <a:endParaRPr lang="nb-NO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endParaRPr lang="nb-NO" sz="11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595E67C1-7CB8-4F07-9608-9345438979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0371275"/>
              </p:ext>
            </p:extLst>
          </p:nvPr>
        </p:nvGraphicFramePr>
        <p:xfrm>
          <a:off x="1090863" y="2686184"/>
          <a:ext cx="7102170" cy="32181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kstSylinder 7">
            <a:extLst>
              <a:ext uri="{FF2B5EF4-FFF2-40B4-BE49-F238E27FC236}">
                <a16:creationId xmlns:a16="http://schemas.microsoft.com/office/drawing/2014/main" id="{0452BA22-D5BC-4A44-B5DD-CB3E5C59A57D}"/>
              </a:ext>
            </a:extLst>
          </p:cNvPr>
          <p:cNvSpPr txBox="1"/>
          <p:nvPr/>
        </p:nvSpPr>
        <p:spPr>
          <a:xfrm>
            <a:off x="9525821" y="144155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21155167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200A53-2877-4A95-B7C9-99212D61751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A189CE0-67AA-42A9-BDCB-DA6692C48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185" y="325066"/>
            <a:ext cx="9640744" cy="83099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 sz="2400" dirty="0"/>
              <a:t>Syv av ti bruker minst 45 minutter på en mosjons- eller treningsøkt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0297349B-D7B8-42D8-87EF-5377C3DB5D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233978"/>
              </p:ext>
            </p:extLst>
          </p:nvPr>
        </p:nvGraphicFramePr>
        <p:xfrm>
          <a:off x="1170271" y="1804737"/>
          <a:ext cx="7307981" cy="4505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E3A3BCCD-456D-4AA1-8526-ADA300DBC342}"/>
              </a:ext>
            </a:extLst>
          </p:cNvPr>
          <p:cNvSpPr/>
          <p:nvPr/>
        </p:nvSpPr>
        <p:spPr>
          <a:xfrm>
            <a:off x="2149642" y="1534278"/>
            <a:ext cx="6096000" cy="27045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nb-NO" sz="1100" b="1" dirty="0">
                <a:latin typeface="Arial" panose="020B0604020202020204" pitchFamily="34" charset="0"/>
                <a:ea typeface="Arial" panose="020B0604020202020204" pitchFamily="34" charset="0"/>
              </a:rPr>
              <a:t>Hvor lang tid bruker du vanligvis på en mosjons-/treningsøkt?</a:t>
            </a:r>
            <a:endParaRPr lang="nb-NO" sz="11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AE1354A-0D1F-4E33-A752-0892D4FFD828}"/>
              </a:ext>
            </a:extLst>
          </p:cNvPr>
          <p:cNvSpPr/>
          <p:nvPr/>
        </p:nvSpPr>
        <p:spPr>
          <a:xfrm>
            <a:off x="8805505" y="3472631"/>
            <a:ext cx="2773349" cy="1169551"/>
          </a:xfrm>
          <a:prstGeom prst="rect">
            <a:avLst/>
          </a:prstGeom>
          <a:solidFill>
            <a:srgbClr val="E2E2E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400" dirty="0">
                <a:solidFill>
                  <a:prstClr val="black">
                    <a:lumMod val="90000"/>
                    <a:lumOff val="10000"/>
                  </a:prstClr>
                </a:solidFill>
                <a:latin typeface="Arial"/>
              </a:rPr>
              <a:t>40% av mennene og 30% av kvinnene bruker minst en tim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400" dirty="0">
              <a:solidFill>
                <a:prstClr val="black">
                  <a:lumMod val="90000"/>
                  <a:lumOff val="10000"/>
                </a:prstClr>
              </a:solidFill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0000"/>
                    <a:lumOff val="1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5% i aldersgruppen 15 - 24 år bruker minst en time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0204F363-8A0D-4936-A472-56CCB0C98211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10311958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200A53-2877-4A95-B7C9-99212D61751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A189CE0-67AA-42A9-BDCB-DA6692C48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499" y="589721"/>
            <a:ext cx="10574986" cy="64633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 sz="1800" dirty="0"/>
              <a:t>En av tre gjør en solid innsats når de mosjonerer eller trener</a:t>
            </a:r>
            <a:br>
              <a:rPr lang="nb-NO" sz="1800" dirty="0"/>
            </a:br>
            <a:r>
              <a:rPr lang="nb-NO" sz="1800" dirty="0"/>
              <a:t>de blir andpustne, svette og slitne eller svært slitne</a:t>
            </a:r>
            <a:endParaRPr lang="nb-NO" sz="1400" dirty="0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E3A3BCCD-456D-4AA1-8526-ADA300DBC342}"/>
              </a:ext>
            </a:extLst>
          </p:cNvPr>
          <p:cNvSpPr/>
          <p:nvPr/>
        </p:nvSpPr>
        <p:spPr>
          <a:xfrm>
            <a:off x="2681675" y="2524701"/>
            <a:ext cx="6096000" cy="27045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nb-NO" sz="1100" b="1" dirty="0">
                <a:latin typeface="Arial" panose="020B0604020202020204" pitchFamily="34" charset="0"/>
                <a:ea typeface="Arial" panose="020B0604020202020204" pitchFamily="34" charset="0"/>
              </a:rPr>
              <a:t>Hvor intenst trener du?</a:t>
            </a:r>
            <a:endParaRPr lang="nb-NO" sz="11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graphicFrame>
        <p:nvGraphicFramePr>
          <p:cNvPr id="8" name="Object 2">
            <a:extLst>
              <a:ext uri="{FF2B5EF4-FFF2-40B4-BE49-F238E27FC236}">
                <a16:creationId xmlns:a16="http://schemas.microsoft.com/office/drawing/2014/main" id="{1DBA2EEC-5070-465A-84AA-67E7B617577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96802381"/>
              </p:ext>
            </p:extLst>
          </p:nvPr>
        </p:nvGraphicFramePr>
        <p:xfrm>
          <a:off x="376664" y="2997820"/>
          <a:ext cx="6368143" cy="35938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C5BD8AE0-5A3B-4002-A1C7-644F7A1169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9258435"/>
              </p:ext>
            </p:extLst>
          </p:nvPr>
        </p:nvGraphicFramePr>
        <p:xfrm>
          <a:off x="7035395" y="2948640"/>
          <a:ext cx="3484560" cy="30515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Rektangel 3">
            <a:extLst>
              <a:ext uri="{FF2B5EF4-FFF2-40B4-BE49-F238E27FC236}">
                <a16:creationId xmlns:a16="http://schemas.microsoft.com/office/drawing/2014/main" id="{2981AB97-C6B8-41A1-AF8A-73E76217DC2A}"/>
              </a:ext>
            </a:extLst>
          </p:cNvPr>
          <p:cNvSpPr/>
          <p:nvPr/>
        </p:nvSpPr>
        <p:spPr>
          <a:xfrm>
            <a:off x="7035395" y="2565099"/>
            <a:ext cx="502597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100" b="1" dirty="0"/>
              <a:t>Andel som tar seg helt ut eller blir andpusten. svett og sliten</a:t>
            </a:r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64EE6344-3A51-4157-A724-98A801AEEA30}"/>
              </a:ext>
            </a:extLst>
          </p:cNvPr>
          <p:cNvSpPr txBox="1">
            <a:spLocks/>
          </p:cNvSpPr>
          <p:nvPr/>
        </p:nvSpPr>
        <p:spPr>
          <a:xfrm>
            <a:off x="733499" y="1357983"/>
            <a:ext cx="10574986" cy="523220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nb-NO" sz="1400" dirty="0"/>
              <a:t>I m</a:t>
            </a:r>
            <a:r>
              <a:rPr lang="nb-NO" sz="1400" cap="none" dirty="0"/>
              <a:t>otsetning til treningsfrekvens er det store forskjeller i treningsintensitet mellom aldersgruppene                       Opp til 30 års alder trenes det hardt – så blir det </a:t>
            </a:r>
            <a:r>
              <a:rPr lang="nb-NO" sz="1400" cap="none" dirty="0" err="1"/>
              <a:t>grtadvis</a:t>
            </a:r>
            <a:r>
              <a:rPr lang="nb-NO" sz="1400" cap="none" dirty="0"/>
              <a:t> roligere</a:t>
            </a:r>
            <a:endParaRPr lang="nb-NO" sz="1400" dirty="0"/>
          </a:p>
        </p:txBody>
      </p:sp>
      <p:sp>
        <p:nvSpPr>
          <p:cNvPr id="5" name="Høyre klammeparentes 4">
            <a:extLst>
              <a:ext uri="{FF2B5EF4-FFF2-40B4-BE49-F238E27FC236}">
                <a16:creationId xmlns:a16="http://schemas.microsoft.com/office/drawing/2014/main" id="{2E743B65-AB33-4E9D-B4E5-D1EA3D7AE7F8}"/>
              </a:ext>
            </a:extLst>
          </p:cNvPr>
          <p:cNvSpPr/>
          <p:nvPr/>
        </p:nvSpPr>
        <p:spPr>
          <a:xfrm>
            <a:off x="4671937" y="5200650"/>
            <a:ext cx="185813" cy="609600"/>
          </a:xfrm>
          <a:prstGeom prst="rightBrace">
            <a:avLst/>
          </a:prstGeom>
          <a:ln w="19050">
            <a:solidFill>
              <a:schemeClr val="bg2">
                <a:alpha val="9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30E60FEB-656C-4F43-A1CA-5A76275C4E0D}"/>
              </a:ext>
            </a:extLst>
          </p:cNvPr>
          <p:cNvSpPr txBox="1"/>
          <p:nvPr/>
        </p:nvSpPr>
        <p:spPr>
          <a:xfrm>
            <a:off x="4962525" y="5358340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34%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8B850ABD-67EB-40D4-B48B-4BF0480ABD6F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996514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  <p:bldP spid="4" grpId="0"/>
      <p:bldP spid="9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3200A53-2877-4A95-B7C9-99212D61751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A189CE0-67AA-42A9-BDCB-DA6692C48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071" y="857794"/>
            <a:ext cx="10574986" cy="113877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nb-NO" sz="1800" dirty="0"/>
              <a:t>I aldersgruppene under 40 år var det i perioden 2011 – 2015 betydelig flere som hadde fokus på å trene hardt enn hva det er i dag</a:t>
            </a:r>
            <a:br>
              <a:rPr lang="nb-NO" sz="1800" dirty="0"/>
            </a:br>
            <a:br>
              <a:rPr lang="nb-NO" sz="1800" dirty="0"/>
            </a:br>
            <a:endParaRPr lang="nb-NO" sz="1400" dirty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2981AB97-C6B8-41A1-AF8A-73E76217DC2A}"/>
              </a:ext>
            </a:extLst>
          </p:cNvPr>
          <p:cNvSpPr/>
          <p:nvPr/>
        </p:nvSpPr>
        <p:spPr>
          <a:xfrm>
            <a:off x="1506661" y="2649766"/>
            <a:ext cx="502597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100" b="1" dirty="0"/>
              <a:t>Andel som tar seg helt ut eller blir andpusten. svett og sliten</a:t>
            </a:r>
          </a:p>
        </p:txBody>
      </p:sp>
      <p:graphicFrame>
        <p:nvGraphicFramePr>
          <p:cNvPr id="10" name="Object 2">
            <a:extLst>
              <a:ext uri="{FF2B5EF4-FFF2-40B4-BE49-F238E27FC236}">
                <a16:creationId xmlns:a16="http://schemas.microsoft.com/office/drawing/2014/main" id="{EBB6A37A-685C-4B76-8F01-B874FCAF09E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32333422"/>
              </p:ext>
            </p:extLst>
          </p:nvPr>
        </p:nvGraphicFramePr>
        <p:xfrm>
          <a:off x="907143" y="2970980"/>
          <a:ext cx="6624775" cy="3543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kstSylinder 5">
            <a:extLst>
              <a:ext uri="{FF2B5EF4-FFF2-40B4-BE49-F238E27FC236}">
                <a16:creationId xmlns:a16="http://schemas.microsoft.com/office/drawing/2014/main" id="{9B00A5E1-43F3-4ED7-834C-4EBD12DB8E21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67167267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981BBA65-3945-4B07-BB12-B0FB3F3545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926" y="160203"/>
            <a:ext cx="11839617" cy="6537595"/>
          </a:xfrm>
          <a:prstGeom prst="rect">
            <a:avLst/>
          </a:prstGeom>
        </p:spPr>
      </p:pic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D476108-4917-4C9A-B862-29631532D5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2830" y="4329719"/>
            <a:ext cx="5646143" cy="820674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r>
              <a:rPr lang="nb-NO" sz="5333" dirty="0"/>
              <a:t>Hvor trener vi?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565" y="5753005"/>
            <a:ext cx="445856" cy="359168"/>
          </a:xfrm>
          <a:prstGeom prst="rect">
            <a:avLst/>
          </a:prstGeom>
        </p:spPr>
      </p:pic>
      <p:sp>
        <p:nvSpPr>
          <p:cNvPr id="14" name="Footer Placeholder 10"/>
          <p:cNvSpPr txBox="1">
            <a:spLocks/>
          </p:cNvSpPr>
          <p:nvPr/>
        </p:nvSpPr>
        <p:spPr>
          <a:xfrm>
            <a:off x="10066225" y="6171885"/>
            <a:ext cx="1959319" cy="5259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51802" rtl="0" eaLnBrk="1" latinLnBrk="0" hangingPunct="1">
              <a:defRPr sz="1000" kern="1200">
                <a:solidFill>
                  <a:schemeClr val="accent4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259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704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606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507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408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310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211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3891"/>
            <a:r>
              <a:rPr lang="en-US" sz="635" dirty="0">
                <a:solidFill>
                  <a:srgbClr val="000000"/>
                </a:solidFill>
                <a:latin typeface="Segoe UI"/>
              </a:rPr>
              <a:t>© 2018 Ipsos.  All rights reserved. Contains Ipsos' Confidential and Proprietary information and may not be disclosed or reproduced without the prior written consent of Ipsos</a:t>
            </a:r>
            <a:r>
              <a:rPr lang="en-US" sz="816" dirty="0">
                <a:solidFill>
                  <a:srgbClr val="000000"/>
                </a:solidFill>
                <a:latin typeface="Segoe UI"/>
              </a:rPr>
              <a:t>.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0A90CDF4-939A-4114-843A-58C8459E30BA}"/>
              </a:ext>
            </a:extLst>
          </p:cNvPr>
          <p:cNvSpPr txBox="1"/>
          <p:nvPr/>
        </p:nvSpPr>
        <p:spPr>
          <a:xfrm>
            <a:off x="9521290" y="160202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88012770"/>
      </p:ext>
    </p:extLst>
  </p:cSld>
  <p:clrMapOvr>
    <a:masterClrMapping/>
  </p:clrMapOvr>
  <p:transition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3D924412-996B-4B7C-96EC-F253C4A0EF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4114" y="0"/>
            <a:ext cx="5465176" cy="6858000"/>
          </a:xfrm>
          <a:prstGeom prst="rect">
            <a:avLst/>
          </a:prstGeom>
        </p:spPr>
      </p:pic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EA6A653D-DB09-4BD6-ABE0-2472633F25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48456475"/>
              </p:ext>
            </p:extLst>
          </p:nvPr>
        </p:nvGraphicFramePr>
        <p:xfrm>
          <a:off x="5057599" y="926425"/>
          <a:ext cx="6853427" cy="5495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Box 2">
            <a:extLst>
              <a:ext uri="{FF2B5EF4-FFF2-40B4-BE49-F238E27FC236}">
                <a16:creationId xmlns:a16="http://schemas.microsoft.com/office/drawing/2014/main" id="{D7561901-24F0-4BD6-A228-891FCC440DE7}"/>
              </a:ext>
            </a:extLst>
          </p:cNvPr>
          <p:cNvSpPr txBox="1"/>
          <p:nvPr/>
        </p:nvSpPr>
        <p:spPr>
          <a:xfrm>
            <a:off x="5724525" y="936663"/>
            <a:ext cx="4738395" cy="674200"/>
          </a:xfrm>
          <a:prstGeom prst="rect">
            <a:avLst/>
          </a:prstGeom>
          <a:noFill/>
        </p:spPr>
        <p:txBody>
          <a:bodyPr vert="horz" wrap="square" lIns="90000" tIns="90000" rIns="90000" bIns="90000" rtlCol="0">
            <a:spAutoFit/>
          </a:bodyPr>
          <a:lstStyle/>
          <a:p>
            <a:pPr marL="4763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som du har merket av flere sammenhenger, </a:t>
            </a:r>
            <a:r>
              <a:rPr kumimoji="0" lang="nb-NO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vilken har du drevet mest med det siste året </a:t>
            </a: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032369C3-277D-4AF0-86C8-6E557C0FAD76}"/>
              </a:ext>
            </a:extLst>
          </p:cNvPr>
          <p:cNvSpPr txBox="1">
            <a:spLocks/>
          </p:cNvSpPr>
          <p:nvPr/>
        </p:nvSpPr>
        <p:spPr>
          <a:xfrm>
            <a:off x="445529" y="1093214"/>
            <a:ext cx="4862078" cy="1938992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nb-NO" sz="2400" dirty="0">
                <a:solidFill>
                  <a:schemeClr val="tx1"/>
                </a:solidFill>
                <a:highlight>
                  <a:srgbClr val="F6F5F3"/>
                </a:highlight>
              </a:rPr>
              <a:t>Trening På egenhånd </a:t>
            </a:r>
          </a:p>
          <a:p>
            <a:pPr algn="ctr">
              <a:lnSpc>
                <a:spcPct val="100000"/>
              </a:lnSpc>
            </a:pPr>
            <a:r>
              <a:rPr lang="nb-NO" sz="2400" dirty="0">
                <a:solidFill>
                  <a:schemeClr val="tx1"/>
                </a:solidFill>
                <a:highlight>
                  <a:srgbClr val="F6F5F3"/>
                </a:highlight>
              </a:rPr>
              <a:t>og på privat senter </a:t>
            </a:r>
          </a:p>
          <a:p>
            <a:pPr algn="ctr">
              <a:lnSpc>
                <a:spcPct val="100000"/>
              </a:lnSpc>
            </a:pPr>
            <a:r>
              <a:rPr lang="nb-NO" sz="2400" dirty="0">
                <a:solidFill>
                  <a:schemeClr val="tx1"/>
                </a:solidFill>
                <a:highlight>
                  <a:srgbClr val="F6F5F3"/>
                </a:highlight>
              </a:rPr>
              <a:t>Er  klart vanligste sammenhenger for trening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120A3569-728E-4242-8718-7B0BC8957C2E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412430128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1242030" y="1644576"/>
            <a:ext cx="8438999" cy="45191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24282" rtl="0" eaLnBrk="1" latinLnBrk="0" hangingPunct="1">
              <a:lnSpc>
                <a:spcPct val="90000"/>
              </a:lnSpc>
              <a:spcBef>
                <a:spcPts val="408"/>
              </a:spcBef>
              <a:buNone/>
              <a:tabLst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32345">
              <a:spcBef>
                <a:spcPts val="544"/>
              </a:spcBef>
            </a:pPr>
            <a:r>
              <a:rPr lang="nb-NO" sz="1400" dirty="0">
                <a:solidFill>
                  <a:srgbClr val="222223"/>
                </a:solidFill>
                <a:latin typeface="Segoe UI"/>
              </a:rPr>
              <a:t>I hvilke av disse sammenhengene har du drevet fysisk aktivitet og idrett det siste året? </a:t>
            </a:r>
          </a:p>
          <a:p>
            <a:pPr defTabSz="1232345">
              <a:spcBef>
                <a:spcPts val="544"/>
              </a:spcBef>
            </a:pPr>
            <a:r>
              <a:rPr lang="nb-NO" sz="1400" dirty="0">
                <a:solidFill>
                  <a:srgbClr val="222223"/>
                </a:solidFill>
                <a:latin typeface="Segoe UI"/>
              </a:rPr>
              <a:t>Base: Hele befolkningen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3450843392"/>
              </p:ext>
            </p:extLst>
          </p:nvPr>
        </p:nvGraphicFramePr>
        <p:xfrm>
          <a:off x="909563" y="2082800"/>
          <a:ext cx="8234438" cy="410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kstSylinder 1"/>
          <p:cNvSpPr txBox="1"/>
          <p:nvPr/>
        </p:nvSpPr>
        <p:spPr>
          <a:xfrm>
            <a:off x="6628760" y="5126552"/>
            <a:ext cx="25146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defTabSz="1232345"/>
            <a:r>
              <a:rPr lang="nb-NO" sz="1000" b="1" dirty="0">
                <a:solidFill>
                  <a:srgbClr val="222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</a:p>
        </p:txBody>
      </p:sp>
      <p:sp>
        <p:nvSpPr>
          <p:cNvPr id="5" name="TekstSylinder 4"/>
          <p:cNvSpPr txBox="1"/>
          <p:nvPr/>
        </p:nvSpPr>
        <p:spPr>
          <a:xfrm>
            <a:off x="6628760" y="5326373"/>
            <a:ext cx="368723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defTabSz="1232345"/>
            <a:r>
              <a:rPr lang="nb-NO" sz="1000" b="1" dirty="0">
                <a:solidFill>
                  <a:srgbClr val="222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</a:p>
        </p:txBody>
      </p:sp>
      <p:sp>
        <p:nvSpPr>
          <p:cNvPr id="8" name="TekstSylinder 7"/>
          <p:cNvSpPr txBox="1"/>
          <p:nvPr/>
        </p:nvSpPr>
        <p:spPr>
          <a:xfrm>
            <a:off x="6687391" y="5596183"/>
            <a:ext cx="25146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63" defTabSz="1232345"/>
            <a:r>
              <a:rPr lang="nb-NO" sz="1000" b="1" dirty="0">
                <a:solidFill>
                  <a:srgbClr val="222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589B3C9E-B23B-45F9-B62F-458CFE151767}"/>
              </a:ext>
            </a:extLst>
          </p:cNvPr>
          <p:cNvSpPr txBox="1"/>
          <p:nvPr/>
        </p:nvSpPr>
        <p:spPr>
          <a:xfrm>
            <a:off x="909564" y="287326"/>
            <a:ext cx="11069560" cy="1190250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</a:pPr>
            <a:r>
              <a:rPr lang="nb-NO" sz="2400" dirty="0">
                <a:solidFill>
                  <a:srgbClr val="222223"/>
                </a:solidFill>
                <a:latin typeface="Segoe UI"/>
              </a:rPr>
              <a:t>Trening i treningsstudio og trening på egenhånd har øket lenge, men stabilisert seg etter 2011</a:t>
            </a:r>
            <a:r>
              <a:rPr lang="nb-NO" dirty="0">
                <a:solidFill>
                  <a:srgbClr val="222223"/>
                </a:solidFill>
                <a:latin typeface="Segoe UI"/>
              </a:rPr>
              <a:t> 							          Trening i idrettslag er stabilt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03BD4036-5370-4C61-9EBA-35366C2B7D91}"/>
              </a:ext>
            </a:extLst>
          </p:cNvPr>
          <p:cNvSpPr/>
          <p:nvPr/>
        </p:nvSpPr>
        <p:spPr>
          <a:xfrm>
            <a:off x="9326635" y="3276726"/>
            <a:ext cx="2391918" cy="1569660"/>
          </a:xfrm>
          <a:prstGeom prst="rect">
            <a:avLst/>
          </a:prstGeom>
          <a:solidFill>
            <a:srgbClr val="E2E2E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600" dirty="0">
                <a:solidFill>
                  <a:prstClr val="black">
                    <a:lumMod val="90000"/>
                    <a:lumOff val="10000"/>
                  </a:prstClr>
                </a:solidFill>
                <a:latin typeface="Arial"/>
              </a:rPr>
              <a:t>I aldersgruppen 15-24 år driver 30% trening i regi av idrettsla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600" dirty="0">
              <a:solidFill>
                <a:prstClr val="black">
                  <a:lumMod val="90000"/>
                  <a:lumOff val="10000"/>
                </a:prstClr>
              </a:solidFill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600" dirty="0">
                <a:solidFill>
                  <a:prstClr val="black">
                    <a:lumMod val="90000"/>
                    <a:lumOff val="10000"/>
                  </a:prstClr>
                </a:solidFill>
                <a:latin typeface="Arial"/>
              </a:rPr>
              <a:t>Andelen har vært jevn siden  2013</a:t>
            </a: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BF923156-617B-42C8-B4F3-3DB7A421A7AC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56314530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6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0">
            <a:extLst>
              <a:ext uri="{FF2B5EF4-FFF2-40B4-BE49-F238E27FC236}">
                <a16:creationId xmlns:a16="http://schemas.microsoft.com/office/drawing/2014/main" id="{39E3A223-9A7C-44E1-8C6C-0588C9DF03E7}"/>
              </a:ext>
            </a:extLst>
          </p:cNvPr>
          <p:cNvSpPr/>
          <p:nvPr/>
        </p:nvSpPr>
        <p:spPr bwMode="gray">
          <a:xfrm>
            <a:off x="112481" y="2886434"/>
            <a:ext cx="11957599" cy="386350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68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505592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36264288-387C-4526-9196-1D6964A9AF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08878" y="1423345"/>
            <a:ext cx="3443983" cy="2213309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E4AE4EB2-505F-48AC-BAD3-8D0787FA06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49950" y="663481"/>
            <a:ext cx="1761838" cy="774436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17175A57-9D70-475B-BFC8-B1DA80EC6E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56276" y="3607361"/>
            <a:ext cx="1755512" cy="785616"/>
          </a:xfrm>
          <a:prstGeom prst="rect">
            <a:avLst/>
          </a:prstGeom>
        </p:spPr>
      </p:pic>
      <p:pic>
        <p:nvPicPr>
          <p:cNvPr id="11" name="Graphique 12">
            <a:extLst>
              <a:ext uri="{FF2B5EF4-FFF2-40B4-BE49-F238E27FC236}">
                <a16:creationId xmlns:a16="http://schemas.microsoft.com/office/drawing/2014/main" id="{24FF4283-7049-425D-B807-7E60470C383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28E252F-24C2-4363-939A-1F661DC487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3153" y="4875973"/>
            <a:ext cx="10130570" cy="767913"/>
          </a:xfrm>
        </p:spPr>
        <p:txBody>
          <a:bodyPr/>
          <a:lstStyle/>
          <a:p>
            <a:r>
              <a:rPr lang="nb-NO" sz="5600" dirty="0"/>
              <a:t>norsk monitor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EE5F1FEB-A5F3-4D33-A887-731ADC3A30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92667" y="5605103"/>
            <a:ext cx="7145866" cy="400110"/>
          </a:xfrm>
        </p:spPr>
        <p:txBody>
          <a:bodyPr/>
          <a:lstStyle/>
          <a:p>
            <a:r>
              <a:rPr lang="nb-NO" sz="2000" spc="350" dirty="0">
                <a:latin typeface="+mn-lt"/>
              </a:rPr>
              <a:t>Eksempler på interessante enkeltresultater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4FFDBE-F651-4326-95BE-4DF8CB876D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75825" y="4221166"/>
            <a:ext cx="1811444" cy="523220"/>
          </a:xfrm>
        </p:spPr>
        <p:txBody>
          <a:bodyPr/>
          <a:lstStyle/>
          <a:p>
            <a:r>
              <a:rPr lang="nb-NO" sz="2800" dirty="0"/>
              <a:t>2019/2020</a:t>
            </a:r>
          </a:p>
        </p:txBody>
      </p:sp>
    </p:spTree>
    <p:extLst>
      <p:ext uri="{BB962C8B-B14F-4D97-AF65-F5344CB8AC3E}">
        <p14:creationId xmlns:p14="http://schemas.microsoft.com/office/powerpoint/2010/main" val="115348852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>
            <a:extLst>
              <a:ext uri="{FF2B5EF4-FFF2-40B4-BE49-F238E27FC236}">
                <a16:creationId xmlns:a16="http://schemas.microsoft.com/office/drawing/2014/main" id="{FDC29FCB-4732-4D89-AF17-231DC7C8F460}"/>
              </a:ext>
            </a:extLst>
          </p:cNvPr>
          <p:cNvSpPr txBox="1"/>
          <p:nvPr/>
        </p:nvSpPr>
        <p:spPr>
          <a:xfrm>
            <a:off x="984819" y="523988"/>
            <a:ext cx="9731294" cy="513013"/>
          </a:xfrm>
          <a:prstGeom prst="rect">
            <a:avLst/>
          </a:prstGeom>
          <a:noFill/>
        </p:spPr>
        <p:txBody>
          <a:bodyPr wrap="non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</a:pPr>
            <a:r>
              <a:rPr lang="nb-NO" sz="2667" dirty="0">
                <a:solidFill>
                  <a:srgbClr val="222223"/>
                </a:solidFill>
                <a:latin typeface="Segoe UI"/>
              </a:rPr>
              <a:t>Nesten 4 av 10 ungdommer i alder 15-19 år trener i idrettslag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8D5992E-59F0-4685-ACCE-0BFD6F7235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5217598"/>
              </p:ext>
            </p:extLst>
          </p:nvPr>
        </p:nvGraphicFramePr>
        <p:xfrm>
          <a:off x="1881339" y="2697481"/>
          <a:ext cx="5757712" cy="3698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2">
            <a:extLst>
              <a:ext uri="{FF2B5EF4-FFF2-40B4-BE49-F238E27FC236}">
                <a16:creationId xmlns:a16="http://schemas.microsoft.com/office/drawing/2014/main" id="{90778F78-F09B-47AD-B26A-9FBDFD80A595}"/>
              </a:ext>
            </a:extLst>
          </p:cNvPr>
          <p:cNvSpPr txBox="1">
            <a:spLocks noChangeArrowheads="1"/>
          </p:cNvSpPr>
          <p:nvPr/>
        </p:nvSpPr>
        <p:spPr>
          <a:xfrm>
            <a:off x="1393758" y="2067596"/>
            <a:ext cx="8429324" cy="45191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24282" rtl="0" eaLnBrk="1" latinLnBrk="0" hangingPunct="1">
              <a:lnSpc>
                <a:spcPct val="90000"/>
              </a:lnSpc>
              <a:spcBef>
                <a:spcPts val="408"/>
              </a:spcBef>
              <a:buNone/>
              <a:tabLst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32345">
              <a:spcBef>
                <a:spcPts val="544"/>
              </a:spcBef>
            </a:pPr>
            <a:r>
              <a:rPr lang="nb-NO" sz="1400" dirty="0">
                <a:solidFill>
                  <a:srgbClr val="222223"/>
                </a:solidFill>
                <a:latin typeface="Segoe UI"/>
              </a:rPr>
              <a:t>I hvilke av disse sammenhengene har du drevet fysisk aktivitet og idrett det siste året? </a:t>
            </a:r>
          </a:p>
          <a:p>
            <a:pPr defTabSz="1232345">
              <a:spcBef>
                <a:spcPts val="544"/>
              </a:spcBef>
            </a:pPr>
            <a:r>
              <a:rPr lang="nb-NO" sz="1400" dirty="0">
                <a:solidFill>
                  <a:srgbClr val="222223"/>
                </a:solidFill>
                <a:latin typeface="Segoe UI"/>
              </a:rPr>
              <a:t>2017. forskjeller etter kjønn. Base: Hele befolkningen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086540A9-CDDF-46D2-86EE-84FC1A725529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015817259"/>
      </p:ext>
    </p:extLst>
  </p:cSld>
  <p:clrMapOvr>
    <a:masterClrMapping/>
  </p:clrMapOvr>
  <p:transition>
    <p:fade/>
  </p:transition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8D5992E-59F0-4685-ACCE-0BFD6F7235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2160"/>
              </p:ext>
            </p:extLst>
          </p:nvPr>
        </p:nvGraphicFramePr>
        <p:xfrm>
          <a:off x="1881339" y="2697481"/>
          <a:ext cx="5757712" cy="3698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2">
            <a:extLst>
              <a:ext uri="{FF2B5EF4-FFF2-40B4-BE49-F238E27FC236}">
                <a16:creationId xmlns:a16="http://schemas.microsoft.com/office/drawing/2014/main" id="{E1F37B4B-254F-4DA9-A763-B00D1DB53226}"/>
              </a:ext>
            </a:extLst>
          </p:cNvPr>
          <p:cNvSpPr txBox="1">
            <a:spLocks noChangeArrowheads="1"/>
          </p:cNvSpPr>
          <p:nvPr/>
        </p:nvSpPr>
        <p:spPr>
          <a:xfrm>
            <a:off x="1393758" y="2067596"/>
            <a:ext cx="8429324" cy="45191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24282" rtl="0" eaLnBrk="1" latinLnBrk="0" hangingPunct="1">
              <a:lnSpc>
                <a:spcPct val="90000"/>
              </a:lnSpc>
              <a:spcBef>
                <a:spcPts val="408"/>
              </a:spcBef>
              <a:buNone/>
              <a:tabLst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32345">
              <a:spcBef>
                <a:spcPts val="544"/>
              </a:spcBef>
            </a:pPr>
            <a:r>
              <a:rPr lang="nb-NO" sz="1400" dirty="0">
                <a:solidFill>
                  <a:srgbClr val="222223"/>
                </a:solidFill>
                <a:latin typeface="Segoe UI"/>
              </a:rPr>
              <a:t>I hvilke av disse sammenhengene har du drevet fysisk aktivitet og idrett det siste året? </a:t>
            </a:r>
          </a:p>
          <a:p>
            <a:pPr defTabSz="1232345">
              <a:spcBef>
                <a:spcPts val="544"/>
              </a:spcBef>
            </a:pPr>
            <a:r>
              <a:rPr lang="nb-NO" sz="1400" dirty="0">
                <a:solidFill>
                  <a:srgbClr val="222223"/>
                </a:solidFill>
                <a:latin typeface="Segoe UI"/>
              </a:rPr>
              <a:t>2017. forskjeller etter kjønn. Base: Hele befolkningen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9807748E-A37C-4810-ADC2-E52065E250BA}"/>
              </a:ext>
            </a:extLst>
          </p:cNvPr>
          <p:cNvSpPr txBox="1"/>
          <p:nvPr/>
        </p:nvSpPr>
        <p:spPr>
          <a:xfrm>
            <a:off x="984819" y="1061234"/>
            <a:ext cx="9142735" cy="513013"/>
          </a:xfrm>
          <a:prstGeom prst="rect">
            <a:avLst/>
          </a:prstGeom>
          <a:noFill/>
        </p:spPr>
        <p:txBody>
          <a:bodyPr wrap="non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2667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ldersgruppe 26 – 35 år er mest aktive i bedriftsidrettslag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D525E076-628B-4FD3-A01D-69EE14316248}"/>
              </a:ext>
            </a:extLst>
          </p:cNvPr>
          <p:cNvSpPr txBox="1"/>
          <p:nvPr/>
        </p:nvSpPr>
        <p:spPr>
          <a:xfrm>
            <a:off x="984819" y="523988"/>
            <a:ext cx="9731294" cy="513013"/>
          </a:xfrm>
          <a:prstGeom prst="rect">
            <a:avLst/>
          </a:prstGeom>
          <a:noFill/>
        </p:spPr>
        <p:txBody>
          <a:bodyPr wrap="non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</a:pPr>
            <a:r>
              <a:rPr lang="nb-NO" sz="2667" dirty="0">
                <a:solidFill>
                  <a:srgbClr val="222223"/>
                </a:solidFill>
                <a:latin typeface="Segoe UI"/>
              </a:rPr>
              <a:t>Nesten 4 av 10 ungdommer i alder 15-19 år trener i idrettslag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B4C94CB0-A7B9-4176-81D2-52A61B690F8F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471875635"/>
      </p:ext>
    </p:extLst>
  </p:cSld>
  <p:clrMapOvr>
    <a:masterClrMapping/>
  </p:clrMapOvr>
  <p:transition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>
            <a:extLst>
              <a:ext uri="{FF2B5EF4-FFF2-40B4-BE49-F238E27FC236}">
                <a16:creationId xmlns:a16="http://schemas.microsoft.com/office/drawing/2014/main" id="{A5CD2D34-1BCD-4097-946A-9657B9BF56BD}"/>
              </a:ext>
            </a:extLst>
          </p:cNvPr>
          <p:cNvSpPr txBox="1">
            <a:spLocks noChangeArrowheads="1"/>
          </p:cNvSpPr>
          <p:nvPr/>
        </p:nvSpPr>
        <p:spPr>
          <a:xfrm>
            <a:off x="1393758" y="2067596"/>
            <a:ext cx="8429324" cy="45191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24282" rtl="0" eaLnBrk="1" latinLnBrk="0" hangingPunct="1">
              <a:lnSpc>
                <a:spcPct val="90000"/>
              </a:lnSpc>
              <a:spcBef>
                <a:spcPts val="408"/>
              </a:spcBef>
              <a:buNone/>
              <a:tabLst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32345">
              <a:spcBef>
                <a:spcPts val="544"/>
              </a:spcBef>
            </a:pPr>
            <a:r>
              <a:rPr lang="nb-NO" sz="1400" dirty="0">
                <a:solidFill>
                  <a:srgbClr val="222223"/>
                </a:solidFill>
                <a:latin typeface="Segoe UI"/>
              </a:rPr>
              <a:t>I hvilke av disse sammenhengene har du drevet fysisk aktivitet og idrett det siste året? </a:t>
            </a:r>
          </a:p>
          <a:p>
            <a:pPr defTabSz="1232345">
              <a:spcBef>
                <a:spcPts val="544"/>
              </a:spcBef>
            </a:pPr>
            <a:r>
              <a:rPr lang="nb-NO" sz="1400" dirty="0">
                <a:solidFill>
                  <a:srgbClr val="222223"/>
                </a:solidFill>
                <a:latin typeface="Segoe UI"/>
              </a:rPr>
              <a:t>2017. forskjeller etter kjønn. Base: Hele befolkningen</a:t>
            </a: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C7B7978E-D7A8-4281-BABB-C40F71B1F79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2077738"/>
              </p:ext>
            </p:extLst>
          </p:nvPr>
        </p:nvGraphicFramePr>
        <p:xfrm>
          <a:off x="1881339" y="2697481"/>
          <a:ext cx="5757712" cy="3698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kstSylinder 11">
            <a:extLst>
              <a:ext uri="{FF2B5EF4-FFF2-40B4-BE49-F238E27FC236}">
                <a16:creationId xmlns:a16="http://schemas.microsoft.com/office/drawing/2014/main" id="{C3EEACD2-08A9-4A84-8FA1-AEBC12D4BCC6}"/>
              </a:ext>
            </a:extLst>
          </p:cNvPr>
          <p:cNvSpPr txBox="1"/>
          <p:nvPr/>
        </p:nvSpPr>
        <p:spPr>
          <a:xfrm>
            <a:off x="984819" y="1317740"/>
            <a:ext cx="10690723" cy="513013"/>
          </a:xfrm>
          <a:prstGeom prst="rect">
            <a:avLst/>
          </a:prstGeom>
          <a:noFill/>
        </p:spPr>
        <p:txBody>
          <a:bodyPr wrap="non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2667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ening på privat treningssenter bedrives av alle, men mest av yngre 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B689BA4B-719D-4FD0-8A76-5C05FB2B0410}"/>
              </a:ext>
            </a:extLst>
          </p:cNvPr>
          <p:cNvSpPr txBox="1"/>
          <p:nvPr/>
        </p:nvSpPr>
        <p:spPr>
          <a:xfrm>
            <a:off x="984819" y="804727"/>
            <a:ext cx="9142735" cy="513013"/>
          </a:xfrm>
          <a:prstGeom prst="rect">
            <a:avLst/>
          </a:prstGeom>
          <a:noFill/>
        </p:spPr>
        <p:txBody>
          <a:bodyPr wrap="non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2667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ldersgruppe 26 – 35 år er mest aktive i bedriftsidrettslag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B677CE82-2B3A-4ED7-B868-A1088402E40B}"/>
              </a:ext>
            </a:extLst>
          </p:cNvPr>
          <p:cNvSpPr txBox="1"/>
          <p:nvPr/>
        </p:nvSpPr>
        <p:spPr>
          <a:xfrm>
            <a:off x="984819" y="370255"/>
            <a:ext cx="9731294" cy="513013"/>
          </a:xfrm>
          <a:prstGeom prst="rect">
            <a:avLst/>
          </a:prstGeom>
          <a:noFill/>
        </p:spPr>
        <p:txBody>
          <a:bodyPr wrap="non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</a:pPr>
            <a:r>
              <a:rPr lang="nb-NO" sz="2667" dirty="0">
                <a:solidFill>
                  <a:srgbClr val="222223"/>
                </a:solidFill>
                <a:latin typeface="Segoe UI"/>
              </a:rPr>
              <a:t>Nesten 4 av 10 ungdommer i alder 15-19 år trener i idrettslag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5C3DC7E3-E40B-4F8A-868C-D39E4FD41CCC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147266317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38265524"/>
              </p:ext>
            </p:extLst>
          </p:nvPr>
        </p:nvGraphicFramePr>
        <p:xfrm>
          <a:off x="1344991" y="1338148"/>
          <a:ext cx="9048436" cy="5362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914524" y="1200111"/>
            <a:ext cx="8032600" cy="2215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24282" rtl="0" eaLnBrk="1" latinLnBrk="0" hangingPunct="1">
              <a:lnSpc>
                <a:spcPct val="90000"/>
              </a:lnSpc>
              <a:spcBef>
                <a:spcPts val="408"/>
              </a:spcBef>
              <a:buNone/>
              <a:tabLst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32345" rtl="0" eaLnBrk="1" fontAlgn="auto" latinLnBrk="0" hangingPunct="1">
              <a:lnSpc>
                <a:spcPct val="90000"/>
              </a:lnSpc>
              <a:spcBef>
                <a:spcPts val="54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Hvor ofte har du drevet idrett på følgende steder i sesongen? – Har drevet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FE78D90D-874B-4542-B0D3-E4010C004060}"/>
              </a:ext>
            </a:extLst>
          </p:cNvPr>
          <p:cNvSpPr txBox="1"/>
          <p:nvPr/>
        </p:nvSpPr>
        <p:spPr>
          <a:xfrm>
            <a:off x="279400" y="489527"/>
            <a:ext cx="11768667" cy="440108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22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 eldre bruker primært </a:t>
            </a:r>
            <a:r>
              <a:rPr lang="nb-NO" sz="2200" dirty="0">
                <a:solidFill>
                  <a:srgbClr val="222223"/>
                </a:solidFill>
                <a:latin typeface="Segoe UI"/>
              </a:rPr>
              <a:t>naturen og lett tilgjengelige fasiliteter når de trener/mosjonerer</a:t>
            </a:r>
            <a:endParaRPr kumimoji="0" lang="nb-NO" sz="2200" b="0" i="1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D926B9A8-9D4E-4C54-B655-7F8B50C02472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568711870"/>
      </p:ext>
    </p:extLst>
  </p:cSld>
  <p:clrMapOvr>
    <a:masterClrMapping/>
  </p:clrMapOvr>
  <p:transition>
    <p:fade/>
  </p:transition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61963372"/>
              </p:ext>
            </p:extLst>
          </p:nvPr>
        </p:nvGraphicFramePr>
        <p:xfrm>
          <a:off x="1344991" y="1310910"/>
          <a:ext cx="9048436" cy="5362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914524" y="1200111"/>
            <a:ext cx="8032600" cy="2215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24282" rtl="0" eaLnBrk="1" latinLnBrk="0" hangingPunct="1">
              <a:lnSpc>
                <a:spcPct val="90000"/>
              </a:lnSpc>
              <a:spcBef>
                <a:spcPts val="408"/>
              </a:spcBef>
              <a:buNone/>
              <a:tabLst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32345">
              <a:spcBef>
                <a:spcPts val="544"/>
              </a:spcBef>
            </a:pPr>
            <a:r>
              <a:rPr lang="nb-NO" sz="1600" dirty="0">
                <a:solidFill>
                  <a:srgbClr val="222223"/>
                </a:solidFill>
                <a:latin typeface="Segoe UI"/>
              </a:rPr>
              <a:t>Hvor ofte har du drevet idrett på følgende steder i sesongen? – Har drevet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FE78D90D-874B-4542-B0D3-E4010C004060}"/>
              </a:ext>
            </a:extLst>
          </p:cNvPr>
          <p:cNvSpPr txBox="1"/>
          <p:nvPr/>
        </p:nvSpPr>
        <p:spPr>
          <a:xfrm>
            <a:off x="626425" y="322511"/>
            <a:ext cx="10220583" cy="815211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</a:pPr>
            <a:r>
              <a:rPr lang="nb-NO" sz="2400" dirty="0">
                <a:solidFill>
                  <a:srgbClr val="222223"/>
                </a:solidFill>
                <a:latin typeface="Segoe UI"/>
              </a:rPr>
              <a:t>De unge  15-24 år bruker et stort antall ulike fasiliteter</a:t>
            </a:r>
            <a:r>
              <a:rPr lang="nb-NO" sz="2000" dirty="0">
                <a:solidFill>
                  <a:srgbClr val="222223"/>
                </a:solidFill>
                <a:latin typeface="Segoe UI"/>
              </a:rPr>
              <a:t>.       Vekt/styrketreningsrom er faktisk det som flest ungdommer har angitt at de benytter</a:t>
            </a:r>
            <a:endParaRPr lang="nb-NO" sz="2000" i="1" dirty="0">
              <a:solidFill>
                <a:srgbClr val="222223"/>
              </a:solidFill>
              <a:latin typeface="Segoe UI"/>
            </a:endParaRP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C68BF1AC-39C9-4CC7-BDF8-818F884AFF21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318769043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B8BF60E2-E6AE-4EA4-A64E-D668CAFA820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60204"/>
            <a:ext cx="12025543" cy="6782409"/>
          </a:xfrm>
          <a:prstGeom prst="rect">
            <a:avLst/>
          </a:prstGeom>
        </p:spPr>
      </p:pic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D476108-4917-4C9A-B862-29631532D5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2829" y="4329719"/>
            <a:ext cx="11463954" cy="820674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r>
              <a:rPr lang="nb-NO" sz="5333" dirty="0"/>
              <a:t>Hvilke aktiviteter driver vi med?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565" y="5753005"/>
            <a:ext cx="445856" cy="359168"/>
          </a:xfrm>
          <a:prstGeom prst="rect">
            <a:avLst/>
          </a:prstGeom>
        </p:spPr>
      </p:pic>
      <p:sp>
        <p:nvSpPr>
          <p:cNvPr id="14" name="Footer Placeholder 10"/>
          <p:cNvSpPr txBox="1">
            <a:spLocks/>
          </p:cNvSpPr>
          <p:nvPr/>
        </p:nvSpPr>
        <p:spPr>
          <a:xfrm>
            <a:off x="10066225" y="6171885"/>
            <a:ext cx="1959319" cy="5259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51802" rtl="0" eaLnBrk="1" latinLnBrk="0" hangingPunct="1">
              <a:defRPr sz="1000" kern="1200">
                <a:solidFill>
                  <a:schemeClr val="accent4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259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704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606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507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408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310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211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3891"/>
            <a:r>
              <a:rPr lang="en-US" sz="635" dirty="0">
                <a:solidFill>
                  <a:srgbClr val="000000"/>
                </a:solidFill>
                <a:latin typeface="Segoe UI"/>
              </a:rPr>
              <a:t>© 2018 Ipsos.  All rights reserved. Contains Ipsos' Confidential and Proprietary information and may not be disclosed or reproduced without the prior written consent of Ipsos</a:t>
            </a:r>
            <a:r>
              <a:rPr lang="en-US" sz="816" dirty="0">
                <a:solidFill>
                  <a:srgbClr val="000000"/>
                </a:solidFill>
                <a:latin typeface="Segoe UI"/>
              </a:rPr>
              <a:t>.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812A4CBE-1922-45B3-B332-632D28837EAA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488281238"/>
      </p:ext>
    </p:extLst>
  </p:cSld>
  <p:clrMapOvr>
    <a:masterClrMapping/>
  </p:clrMapOvr>
  <p:transition>
    <p:fade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94638125"/>
              </p:ext>
            </p:extLst>
          </p:nvPr>
        </p:nvGraphicFramePr>
        <p:xfrm>
          <a:off x="3400425" y="857250"/>
          <a:ext cx="8220076" cy="5838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5169353" y="857250"/>
            <a:ext cx="10518322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24282" rtl="0" eaLnBrk="1" latinLnBrk="0" hangingPunct="1">
              <a:lnSpc>
                <a:spcPct val="90000"/>
              </a:lnSpc>
              <a:spcBef>
                <a:spcPts val="408"/>
              </a:spcBef>
              <a:buNone/>
              <a:tabLst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32345" rtl="0" eaLnBrk="1" fontAlgn="auto" latinLnBrk="0" hangingPunct="1">
              <a:lnSpc>
                <a:spcPct val="90000"/>
              </a:lnSpc>
              <a:spcBef>
                <a:spcPts val="54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Fysiske aktiviteter – minst én gang i måneden i sesongen - Base: Hele befolkningen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509B57AD-2A59-485E-A02C-A395FA2E0536}"/>
              </a:ext>
            </a:extLst>
          </p:cNvPr>
          <p:cNvSpPr txBox="1"/>
          <p:nvPr/>
        </p:nvSpPr>
        <p:spPr>
          <a:xfrm>
            <a:off x="492708" y="308140"/>
            <a:ext cx="10447165" cy="471335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otturer i skog og mark er mosjonsformen klart flest nordmenn praktiserer </a:t>
            </a:r>
            <a:endParaRPr kumimoji="0" lang="nb-NO" sz="1600" b="0" i="1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BDF9523F-D47C-49C0-9633-12D4D96EA083}"/>
              </a:ext>
            </a:extLst>
          </p:cNvPr>
          <p:cNvSpPr/>
          <p:nvPr/>
        </p:nvSpPr>
        <p:spPr>
          <a:xfrm>
            <a:off x="660524" y="3084712"/>
            <a:ext cx="2391918" cy="523220"/>
          </a:xfrm>
          <a:prstGeom prst="rect">
            <a:avLst/>
          </a:prstGeom>
          <a:solidFill>
            <a:srgbClr val="E2E2E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400" dirty="0">
                <a:solidFill>
                  <a:prstClr val="black">
                    <a:lumMod val="90000"/>
                    <a:lumOff val="10000"/>
                  </a:prstClr>
                </a:solidFill>
                <a:latin typeface="Arial"/>
              </a:rPr>
              <a:t>6 av 10 gjør dette minst en gang per måned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FEC47975-65E7-45BE-8BA3-847E75934C3A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436753555"/>
      </p:ext>
    </p:extLst>
  </p:cSld>
  <p:clrMapOvr>
    <a:masterClrMapping/>
  </p:clrMapOvr>
  <p:transition>
    <p:fade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94592752"/>
              </p:ext>
            </p:extLst>
          </p:nvPr>
        </p:nvGraphicFramePr>
        <p:xfrm>
          <a:off x="1054707" y="1784191"/>
          <a:ext cx="9899044" cy="4806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1740353" y="1210888"/>
            <a:ext cx="7219951" cy="50731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24282" rtl="0" eaLnBrk="1" latinLnBrk="0" hangingPunct="1">
              <a:lnSpc>
                <a:spcPct val="90000"/>
              </a:lnSpc>
              <a:spcBef>
                <a:spcPts val="408"/>
              </a:spcBef>
              <a:buNone/>
              <a:tabLst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32345" rtl="0" eaLnBrk="1" fontAlgn="auto" latinLnBrk="0" hangingPunct="1">
              <a:lnSpc>
                <a:spcPct val="90000"/>
              </a:lnSpc>
              <a:spcBef>
                <a:spcPts val="54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Fysiske aktiviteter – minst én gang i måneden i sesongen</a:t>
            </a:r>
          </a:p>
          <a:p>
            <a:pPr marL="0" marR="0" lvl="0" indent="0" algn="l" defTabSz="1232345" rtl="0" eaLnBrk="1" fontAlgn="auto" latinLnBrk="0" hangingPunct="1">
              <a:lnSpc>
                <a:spcPct val="90000"/>
              </a:lnSpc>
              <a:spcBef>
                <a:spcPts val="54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Base: Hele befolkningen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509B57AD-2A59-485E-A02C-A395FA2E0536}"/>
              </a:ext>
            </a:extLst>
          </p:cNvPr>
          <p:cNvSpPr txBox="1"/>
          <p:nvPr/>
        </p:nvSpPr>
        <p:spPr>
          <a:xfrm>
            <a:off x="1054707" y="267303"/>
            <a:ext cx="10946793" cy="877600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terkest utvikling har derimot styrketrening hatt                                             Andelen av befolkningen som trener styrke, begynner å nærme seg halvparten </a:t>
            </a:r>
            <a:endParaRPr kumimoji="0" lang="nb-NO" sz="1600" b="0" i="1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3A512129-844B-4EA9-976E-E290E908F175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4177336903"/>
      </p:ext>
    </p:extLst>
  </p:cSld>
  <p:clrMapOvr>
    <a:masterClrMapping/>
  </p:clrMapOvr>
  <p:transition>
    <p:fade/>
  </p:transition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0992453"/>
              </p:ext>
            </p:extLst>
          </p:nvPr>
        </p:nvGraphicFramePr>
        <p:xfrm>
          <a:off x="832152" y="1552575"/>
          <a:ext cx="10527695" cy="5161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1740353" y="1210888"/>
            <a:ext cx="7219951" cy="50731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24282" rtl="0" eaLnBrk="1" latinLnBrk="0" hangingPunct="1">
              <a:lnSpc>
                <a:spcPct val="90000"/>
              </a:lnSpc>
              <a:spcBef>
                <a:spcPts val="408"/>
              </a:spcBef>
              <a:buNone/>
              <a:tabLst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32345">
              <a:spcBef>
                <a:spcPts val="544"/>
              </a:spcBef>
            </a:pPr>
            <a:r>
              <a:rPr lang="nb-NO" sz="1600" dirty="0">
                <a:solidFill>
                  <a:srgbClr val="222223"/>
                </a:solidFill>
                <a:latin typeface="Segoe UI"/>
              </a:rPr>
              <a:t>Fysiske aktiviteter – minst én gang i måneden i sesongen</a:t>
            </a:r>
          </a:p>
          <a:p>
            <a:pPr defTabSz="1232345">
              <a:spcBef>
                <a:spcPts val="544"/>
              </a:spcBef>
            </a:pPr>
            <a:r>
              <a:rPr lang="nb-NO" sz="1600" dirty="0">
                <a:solidFill>
                  <a:srgbClr val="222223"/>
                </a:solidFill>
                <a:latin typeface="Segoe UI"/>
              </a:rPr>
              <a:t>Base: Hele befolkningen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509B57AD-2A59-485E-A02C-A395FA2E0536}"/>
              </a:ext>
            </a:extLst>
          </p:cNvPr>
          <p:cNvSpPr txBox="1"/>
          <p:nvPr/>
        </p:nvSpPr>
        <p:spPr>
          <a:xfrm>
            <a:off x="1240259" y="288708"/>
            <a:ext cx="10447165" cy="471335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</a:pPr>
            <a:r>
              <a:rPr lang="nb-NO" sz="2400" dirty="0">
                <a:solidFill>
                  <a:srgbClr val="222223"/>
                </a:solidFill>
                <a:latin typeface="Segoe UI"/>
              </a:rPr>
              <a:t>En rekke andre aktivitetsformer hadde også øking i siste periode</a:t>
            </a:r>
            <a:endParaRPr lang="nb-NO" sz="1600" i="1" dirty="0">
              <a:solidFill>
                <a:srgbClr val="222223"/>
              </a:solidFill>
              <a:latin typeface="Segoe UI"/>
            </a:endParaRP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E81F4B11-B24C-4767-B3A3-DC4325107FF9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4187119432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>
            <a:extLst>
              <a:ext uri="{FF2B5EF4-FFF2-40B4-BE49-F238E27FC236}">
                <a16:creationId xmlns:a16="http://schemas.microsoft.com/office/drawing/2014/main" id="{AE2A2DDB-C6AE-4EDF-9E2E-CE62942F2E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66250"/>
            <a:ext cx="4038599" cy="2277771"/>
          </a:xfrm>
          <a:prstGeom prst="rect">
            <a:avLst/>
          </a:prstGeom>
        </p:spPr>
      </p:pic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8F18814A-D63E-4BC0-B798-07A35D06A1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38593350"/>
              </p:ext>
            </p:extLst>
          </p:nvPr>
        </p:nvGraphicFramePr>
        <p:xfrm>
          <a:off x="2439909" y="807140"/>
          <a:ext cx="6154059" cy="5966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F3AE6CEF-1E12-40CF-BA9E-3021F4FD54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712609"/>
              </p:ext>
            </p:extLst>
          </p:nvPr>
        </p:nvGraphicFramePr>
        <p:xfrm>
          <a:off x="5555039" y="758372"/>
          <a:ext cx="6357257" cy="5966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ekstSylinder 9">
            <a:extLst>
              <a:ext uri="{FF2B5EF4-FFF2-40B4-BE49-F238E27FC236}">
                <a16:creationId xmlns:a16="http://schemas.microsoft.com/office/drawing/2014/main" id="{93463116-4A4B-4903-BC9E-36DF56A0B1D1}"/>
              </a:ext>
            </a:extLst>
          </p:cNvPr>
          <p:cNvSpPr txBox="1"/>
          <p:nvPr/>
        </p:nvSpPr>
        <p:spPr>
          <a:xfrm>
            <a:off x="619276" y="247623"/>
            <a:ext cx="11146971" cy="471335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</a:pPr>
            <a:r>
              <a:rPr lang="nb-NO" sz="2400" dirty="0">
                <a:solidFill>
                  <a:srgbClr val="222223"/>
                </a:solidFill>
                <a:latin typeface="Segoe UI"/>
              </a:rPr>
              <a:t>44 ulike fysiske aktiviteter – rangert etter utbredelse </a:t>
            </a:r>
            <a:r>
              <a:rPr lang="nb-NO" sz="1867" dirty="0">
                <a:solidFill>
                  <a:srgbClr val="222223"/>
                </a:solidFill>
                <a:latin typeface="Segoe UI"/>
              </a:rPr>
              <a:t>– minst en gang per måned</a:t>
            </a:r>
            <a:endParaRPr lang="nb-NO" sz="1867" i="1" dirty="0">
              <a:solidFill>
                <a:srgbClr val="222223"/>
              </a:solidFill>
              <a:latin typeface="Segoe UI"/>
            </a:endParaRP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2FA5137C-0A95-4B3C-BEF1-1BB9167AA5BE}"/>
              </a:ext>
            </a:extLst>
          </p:cNvPr>
          <p:cNvSpPr/>
          <p:nvPr/>
        </p:nvSpPr>
        <p:spPr bwMode="gray">
          <a:xfrm>
            <a:off x="8136768" y="1057274"/>
            <a:ext cx="292857" cy="2809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nb-NO" sz="2000" dirty="0">
              <a:solidFill>
                <a:schemeClr val="bg1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DA5DA7CB-7E4A-4236-B7FB-04C95BD68CF0}"/>
              </a:ext>
            </a:extLst>
          </p:cNvPr>
          <p:cNvSpPr/>
          <p:nvPr/>
        </p:nvSpPr>
        <p:spPr bwMode="gray">
          <a:xfrm>
            <a:off x="8136768" y="4002807"/>
            <a:ext cx="292857" cy="9669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nb-NO" sz="2000" dirty="0">
              <a:solidFill>
                <a:schemeClr val="bg1"/>
              </a:solidFill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388E449D-C425-429A-A059-45A41A075814}"/>
              </a:ext>
            </a:extLst>
          </p:cNvPr>
          <p:cNvSpPr/>
          <p:nvPr/>
        </p:nvSpPr>
        <p:spPr bwMode="gray">
          <a:xfrm>
            <a:off x="8160653" y="5105400"/>
            <a:ext cx="292857" cy="4072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nb-NO" sz="2000" dirty="0">
              <a:solidFill>
                <a:schemeClr val="bg1"/>
              </a:solidFill>
            </a:endParaRP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AFE4EACF-8E83-44EA-AAEA-D3F155252F03}"/>
              </a:ext>
            </a:extLst>
          </p:cNvPr>
          <p:cNvSpPr/>
          <p:nvPr/>
        </p:nvSpPr>
        <p:spPr bwMode="gray">
          <a:xfrm>
            <a:off x="8160654" y="5648326"/>
            <a:ext cx="292857" cy="3310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endParaRPr lang="nb-NO" sz="2000" dirty="0">
              <a:solidFill>
                <a:schemeClr val="bg1"/>
              </a:solidFill>
            </a:endParaRP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25F70A8-3F62-44F4-B048-E18C89BD11D5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41176281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5288CFCD-6271-4DB8-B479-AC0D81A9E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319" y="365882"/>
            <a:ext cx="11382428" cy="757130"/>
          </a:xfrm>
        </p:spPr>
        <p:txBody>
          <a:bodyPr/>
          <a:lstStyle/>
          <a:p>
            <a:r>
              <a:rPr lang="nb-NO" sz="2400" dirty="0"/>
              <a:t>I 2019 øker miljøbekymring til det høyeste nivået vi har hatt siden 1989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E3AAF1DB-9670-46B9-973A-535E362BF6B2}"/>
              </a:ext>
            </a:extLst>
          </p:cNvPr>
          <p:cNvGraphicFramePr>
            <a:graphicFrameLocks/>
          </p:cNvGraphicFramePr>
          <p:nvPr/>
        </p:nvGraphicFramePr>
        <p:xfrm>
          <a:off x="863601" y="1298352"/>
          <a:ext cx="10769600" cy="54390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kstSylinder 3">
            <a:extLst>
              <a:ext uri="{FF2B5EF4-FFF2-40B4-BE49-F238E27FC236}">
                <a16:creationId xmlns:a16="http://schemas.microsoft.com/office/drawing/2014/main" id="{16CB1314-9CE9-494F-9ECC-A35D29A1C8B3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96213633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8F18814A-D63E-4BC0-B798-07A35D06A1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8648299"/>
              </p:ext>
            </p:extLst>
          </p:nvPr>
        </p:nvGraphicFramePr>
        <p:xfrm>
          <a:off x="2392284" y="758372"/>
          <a:ext cx="6154059" cy="5966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F3AE6CEF-1E12-40CF-BA9E-3021F4FD54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371788"/>
              </p:ext>
            </p:extLst>
          </p:nvPr>
        </p:nvGraphicFramePr>
        <p:xfrm>
          <a:off x="5583614" y="758372"/>
          <a:ext cx="6357257" cy="5966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kstSylinder 9">
            <a:extLst>
              <a:ext uri="{FF2B5EF4-FFF2-40B4-BE49-F238E27FC236}">
                <a16:creationId xmlns:a16="http://schemas.microsoft.com/office/drawing/2014/main" id="{93463116-4A4B-4903-BC9E-36DF56A0B1D1}"/>
              </a:ext>
            </a:extLst>
          </p:cNvPr>
          <p:cNvSpPr txBox="1"/>
          <p:nvPr/>
        </p:nvSpPr>
        <p:spPr>
          <a:xfrm>
            <a:off x="619276" y="247623"/>
            <a:ext cx="11146971" cy="471335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10000"/>
              </a:lnSpc>
              <a:spcBef>
                <a:spcPts val="32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44 ulike fysiske aktiviteter – rangert etter utbredelse </a:t>
            </a:r>
            <a:r>
              <a:rPr kumimoji="0" lang="nb-NO" sz="1867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– minst en gang per måned</a:t>
            </a:r>
            <a:endParaRPr kumimoji="0" lang="nb-NO" sz="1867" b="0" i="1" u="none" strike="noStrike" kern="1200" cap="none" spc="0" normalizeH="0" baseline="0" noProof="0" dirty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2FA5137C-0A95-4B3C-BEF1-1BB9167AA5BE}"/>
              </a:ext>
            </a:extLst>
          </p:cNvPr>
          <p:cNvSpPr/>
          <p:nvPr/>
        </p:nvSpPr>
        <p:spPr bwMode="gray">
          <a:xfrm>
            <a:off x="8136768" y="1057274"/>
            <a:ext cx="292857" cy="2809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DA5DA7CB-7E4A-4236-B7FB-04C95BD68CF0}"/>
              </a:ext>
            </a:extLst>
          </p:cNvPr>
          <p:cNvSpPr/>
          <p:nvPr/>
        </p:nvSpPr>
        <p:spPr bwMode="gray">
          <a:xfrm>
            <a:off x="8136768" y="4002807"/>
            <a:ext cx="292857" cy="9669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388E449D-C425-429A-A059-45A41A075814}"/>
              </a:ext>
            </a:extLst>
          </p:cNvPr>
          <p:cNvSpPr/>
          <p:nvPr/>
        </p:nvSpPr>
        <p:spPr bwMode="gray">
          <a:xfrm>
            <a:off x="8160653" y="5105400"/>
            <a:ext cx="292857" cy="4072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AFE4EACF-8E83-44EA-AAEA-D3F155252F03}"/>
              </a:ext>
            </a:extLst>
          </p:cNvPr>
          <p:cNvSpPr/>
          <p:nvPr/>
        </p:nvSpPr>
        <p:spPr bwMode="gray">
          <a:xfrm>
            <a:off x="8160654" y="5648326"/>
            <a:ext cx="292857" cy="3310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2400"/>
              </a:spcBef>
              <a:spcAft>
                <a:spcPts val="0"/>
              </a:spcAft>
              <a:buClr>
                <a:srgbClr val="D2D3D2"/>
              </a:buClr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FC357A6E-B6A6-4E56-908D-B9D96E563B41}"/>
              </a:ext>
            </a:extLst>
          </p:cNvPr>
          <p:cNvSpPr/>
          <p:nvPr/>
        </p:nvSpPr>
        <p:spPr>
          <a:xfrm>
            <a:off x="619276" y="1028698"/>
            <a:ext cx="2391918" cy="707886"/>
          </a:xfrm>
          <a:prstGeom prst="rect">
            <a:avLst/>
          </a:prstGeom>
          <a:solidFill>
            <a:srgbClr val="E2E2E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000" dirty="0">
                <a:solidFill>
                  <a:prstClr val="black">
                    <a:lumMod val="90000"/>
                    <a:lumOff val="10000"/>
                  </a:prstClr>
                </a:solidFill>
                <a:latin typeface="Arial"/>
              </a:rPr>
              <a:t>Endring fra                      2017 til 2019</a:t>
            </a: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A8ED74C5-B3FE-4D89-9314-0C037EE757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66250"/>
            <a:ext cx="4038599" cy="2277771"/>
          </a:xfrm>
          <a:prstGeom prst="rect">
            <a:avLst/>
          </a:prstGeom>
        </p:spPr>
      </p:pic>
      <p:sp>
        <p:nvSpPr>
          <p:cNvPr id="13" name="TekstSylinder 12">
            <a:extLst>
              <a:ext uri="{FF2B5EF4-FFF2-40B4-BE49-F238E27FC236}">
                <a16:creationId xmlns:a16="http://schemas.microsoft.com/office/drawing/2014/main" id="{6AE379EC-6026-4BB0-9CBE-8651914B3F45}"/>
              </a:ext>
            </a:extLst>
          </p:cNvPr>
          <p:cNvSpPr txBox="1"/>
          <p:nvPr/>
        </p:nvSpPr>
        <p:spPr>
          <a:xfrm>
            <a:off x="9687746" y="-3041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788137372"/>
      </p:ext>
    </p:extLst>
  </p:cSld>
  <p:clrMapOvr>
    <a:masterClrMapping/>
  </p:clrMapOvr>
  <p:transition>
    <p:fade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Bilde 29">
            <a:extLst>
              <a:ext uri="{FF2B5EF4-FFF2-40B4-BE49-F238E27FC236}">
                <a16:creationId xmlns:a16="http://schemas.microsoft.com/office/drawing/2014/main" id="{23DB2C80-1E18-4A7D-A396-42C52473D2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63" y="4122193"/>
            <a:ext cx="2436469" cy="1506522"/>
          </a:xfrm>
          <a:prstGeom prst="rect">
            <a:avLst/>
          </a:prstGeom>
          <a:ln w="12700">
            <a:solidFill>
              <a:srgbClr val="000000"/>
            </a:solidFill>
          </a:ln>
        </p:spPr>
      </p:pic>
      <p:pic>
        <p:nvPicPr>
          <p:cNvPr id="28" name="Bilde 27">
            <a:extLst>
              <a:ext uri="{FF2B5EF4-FFF2-40B4-BE49-F238E27FC236}">
                <a16:creationId xmlns:a16="http://schemas.microsoft.com/office/drawing/2014/main" id="{27004311-547B-4DA4-AFE0-3F640F10CAB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821" y="2058253"/>
            <a:ext cx="2453160" cy="1638710"/>
          </a:xfrm>
          <a:prstGeom prst="rect">
            <a:avLst/>
          </a:prstGeom>
          <a:ln w="12700">
            <a:solidFill>
              <a:srgbClr val="000000"/>
            </a:solidFill>
          </a:ln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53E16D-19DB-466E-BAAB-FFA39E0EF9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70259022-A56B-40FA-A330-9BC5EA35F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3945" y="679826"/>
            <a:ext cx="10015184" cy="787908"/>
          </a:xfrm>
        </p:spPr>
        <p:txBody>
          <a:bodyPr/>
          <a:lstStyle/>
          <a:p>
            <a:r>
              <a:rPr lang="nb-NO" sz="3200" dirty="0"/>
              <a:t>Alders og verdiprofiler på 24 ulike aktiviteter </a:t>
            </a:r>
            <a:br>
              <a:rPr lang="nb-NO" sz="3200" dirty="0"/>
            </a:br>
            <a:r>
              <a:rPr lang="nb-NO" sz="3200" dirty="0"/>
              <a:t>som utføres av mer enn 2% av befolkningen</a:t>
            </a: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6B24EF07-FDC7-4580-B152-EA3ABFE85BBA}"/>
              </a:ext>
            </a:extLst>
          </p:cNvPr>
          <p:cNvSpPr/>
          <p:nvPr/>
        </p:nvSpPr>
        <p:spPr>
          <a:xfrm rot="-1860000">
            <a:off x="4119074" y="3747758"/>
            <a:ext cx="3302468" cy="349095"/>
          </a:xfrm>
          <a:prstGeom prst="rect">
            <a:avLst/>
          </a:prstGeom>
          <a:solidFill>
            <a:sysClr val="window" lastClr="FFFFFF">
              <a:lumMod val="85000"/>
              <a:alpha val="6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243796" rIns="121897" rtlCol="0" anchor="ctr"/>
          <a:lstStyle/>
          <a:p>
            <a:pPr defTabSz="1218875">
              <a:defRPr/>
            </a:pPr>
            <a:endParaRPr lang="en-US" sz="1400" kern="0" cap="all" dirty="0">
              <a:solidFill>
                <a:prstClr val="black"/>
              </a:solidFill>
              <a:latin typeface="Century Gothic"/>
              <a:cs typeface="Century Gothic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1E795CD-5C62-4E25-AD71-A3C505CB6E4D}"/>
              </a:ext>
            </a:extLst>
          </p:cNvPr>
          <p:cNvSpPr/>
          <p:nvPr/>
        </p:nvSpPr>
        <p:spPr>
          <a:xfrm rot="1860000">
            <a:off x="4179004" y="3811078"/>
            <a:ext cx="3247297" cy="349095"/>
          </a:xfrm>
          <a:prstGeom prst="rect">
            <a:avLst/>
          </a:prstGeom>
          <a:solidFill>
            <a:sysClr val="window" lastClr="FFFFFF">
              <a:lumMod val="85000"/>
              <a:alpha val="6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243796" rIns="121897" rtlCol="0" anchor="ctr"/>
          <a:lstStyle/>
          <a:p>
            <a:pPr defTabSz="1218875">
              <a:defRPr/>
            </a:pPr>
            <a:endParaRPr lang="en-US" sz="1400" kern="0" cap="all" dirty="0">
              <a:solidFill>
                <a:prstClr val="black"/>
              </a:solidFill>
              <a:latin typeface="Century Gothic"/>
              <a:cs typeface="Century Gothic"/>
            </a:endParaRP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B93EAA30-CD7A-4678-B0F3-3FF94FE770EF}"/>
              </a:ext>
            </a:extLst>
          </p:cNvPr>
          <p:cNvSpPr/>
          <p:nvPr/>
        </p:nvSpPr>
        <p:spPr>
          <a:xfrm>
            <a:off x="3501623" y="3743593"/>
            <a:ext cx="4661856" cy="349095"/>
          </a:xfrm>
          <a:prstGeom prst="rect">
            <a:avLst/>
          </a:prstGeom>
          <a:solidFill>
            <a:sysClr val="window" lastClr="FFFFFF">
              <a:lumMod val="85000"/>
              <a:alpha val="60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243796" rIns="121897" rtlCol="0" anchor="ctr"/>
          <a:lstStyle/>
          <a:p>
            <a:pPr defTabSz="1218875">
              <a:defRPr/>
            </a:pPr>
            <a:endParaRPr lang="en-US" sz="1400" kern="0" cap="all" dirty="0">
              <a:solidFill>
                <a:prstClr val="black"/>
              </a:solidFill>
              <a:latin typeface="Century Gothic"/>
              <a:cs typeface="Century Gothic"/>
            </a:endParaRP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DF1BFE1B-6A46-4A25-8A86-BA6F448F2864}"/>
              </a:ext>
            </a:extLst>
          </p:cNvPr>
          <p:cNvSpPr/>
          <p:nvPr/>
        </p:nvSpPr>
        <p:spPr>
          <a:xfrm rot="5400000">
            <a:off x="3848654" y="3785919"/>
            <a:ext cx="3855673" cy="349095"/>
          </a:xfrm>
          <a:prstGeom prst="rect">
            <a:avLst/>
          </a:prstGeom>
          <a:solidFill>
            <a:sysClr val="window" lastClr="FFFFFF">
              <a:lumMod val="85000"/>
              <a:alpha val="60000"/>
            </a:sysClr>
          </a:solidFill>
          <a:ln w="9525" cap="flat" cmpd="sng" algn="ctr">
            <a:noFill/>
            <a:prstDash val="solid"/>
          </a:ln>
          <a:effectLst/>
        </p:spPr>
        <p:txBody>
          <a:bodyPr rIns="243796" rtlCol="0" anchor="ctr"/>
          <a:lstStyle/>
          <a:p>
            <a:pPr algn="r" defTabSz="1218875">
              <a:defRPr/>
            </a:pPr>
            <a:endParaRPr lang="en-US" sz="1400" kern="0" cap="all" dirty="0">
              <a:solidFill>
                <a:prstClr val="black"/>
              </a:solidFill>
              <a:latin typeface="Century Gothic"/>
              <a:cs typeface="Century Gothic"/>
            </a:endParaRPr>
          </a:p>
        </p:txBody>
      </p:sp>
      <p:sp>
        <p:nvSpPr>
          <p:cNvPr id="12" name="Rectangle 13">
            <a:extLst>
              <a:ext uri="{FF2B5EF4-FFF2-40B4-BE49-F238E27FC236}">
                <a16:creationId xmlns:a16="http://schemas.microsoft.com/office/drawing/2014/main" id="{0932B7D7-C5DA-4608-99DF-4578CB1BC753}"/>
              </a:ext>
            </a:extLst>
          </p:cNvPr>
          <p:cNvSpPr>
            <a:spLocks/>
          </p:cNvSpPr>
          <p:nvPr/>
        </p:nvSpPr>
        <p:spPr>
          <a:xfrm>
            <a:off x="2457289" y="2032629"/>
            <a:ext cx="3144655" cy="1704823"/>
          </a:xfrm>
          <a:prstGeom prst="rect">
            <a:avLst/>
          </a:prstGeom>
          <a:solidFill>
            <a:srgbClr val="00B0F0"/>
          </a:solidFill>
          <a:ln w="57150" cap="flat" cmpd="sng" algn="ctr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218875">
              <a:defRPr/>
            </a:pPr>
            <a:r>
              <a:rPr lang="en-US" sz="1067" b="1" kern="0" dirty="0">
                <a:ln w="76200">
                  <a:noFill/>
                </a:ln>
                <a:solidFill>
                  <a:prstClr val="white"/>
                </a:solidFill>
                <a:latin typeface="Segoe UI"/>
                <a:cs typeface="Century Gothic"/>
              </a:rPr>
              <a:t> </a:t>
            </a:r>
          </a:p>
          <a:p>
            <a:pPr algn="ctr" defTabSz="1218875">
              <a:defRPr/>
            </a:pPr>
            <a:br>
              <a:rPr lang="en-US" sz="933" b="1" kern="0" dirty="0">
                <a:ln w="76200">
                  <a:noFill/>
                </a:ln>
                <a:solidFill>
                  <a:prstClr val="white"/>
                </a:solidFill>
                <a:latin typeface="Segoe UI"/>
                <a:cs typeface="Century Gothic"/>
              </a:rPr>
            </a:br>
            <a:r>
              <a:rPr lang="nb-NO" sz="1867" b="1" i="1" kern="0" cap="all" dirty="0">
                <a:solidFill>
                  <a:prstClr val="white"/>
                </a:solidFill>
                <a:latin typeface="Segoe UI"/>
                <a:cs typeface="Century Gothic"/>
              </a:rPr>
              <a:t>«</a:t>
            </a:r>
            <a:r>
              <a:rPr lang="nb-NO" sz="1867" b="1" i="1" kern="0" dirty="0">
                <a:solidFill>
                  <a:prstClr val="white"/>
                </a:solidFill>
                <a:latin typeface="Segoe UI"/>
                <a:cs typeface="Century Gothic"/>
              </a:rPr>
              <a:t>Har du lyst har du lov»</a:t>
            </a:r>
          </a:p>
          <a:p>
            <a:pPr algn="ctr" defTabSz="1218875">
              <a:defRPr/>
            </a:pPr>
            <a:endParaRPr lang="nb-NO" sz="1867" b="1" i="1" kern="0" dirty="0">
              <a:solidFill>
                <a:prstClr val="white"/>
              </a:solidFill>
              <a:latin typeface="Segoe UI"/>
              <a:cs typeface="Century Gothic"/>
            </a:endParaRPr>
          </a:p>
          <a:p>
            <a:pPr algn="ctr" defTabSz="1218875">
              <a:defRPr/>
            </a:pPr>
            <a:r>
              <a:rPr lang="nb-NO" sz="1400" b="1" i="1" kern="0" dirty="0">
                <a:solidFill>
                  <a:srgbClr val="222223"/>
                </a:solidFill>
                <a:latin typeface="Segoe UI"/>
              </a:rPr>
              <a:t>Moderne materialister</a:t>
            </a:r>
            <a:endParaRPr lang="nb-NO" sz="1400" i="1" kern="0" dirty="0">
              <a:solidFill>
                <a:srgbClr val="222223"/>
              </a:solidFill>
              <a:latin typeface="Segoe UI"/>
            </a:endParaRPr>
          </a:p>
        </p:txBody>
      </p:sp>
      <p:sp>
        <p:nvSpPr>
          <p:cNvPr id="13" name="Rectangle 36">
            <a:extLst>
              <a:ext uri="{FF2B5EF4-FFF2-40B4-BE49-F238E27FC236}">
                <a16:creationId xmlns:a16="http://schemas.microsoft.com/office/drawing/2014/main" id="{E6625EB4-18B1-4A89-BE07-D7D162B9ECD6}"/>
              </a:ext>
            </a:extLst>
          </p:cNvPr>
          <p:cNvSpPr>
            <a:spLocks/>
          </p:cNvSpPr>
          <p:nvPr/>
        </p:nvSpPr>
        <p:spPr>
          <a:xfrm>
            <a:off x="2457289" y="4031331"/>
            <a:ext cx="3144655" cy="1780173"/>
          </a:xfrm>
          <a:prstGeom prst="rect">
            <a:avLst/>
          </a:prstGeom>
          <a:solidFill>
            <a:srgbClr val="00B0F0"/>
          </a:solidFill>
          <a:ln w="57150" cap="flat" cmpd="sng" algn="ctr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218875">
              <a:defRPr/>
            </a:pPr>
            <a:endParaRPr lang="en-US" sz="1067" b="1" kern="0" dirty="0">
              <a:ln w="76200">
                <a:noFill/>
              </a:ln>
              <a:solidFill>
                <a:prstClr val="white"/>
              </a:solidFill>
              <a:latin typeface="Segoe UI"/>
              <a:cs typeface="Century Gothic"/>
            </a:endParaRPr>
          </a:p>
          <a:p>
            <a:pPr algn="ctr" defTabSz="1218875">
              <a:defRPr/>
            </a:pPr>
            <a:br>
              <a:rPr lang="en-US" sz="1600" b="1" kern="0" dirty="0">
                <a:ln w="76200">
                  <a:noFill/>
                </a:ln>
                <a:solidFill>
                  <a:prstClr val="white"/>
                </a:solidFill>
                <a:latin typeface="Segoe UI"/>
                <a:cs typeface="Century Gothic"/>
              </a:rPr>
            </a:br>
            <a:r>
              <a:rPr lang="nb-NO" sz="1867" b="1" i="1" kern="0" dirty="0">
                <a:solidFill>
                  <a:prstClr val="white"/>
                </a:solidFill>
                <a:latin typeface="Segoe UI"/>
                <a:cs typeface="Century Gothic"/>
              </a:rPr>
              <a:t>«Vær som folk flest»</a:t>
            </a:r>
          </a:p>
          <a:p>
            <a:pPr algn="ctr" defTabSz="1218875">
              <a:defRPr/>
            </a:pPr>
            <a:endParaRPr lang="nb-NO" sz="933" b="1" i="1" kern="0" dirty="0">
              <a:solidFill>
                <a:prstClr val="white"/>
              </a:solidFill>
              <a:latin typeface="Segoe UI"/>
            </a:endParaRPr>
          </a:p>
          <a:p>
            <a:pPr algn="ctr" defTabSz="1218875">
              <a:defRPr/>
            </a:pPr>
            <a:r>
              <a:rPr lang="nb-NO" sz="1333" b="1" i="1" kern="0" dirty="0">
                <a:solidFill>
                  <a:srgbClr val="222223"/>
                </a:solidFill>
                <a:latin typeface="Segoe UI"/>
              </a:rPr>
              <a:t>Tradisjonelle materialister</a:t>
            </a:r>
            <a:endParaRPr lang="nb-NO" sz="1333" i="1" kern="0" dirty="0">
              <a:solidFill>
                <a:srgbClr val="222223"/>
              </a:solidFill>
              <a:latin typeface="Segoe UI"/>
            </a:endParaRPr>
          </a:p>
          <a:p>
            <a:pPr algn="ctr" defTabSz="1218875">
              <a:defRPr/>
            </a:pPr>
            <a:endParaRPr lang="nb-NO" sz="800" i="1" kern="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4" name="Rectangle 37">
            <a:extLst>
              <a:ext uri="{FF2B5EF4-FFF2-40B4-BE49-F238E27FC236}">
                <a16:creationId xmlns:a16="http://schemas.microsoft.com/office/drawing/2014/main" id="{7F502B7A-DF9A-4F81-83ED-2C35C31C3FE3}"/>
              </a:ext>
            </a:extLst>
          </p:cNvPr>
          <p:cNvSpPr>
            <a:spLocks/>
          </p:cNvSpPr>
          <p:nvPr/>
        </p:nvSpPr>
        <p:spPr>
          <a:xfrm>
            <a:off x="5920892" y="4031716"/>
            <a:ext cx="3144312" cy="1789475"/>
          </a:xfrm>
          <a:prstGeom prst="rect">
            <a:avLst/>
          </a:prstGeom>
          <a:solidFill>
            <a:srgbClr val="00B0F0"/>
          </a:solidFill>
          <a:ln w="57150" cap="flat" cmpd="sng" algn="ctr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218875">
              <a:defRPr/>
            </a:pPr>
            <a:endParaRPr lang="en-US" sz="1067" b="1" kern="0" dirty="0">
              <a:ln w="76200">
                <a:noFill/>
              </a:ln>
              <a:solidFill>
                <a:prstClr val="white"/>
              </a:solidFill>
              <a:latin typeface="Segoe UI"/>
              <a:cs typeface="Century Gothic"/>
            </a:endParaRPr>
          </a:p>
          <a:p>
            <a:pPr algn="ctr" defTabSz="1218875">
              <a:defRPr/>
            </a:pPr>
            <a:r>
              <a:rPr lang="nb-NO" sz="933" b="1" i="1" kern="0" dirty="0">
                <a:solidFill>
                  <a:prstClr val="white"/>
                </a:solidFill>
                <a:latin typeface="Segoe UI"/>
                <a:cs typeface="Century Gothic"/>
              </a:rPr>
              <a:t> </a:t>
            </a:r>
            <a:r>
              <a:rPr lang="nb-NO" sz="1867" b="1" i="1" kern="0" dirty="0">
                <a:solidFill>
                  <a:prstClr val="white"/>
                </a:solidFill>
                <a:latin typeface="Segoe UI"/>
                <a:cs typeface="Century Gothic"/>
              </a:rPr>
              <a:t>«Gjør som du skal og bør»</a:t>
            </a:r>
          </a:p>
          <a:p>
            <a:pPr algn="ctr" defTabSz="1218875">
              <a:defRPr/>
            </a:pPr>
            <a:endParaRPr lang="nb-NO" sz="1867" b="1" i="1" kern="0" dirty="0">
              <a:solidFill>
                <a:prstClr val="white"/>
              </a:solidFill>
              <a:latin typeface="Segoe UI"/>
            </a:endParaRPr>
          </a:p>
          <a:p>
            <a:pPr algn="ctr" defTabSz="1218875">
              <a:defRPr/>
            </a:pPr>
            <a:r>
              <a:rPr lang="nb-NO" sz="1333" b="1" i="1" kern="0" dirty="0">
                <a:solidFill>
                  <a:srgbClr val="222223"/>
                </a:solidFill>
                <a:latin typeface="Segoe UI"/>
              </a:rPr>
              <a:t>Tradisjonelle idealister</a:t>
            </a:r>
            <a:endParaRPr lang="nb-NO" sz="1333" i="1" kern="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5" name="Rectangle 24">
            <a:extLst>
              <a:ext uri="{FF2B5EF4-FFF2-40B4-BE49-F238E27FC236}">
                <a16:creationId xmlns:a16="http://schemas.microsoft.com/office/drawing/2014/main" id="{E087F3F9-2065-48C9-8894-091DA41ED80A}"/>
              </a:ext>
            </a:extLst>
          </p:cNvPr>
          <p:cNvSpPr>
            <a:spLocks/>
          </p:cNvSpPr>
          <p:nvPr/>
        </p:nvSpPr>
        <p:spPr>
          <a:xfrm>
            <a:off x="5920891" y="2003968"/>
            <a:ext cx="3153443" cy="1733483"/>
          </a:xfrm>
          <a:prstGeom prst="rect">
            <a:avLst/>
          </a:prstGeom>
          <a:solidFill>
            <a:srgbClr val="00B0F0"/>
          </a:solidFill>
          <a:ln w="57150" cap="flat" cmpd="sng" algn="ctr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218875">
              <a:defRPr/>
            </a:pPr>
            <a:endParaRPr lang="en-US" sz="1067" b="1" kern="0" dirty="0">
              <a:ln w="76200">
                <a:noFill/>
              </a:ln>
              <a:solidFill>
                <a:prstClr val="white"/>
              </a:solidFill>
              <a:latin typeface="Segoe UI"/>
              <a:cs typeface="Century Gothic"/>
            </a:endParaRPr>
          </a:p>
          <a:p>
            <a:pPr algn="ctr" defTabSz="1218875">
              <a:defRPr/>
            </a:pPr>
            <a:br>
              <a:rPr lang="en-US" sz="933" b="1" kern="0" dirty="0">
                <a:ln w="76200">
                  <a:noFill/>
                </a:ln>
                <a:solidFill>
                  <a:prstClr val="white"/>
                </a:solidFill>
                <a:latin typeface="Segoe UI"/>
                <a:cs typeface="Century Gothic"/>
              </a:rPr>
            </a:br>
            <a:r>
              <a:rPr lang="nb-NO" sz="933" b="1" i="1" kern="0" dirty="0">
                <a:solidFill>
                  <a:prstClr val="white"/>
                </a:solidFill>
                <a:latin typeface="Segoe UI"/>
                <a:cs typeface="Century Gothic"/>
              </a:rPr>
              <a:t>«</a:t>
            </a:r>
            <a:r>
              <a:rPr lang="nb-NO" sz="1867" b="1" i="1" kern="0" dirty="0">
                <a:solidFill>
                  <a:prstClr val="white"/>
                </a:solidFill>
                <a:latin typeface="Segoe UI"/>
                <a:cs typeface="Century Gothic"/>
              </a:rPr>
              <a:t>Tenk selv»</a:t>
            </a:r>
          </a:p>
          <a:p>
            <a:pPr algn="ctr" defTabSz="1218875">
              <a:defRPr/>
            </a:pPr>
            <a:endParaRPr lang="nb-NO" sz="933" b="1" i="1" kern="0" cap="all" dirty="0">
              <a:solidFill>
                <a:prstClr val="white"/>
              </a:solidFill>
              <a:latin typeface="Segoe UI"/>
            </a:endParaRPr>
          </a:p>
          <a:p>
            <a:pPr algn="ctr" defTabSz="1218875">
              <a:defRPr/>
            </a:pPr>
            <a:r>
              <a:rPr lang="nb-NO" sz="1333" b="1" i="1" kern="0" dirty="0">
                <a:solidFill>
                  <a:srgbClr val="222223"/>
                </a:solidFill>
                <a:latin typeface="Segoe UI"/>
              </a:rPr>
              <a:t>Moderne idealister</a:t>
            </a:r>
            <a:endParaRPr lang="nb-NO" sz="1333" i="1" kern="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6" name="Rectangle 17">
            <a:extLst>
              <a:ext uri="{FF2B5EF4-FFF2-40B4-BE49-F238E27FC236}">
                <a16:creationId xmlns:a16="http://schemas.microsoft.com/office/drawing/2014/main" id="{B3872E79-19BC-4304-B46C-BBFF673E82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4380" y="1702814"/>
            <a:ext cx="1561697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015975">
              <a:lnSpc>
                <a:spcPct val="90000"/>
              </a:lnSpc>
            </a:pPr>
            <a:r>
              <a:rPr lang="nb-NO" altLang="nb-NO" sz="1867" b="1" dirty="0">
                <a:solidFill>
                  <a:schemeClr val="bg1"/>
                </a:solidFill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Normløs</a:t>
            </a:r>
          </a:p>
        </p:txBody>
      </p:sp>
      <p:sp>
        <p:nvSpPr>
          <p:cNvPr id="17" name="Rectangle 18">
            <a:extLst>
              <a:ext uri="{FF2B5EF4-FFF2-40B4-BE49-F238E27FC236}">
                <a16:creationId xmlns:a16="http://schemas.microsoft.com/office/drawing/2014/main" id="{90DBBB5B-CBAE-4A46-A09C-587532CBE3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1226" y="5817645"/>
            <a:ext cx="1936252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015975">
              <a:lnSpc>
                <a:spcPct val="90000"/>
              </a:lnSpc>
            </a:pPr>
            <a:r>
              <a:rPr lang="nb-NO" altLang="nb-NO" sz="1867" b="1" dirty="0">
                <a:solidFill>
                  <a:schemeClr val="bg1"/>
                </a:solidFill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Folkelig</a:t>
            </a:r>
          </a:p>
        </p:txBody>
      </p:sp>
      <p:sp>
        <p:nvSpPr>
          <p:cNvPr id="19" name="Rectangle 17">
            <a:extLst>
              <a:ext uri="{FF2B5EF4-FFF2-40B4-BE49-F238E27FC236}">
                <a16:creationId xmlns:a16="http://schemas.microsoft.com/office/drawing/2014/main" id="{2E4A015B-536B-4B2C-B66F-421543AB3A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56869" y="1660887"/>
            <a:ext cx="2236809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015975">
              <a:lnSpc>
                <a:spcPct val="90000"/>
              </a:lnSpc>
            </a:pPr>
            <a:r>
              <a:rPr lang="nb-NO" altLang="nb-NO" sz="1867" b="1" dirty="0">
                <a:solidFill>
                  <a:schemeClr val="bg1"/>
                </a:solidFill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Utvikling</a:t>
            </a:r>
          </a:p>
        </p:txBody>
      </p:sp>
      <p:sp>
        <p:nvSpPr>
          <p:cNvPr id="20" name="Rectangle 18">
            <a:extLst>
              <a:ext uri="{FF2B5EF4-FFF2-40B4-BE49-F238E27FC236}">
                <a16:creationId xmlns:a16="http://schemas.microsoft.com/office/drawing/2014/main" id="{C954B526-2F0A-418F-8C8B-696CF886A6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1378" y="5873757"/>
            <a:ext cx="2363199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015975">
              <a:lnSpc>
                <a:spcPct val="90000"/>
              </a:lnSpc>
            </a:pPr>
            <a:r>
              <a:rPr lang="nb-NO" altLang="nb-NO" sz="1867" b="1" dirty="0">
                <a:solidFill>
                  <a:schemeClr val="bg1"/>
                </a:solidFill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Normfas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9B24E7D-4482-4557-BF38-48CF6A53F0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94953" y="3653043"/>
            <a:ext cx="1463544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15975">
              <a:lnSpc>
                <a:spcPct val="90000"/>
              </a:lnSpc>
            </a:pPr>
            <a:r>
              <a:rPr lang="nb-NO" altLang="nb-NO" sz="1867" b="1" dirty="0">
                <a:solidFill>
                  <a:schemeClr val="bg1"/>
                </a:solidFill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Idealistisk </a:t>
            </a:r>
          </a:p>
        </p:txBody>
      </p:sp>
      <p:sp>
        <p:nvSpPr>
          <p:cNvPr id="23" name="Rectangle 18">
            <a:extLst>
              <a:ext uri="{FF2B5EF4-FFF2-40B4-BE49-F238E27FC236}">
                <a16:creationId xmlns:a16="http://schemas.microsoft.com/office/drawing/2014/main" id="{FB2DCF8E-1A9A-40DC-AFEB-79002EDE45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9912" y="6138556"/>
            <a:ext cx="3860791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015975">
              <a:lnSpc>
                <a:spcPct val="90000"/>
              </a:lnSpc>
            </a:pPr>
            <a:r>
              <a:rPr lang="nb-NO" altLang="nb-NO" sz="1867" b="1" dirty="0">
                <a:solidFill>
                  <a:schemeClr val="bg1"/>
                </a:solidFill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Tradisjonelle</a:t>
            </a:r>
          </a:p>
        </p:txBody>
      </p:sp>
      <p:pic>
        <p:nvPicPr>
          <p:cNvPr id="29" name="Bilde 28">
            <a:extLst>
              <a:ext uri="{FF2B5EF4-FFF2-40B4-BE49-F238E27FC236}">
                <a16:creationId xmlns:a16="http://schemas.microsoft.com/office/drawing/2014/main" id="{12889D4F-BB9E-40DD-862E-E1152A03779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5203" y="2085719"/>
            <a:ext cx="2209708" cy="1599105"/>
          </a:xfrm>
          <a:prstGeom prst="rect">
            <a:avLst/>
          </a:prstGeom>
          <a:ln w="6350">
            <a:solidFill>
              <a:srgbClr val="000000"/>
            </a:solidFill>
          </a:ln>
        </p:spPr>
      </p:pic>
      <p:pic>
        <p:nvPicPr>
          <p:cNvPr id="31" name="Bilde 30">
            <a:extLst>
              <a:ext uri="{FF2B5EF4-FFF2-40B4-BE49-F238E27FC236}">
                <a16:creationId xmlns:a16="http://schemas.microsoft.com/office/drawing/2014/main" id="{3A2C9B75-9FF9-4161-B741-61F9F9B6E97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5288" y="4138406"/>
            <a:ext cx="2249624" cy="1499035"/>
          </a:xfrm>
          <a:prstGeom prst="rect">
            <a:avLst/>
          </a:prstGeom>
          <a:ln w="12700">
            <a:solidFill>
              <a:srgbClr val="000000"/>
            </a:solidFill>
          </a:ln>
        </p:spPr>
      </p:pic>
      <p:sp>
        <p:nvSpPr>
          <p:cNvPr id="36" name="Rectangle 18">
            <a:extLst>
              <a:ext uri="{FF2B5EF4-FFF2-40B4-BE49-F238E27FC236}">
                <a16:creationId xmlns:a16="http://schemas.microsoft.com/office/drawing/2014/main" id="{5162AC1B-E195-408D-9971-DEF50859FE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0495" y="1496396"/>
            <a:ext cx="3860791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015975">
              <a:lnSpc>
                <a:spcPct val="90000"/>
              </a:lnSpc>
            </a:pPr>
            <a:r>
              <a:rPr lang="nb-NO" altLang="nb-NO" sz="1867" b="1" dirty="0">
                <a:solidFill>
                  <a:schemeClr val="bg1"/>
                </a:solidFill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Moderne</a:t>
            </a: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58936CA7-7202-44F2-8989-567244029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308" y="3720434"/>
            <a:ext cx="1822617" cy="37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0651" tIns="59267" rIns="120651" bIns="59267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15975">
              <a:lnSpc>
                <a:spcPct val="90000"/>
              </a:lnSpc>
            </a:pPr>
            <a:r>
              <a:rPr lang="nb-NO" altLang="nb-NO" sz="1867" b="1" dirty="0">
                <a:solidFill>
                  <a:schemeClr val="bg1"/>
                </a:solidFill>
                <a:latin typeface="Helvetica" pitchFamily="34" charset="0"/>
                <a:ea typeface="MS PGothic" pitchFamily="34" charset="-128"/>
                <a:cs typeface="Arial Unicode MS" pitchFamily="34" charset="-128"/>
              </a:rPr>
              <a:t>Materialistisk</a:t>
            </a:r>
          </a:p>
        </p:txBody>
      </p: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B9514BF6-9CFE-4C37-B9D5-82DB42F457B9}"/>
              </a:ext>
            </a:extLst>
          </p:cNvPr>
          <p:cNvSpPr txBox="1"/>
          <p:nvPr/>
        </p:nvSpPr>
        <p:spPr>
          <a:xfrm>
            <a:off x="9582971" y="140795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58290301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3908134" y="121446"/>
            <a:ext cx="3780587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Fotturer i skog og mark (59,1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1038282"/>
              </p:ext>
            </p:extLst>
          </p:nvPr>
        </p:nvGraphicFramePr>
        <p:xfrm>
          <a:off x="8727760" y="1524388"/>
          <a:ext cx="2668199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263B4F1-632D-41EA-AA97-B134BF7EC22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284743"/>
              </p:ext>
            </p:extLst>
          </p:nvPr>
        </p:nvGraphicFramePr>
        <p:xfrm>
          <a:off x="507446" y="163481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" name="Bilde 2">
            <a:extLst>
              <a:ext uri="{FF2B5EF4-FFF2-40B4-BE49-F238E27FC236}">
                <a16:creationId xmlns:a16="http://schemas.microsoft.com/office/drawing/2014/main" id="{73386CD1-69B3-4CF4-8F97-A4258556BF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9459" y="1634812"/>
            <a:ext cx="4503738" cy="4832663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0C07EF15-95A1-4812-B510-8016F56712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20322" y="1634812"/>
            <a:ext cx="4592875" cy="4832663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3559070C-5CF5-4042-A5D3-56522EC5700E}"/>
              </a:ext>
            </a:extLst>
          </p:cNvPr>
          <p:cNvSpPr txBox="1"/>
          <p:nvPr/>
        </p:nvSpPr>
        <p:spPr>
          <a:xfrm>
            <a:off x="9516296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6977554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4217575" y="121446"/>
            <a:ext cx="316169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Styrketrening (43,5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2557478"/>
              </p:ext>
            </p:extLst>
          </p:nvPr>
        </p:nvGraphicFramePr>
        <p:xfrm>
          <a:off x="8792283" y="1508458"/>
          <a:ext cx="2498571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58D5C0FF-DC38-49AE-A534-43DDD61C0F4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5211335"/>
              </p:ext>
            </p:extLst>
          </p:nvPr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7" name="Bilde 6">
            <a:extLst>
              <a:ext uri="{FF2B5EF4-FFF2-40B4-BE49-F238E27FC236}">
                <a16:creationId xmlns:a16="http://schemas.microsoft.com/office/drawing/2014/main" id="{9EA80A44-8D7E-48CE-9C96-A58EE1F5FC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42539" y="1524388"/>
            <a:ext cx="4677940" cy="4943087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D33A3E6A-6BF7-438F-B225-A12BE0285C50}"/>
              </a:ext>
            </a:extLst>
          </p:cNvPr>
          <p:cNvSpPr txBox="1"/>
          <p:nvPr/>
        </p:nvSpPr>
        <p:spPr>
          <a:xfrm>
            <a:off x="9535346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02295472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3836381" y="121446"/>
            <a:ext cx="3924088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Fotturer på fjell og vidde (36,3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97299052"/>
              </p:ext>
            </p:extLst>
          </p:nvPr>
        </p:nvGraphicFramePr>
        <p:xfrm>
          <a:off x="8824087" y="1491050"/>
          <a:ext cx="2371349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2D0A3F4B-C23A-4A7C-9816-5401ED4DD32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88874370"/>
              </p:ext>
            </p:extLst>
          </p:nvPr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0" name="Bilde 9">
            <a:extLst>
              <a:ext uri="{FF2B5EF4-FFF2-40B4-BE49-F238E27FC236}">
                <a16:creationId xmlns:a16="http://schemas.microsoft.com/office/drawing/2014/main" id="{A22EFF09-4497-441D-9530-FD44C9C4C2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42540" y="1508458"/>
            <a:ext cx="4772836" cy="4898594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CDA6874B-E01A-4259-8474-3F0BD4974E99}"/>
              </a:ext>
            </a:extLst>
          </p:cNvPr>
          <p:cNvSpPr txBox="1"/>
          <p:nvPr/>
        </p:nvSpPr>
        <p:spPr>
          <a:xfrm>
            <a:off x="948772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48038265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3826797" y="121446"/>
            <a:ext cx="394325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Skiturer i skog og fjell (29,6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/>
        </p:nvGraphicFramePr>
        <p:xfrm>
          <a:off x="8760475" y="1497855"/>
          <a:ext cx="2371352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C0114E81-C2A3-4D47-8BCA-041FBC5F1193}"/>
              </a:ext>
            </a:extLst>
          </p:cNvPr>
          <p:cNvGraphicFramePr/>
          <p:nvPr/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6" name="Bilde 5">
            <a:extLst>
              <a:ext uri="{FF2B5EF4-FFF2-40B4-BE49-F238E27FC236}">
                <a16:creationId xmlns:a16="http://schemas.microsoft.com/office/drawing/2014/main" id="{5DCB8984-C725-427D-96ED-A6668F85EE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0322" y="1634812"/>
            <a:ext cx="4592875" cy="4832663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6951E984-0800-4238-BCBE-F0375A60F124}"/>
              </a:ext>
            </a:extLst>
          </p:cNvPr>
          <p:cNvSpPr txBox="1"/>
          <p:nvPr/>
        </p:nvSpPr>
        <p:spPr>
          <a:xfrm>
            <a:off x="952582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62111477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3796692" y="121446"/>
            <a:ext cx="4003468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Jogging i mosjonshensikt (31,2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2344320"/>
              </p:ext>
            </p:extLst>
          </p:nvPr>
        </p:nvGraphicFramePr>
        <p:xfrm>
          <a:off x="8718069" y="1491047"/>
          <a:ext cx="2593985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4D370122-9B22-4902-AD28-7A3530D847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0844281"/>
              </p:ext>
            </p:extLst>
          </p:nvPr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7" name="Bilde 6">
            <a:extLst>
              <a:ext uri="{FF2B5EF4-FFF2-40B4-BE49-F238E27FC236}">
                <a16:creationId xmlns:a16="http://schemas.microsoft.com/office/drawing/2014/main" id="{D7A597E8-BAA6-451D-94F6-FF6B10867C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0322" y="1639724"/>
            <a:ext cx="4516872" cy="4827751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03567B17-732F-4C36-AC71-5E9A637C01E0}"/>
              </a:ext>
            </a:extLst>
          </p:cNvPr>
          <p:cNvSpPr txBox="1"/>
          <p:nvPr/>
        </p:nvSpPr>
        <p:spPr>
          <a:xfrm>
            <a:off x="952582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09266365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3840199" y="121446"/>
            <a:ext cx="3916457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Sykling til jobb og på tur (25,9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9416499"/>
              </p:ext>
            </p:extLst>
          </p:nvPr>
        </p:nvGraphicFramePr>
        <p:xfrm>
          <a:off x="8908900" y="1491047"/>
          <a:ext cx="2413757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C567FC0-BE98-4A25-8C95-B4CDD0E5E2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993531"/>
              </p:ext>
            </p:extLst>
          </p:nvPr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6" name="Bilde 5">
            <a:extLst>
              <a:ext uri="{FF2B5EF4-FFF2-40B4-BE49-F238E27FC236}">
                <a16:creationId xmlns:a16="http://schemas.microsoft.com/office/drawing/2014/main" id="{BCF261CE-914F-47A7-9EE1-23D414A78A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7653" y="1639724"/>
            <a:ext cx="4549541" cy="4714423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7865B7F7-7646-4238-ADCD-FF772F7A0B1D}"/>
              </a:ext>
            </a:extLst>
          </p:cNvPr>
          <p:cNvSpPr txBox="1"/>
          <p:nvPr/>
        </p:nvSpPr>
        <p:spPr>
          <a:xfrm>
            <a:off x="948772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88199304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4217575" y="121446"/>
            <a:ext cx="316169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Langrenn (23,2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9210124"/>
              </p:ext>
            </p:extLst>
          </p:nvPr>
        </p:nvGraphicFramePr>
        <p:xfrm>
          <a:off x="8845292" y="1491050"/>
          <a:ext cx="2403155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7215145F-18A7-4BD7-890A-0E5EE6E6B8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7983547"/>
              </p:ext>
            </p:extLst>
          </p:nvPr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7" name="Bilde 6">
            <a:extLst>
              <a:ext uri="{FF2B5EF4-FFF2-40B4-BE49-F238E27FC236}">
                <a16:creationId xmlns:a16="http://schemas.microsoft.com/office/drawing/2014/main" id="{A7594346-8008-464E-BDB8-B7B76F51B5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95045" y="1601472"/>
            <a:ext cx="4542149" cy="4817989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A7B1FB7D-45FA-4446-89A0-C70FF793AD35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29866066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2787989" y="121446"/>
            <a:ext cx="6020880" cy="80021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Sykling som trening på vei/terreng/spinning (14,4%)</a:t>
            </a:r>
          </a:p>
          <a:p>
            <a:pPr marL="4763" algn="ctr" defTabSz="1232345"/>
            <a:r>
              <a:rPr lang="nb-NO" sz="12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algn="ctr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9391041"/>
              </p:ext>
            </p:extLst>
          </p:nvPr>
        </p:nvGraphicFramePr>
        <p:xfrm>
          <a:off x="8866495" y="1491050"/>
          <a:ext cx="2424357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1A160ADE-234B-470A-BC46-07604FBB91D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4654744"/>
              </p:ext>
            </p:extLst>
          </p:nvPr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Bilde 6">
            <a:extLst>
              <a:ext uri="{FF2B5EF4-FFF2-40B4-BE49-F238E27FC236}">
                <a16:creationId xmlns:a16="http://schemas.microsoft.com/office/drawing/2014/main" id="{29DD5F39-63DD-4D9F-BD33-AFDA32E4EE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81995" y="1639724"/>
            <a:ext cx="4428010" cy="4690941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8F7DF94A-259C-487F-AEA6-61E7EBE1A3A9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6018686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5288CFCD-6271-4DB8-B479-AC0D81A9E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319" y="365882"/>
            <a:ext cx="11382428" cy="757130"/>
          </a:xfrm>
        </p:spPr>
        <p:txBody>
          <a:bodyPr/>
          <a:lstStyle/>
          <a:p>
            <a:r>
              <a:rPr lang="nb-NO" sz="2400" dirty="0"/>
              <a:t>Utviklingen i retning av mer positive holdninger til innvandrere/muslimer fortsetter i 2019</a:t>
            </a:r>
          </a:p>
        </p:txBody>
      </p:sp>
      <p:graphicFrame>
        <p:nvGraphicFramePr>
          <p:cNvPr id="7" name="Content Placeholder 11">
            <a:extLst>
              <a:ext uri="{FF2B5EF4-FFF2-40B4-BE49-F238E27FC236}">
                <a16:creationId xmlns:a16="http://schemas.microsoft.com/office/drawing/2014/main" id="{6671011C-1129-44A1-A860-5F603D265C5E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251520" y="1255594"/>
          <a:ext cx="6108338" cy="53913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ontent Placeholder 10">
            <a:extLst>
              <a:ext uri="{FF2B5EF4-FFF2-40B4-BE49-F238E27FC236}">
                <a16:creationId xmlns:a16="http://schemas.microsoft.com/office/drawing/2014/main" id="{3AA09249-E5E5-4513-B49F-7DC24D9DA708}"/>
              </a:ext>
            </a:extLst>
          </p:cNvPr>
          <p:cNvGraphicFramePr>
            <a:graphicFrameLocks/>
          </p:cNvGraphicFramePr>
          <p:nvPr/>
        </p:nvGraphicFramePr>
        <p:xfrm>
          <a:off x="6557212" y="1362403"/>
          <a:ext cx="5516208" cy="5328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0FB8B92B-D888-4991-A8E9-FD33A5ECE810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08890746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4217574" y="121446"/>
            <a:ext cx="316169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Svømming (14,1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66821072"/>
              </p:ext>
            </p:extLst>
          </p:nvPr>
        </p:nvGraphicFramePr>
        <p:xfrm>
          <a:off x="8941340" y="1491050"/>
          <a:ext cx="2392553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A006696E-0224-4A6F-A53B-27D54CA103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1805698"/>
              </p:ext>
            </p:extLst>
          </p:nvPr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7" name="Bilde 6">
            <a:extLst>
              <a:ext uri="{FF2B5EF4-FFF2-40B4-BE49-F238E27FC236}">
                <a16:creationId xmlns:a16="http://schemas.microsoft.com/office/drawing/2014/main" id="{99137636-F9C1-4447-B7FB-DC1D8876EB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0322" y="1634810"/>
            <a:ext cx="4628204" cy="4832663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A3A12FB6-2965-401F-BCB7-DDF45CC65D17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62439656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440E8046-B0B9-4C7A-A55C-ED2E9A2D8DDA}"/>
              </a:ext>
            </a:extLst>
          </p:cNvPr>
          <p:cNvGraphicFramePr/>
          <p:nvPr/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7" name="Bilde 6">
            <a:extLst>
              <a:ext uri="{FF2B5EF4-FFF2-40B4-BE49-F238E27FC236}">
                <a16:creationId xmlns:a16="http://schemas.microsoft.com/office/drawing/2014/main" id="{6B1210D5-327D-4C75-86DE-19F5D7BE5F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6901" y="710317"/>
            <a:ext cx="5731913" cy="6012889"/>
          </a:xfrm>
          <a:prstGeom prst="rect">
            <a:avLst/>
          </a:prstGeo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AC3CA5EB-0BE7-41A9-8B8A-656D5B44B4B7}"/>
              </a:ext>
            </a:extLst>
          </p:cNvPr>
          <p:cNvSpPr txBox="1"/>
          <p:nvPr/>
        </p:nvSpPr>
        <p:spPr>
          <a:xfrm>
            <a:off x="4217574" y="121446"/>
            <a:ext cx="316169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Løpstrening (12,7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713C293F-F893-44E6-A7EF-CED848628C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9356931"/>
              </p:ext>
            </p:extLst>
          </p:nvPr>
        </p:nvGraphicFramePr>
        <p:xfrm>
          <a:off x="8813486" y="1491050"/>
          <a:ext cx="2509173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kstSylinder 7">
            <a:extLst>
              <a:ext uri="{FF2B5EF4-FFF2-40B4-BE49-F238E27FC236}">
                <a16:creationId xmlns:a16="http://schemas.microsoft.com/office/drawing/2014/main" id="{15CBB166-5C57-4D32-8B42-5E129C8DA0F9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428415150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3705771" y="121446"/>
            <a:ext cx="4185313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Vektløfting/kroppsbygging (12,2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2647340"/>
              </p:ext>
            </p:extLst>
          </p:nvPr>
        </p:nvGraphicFramePr>
        <p:xfrm>
          <a:off x="8866494" y="1491050"/>
          <a:ext cx="2424359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8925CF66-C95C-449F-B805-CBF56A8BBA6C}"/>
              </a:ext>
            </a:extLst>
          </p:cNvPr>
          <p:cNvGraphicFramePr/>
          <p:nvPr/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6" name="Bilde 5">
            <a:extLst>
              <a:ext uri="{FF2B5EF4-FFF2-40B4-BE49-F238E27FC236}">
                <a16:creationId xmlns:a16="http://schemas.microsoft.com/office/drawing/2014/main" id="{6F86F0F4-74B4-44BC-ADD0-D6A99D95E2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20322" y="1707501"/>
            <a:ext cx="4510409" cy="4759973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A06ECBE6-7B69-4901-830B-1BCA88BF0198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3287886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3893576" y="121446"/>
            <a:ext cx="3809697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Slalom/alpint/randonee (11,8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0648059"/>
              </p:ext>
            </p:extLst>
          </p:nvPr>
        </p:nvGraphicFramePr>
        <p:xfrm>
          <a:off x="8633255" y="1491050"/>
          <a:ext cx="2509172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5FB25890-24D4-4774-97E4-E3EA17E7DD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6347097"/>
              </p:ext>
            </p:extLst>
          </p:nvPr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Bilde 6">
            <a:extLst>
              <a:ext uri="{FF2B5EF4-FFF2-40B4-BE49-F238E27FC236}">
                <a16:creationId xmlns:a16="http://schemas.microsoft.com/office/drawing/2014/main" id="{1E04334D-A494-4E97-BCDB-9B729261D4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20322" y="1663375"/>
            <a:ext cx="4521866" cy="4804099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CDB1FEC7-E09D-4743-90FC-222E42635F46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47178532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4217574" y="121446"/>
            <a:ext cx="316169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Yoga/pilates (11,6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219638"/>
              </p:ext>
            </p:extLst>
          </p:nvPr>
        </p:nvGraphicFramePr>
        <p:xfrm>
          <a:off x="8941339" y="1491050"/>
          <a:ext cx="2403156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D0E2CE15-48A8-42ED-8CFC-79112147AA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3865538"/>
              </p:ext>
            </p:extLst>
          </p:nvPr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8" name="Bilde 7">
            <a:extLst>
              <a:ext uri="{FF2B5EF4-FFF2-40B4-BE49-F238E27FC236}">
                <a16:creationId xmlns:a16="http://schemas.microsoft.com/office/drawing/2014/main" id="{27635E5A-C6B5-4D5B-B922-A4BEEB0A9A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0322" y="1688457"/>
            <a:ext cx="4498616" cy="4779018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115CE427-F5E7-4DD5-8A70-9D3F3D913586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12308246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3262642" y="121446"/>
            <a:ext cx="5071581" cy="113877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Gymnastikk/jazzballett/aerobics/freestyle </a:t>
            </a:r>
          </a:p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og andre former for gruppetrening(9,2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43363282"/>
              </p:ext>
            </p:extLst>
          </p:nvPr>
        </p:nvGraphicFramePr>
        <p:xfrm>
          <a:off x="8633255" y="1491050"/>
          <a:ext cx="2498572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F739732C-B3E8-486E-8B9D-96AFF70075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4284044"/>
              </p:ext>
            </p:extLst>
          </p:nvPr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8" name="Bilde 7">
            <a:extLst>
              <a:ext uri="{FF2B5EF4-FFF2-40B4-BE49-F238E27FC236}">
                <a16:creationId xmlns:a16="http://schemas.microsoft.com/office/drawing/2014/main" id="{E2850A51-0576-40DA-A43C-6CB68D5D1E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36950" y="1634812"/>
            <a:ext cx="4546301" cy="4765988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09AB4B6A-839C-4090-BF3E-6662174D6141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62648512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4217574" y="121446"/>
            <a:ext cx="316169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Fotball (7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08323731"/>
              </p:ext>
            </p:extLst>
          </p:nvPr>
        </p:nvGraphicFramePr>
        <p:xfrm>
          <a:off x="8707468" y="1491047"/>
          <a:ext cx="2487968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3CA4FB3E-8872-4FAC-B260-BDF6C71AA7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296208"/>
              </p:ext>
            </p:extLst>
          </p:nvPr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6" name="Bilde 5">
            <a:extLst>
              <a:ext uri="{FF2B5EF4-FFF2-40B4-BE49-F238E27FC236}">
                <a16:creationId xmlns:a16="http://schemas.microsoft.com/office/drawing/2014/main" id="{BCBCF11E-1B28-4D4F-943F-730844C734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08134" y="1651456"/>
            <a:ext cx="4587859" cy="4816019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5B7D7293-469B-4928-A9E3-5B30E74BF989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25295117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57CDC6ED-721E-4464-A9CE-AAD78A2BA3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20911985"/>
              </p:ext>
            </p:extLst>
          </p:nvPr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kstSylinder 9">
            <a:extLst>
              <a:ext uri="{FF2B5EF4-FFF2-40B4-BE49-F238E27FC236}">
                <a16:creationId xmlns:a16="http://schemas.microsoft.com/office/drawing/2014/main" id="{3419C372-1AF2-45BE-8572-8AB90960C10F}"/>
              </a:ext>
            </a:extLst>
          </p:cNvPr>
          <p:cNvSpPr txBox="1"/>
          <p:nvPr/>
        </p:nvSpPr>
        <p:spPr>
          <a:xfrm>
            <a:off x="4100555" y="121446"/>
            <a:ext cx="3395738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Dans (5,6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E53F91C8-6D27-4C74-B868-AB266437FAFF}"/>
              </a:ext>
            </a:extLst>
          </p:cNvPr>
          <p:cNvGraphicFramePr/>
          <p:nvPr/>
        </p:nvGraphicFramePr>
        <p:xfrm>
          <a:off x="8941340" y="1491050"/>
          <a:ext cx="2392553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8" name="Bilde 7">
            <a:extLst>
              <a:ext uri="{FF2B5EF4-FFF2-40B4-BE49-F238E27FC236}">
                <a16:creationId xmlns:a16="http://schemas.microsoft.com/office/drawing/2014/main" id="{7EB3D5BA-8506-4D40-82DE-C37316DD30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20322" y="1670179"/>
            <a:ext cx="4497332" cy="4683968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5690D140-AB1D-4004-A67A-7F7CF0271207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694628627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0667145"/>
              </p:ext>
            </p:extLst>
          </p:nvPr>
        </p:nvGraphicFramePr>
        <p:xfrm>
          <a:off x="8941337" y="1455449"/>
          <a:ext cx="2487968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D6BAE374-C03C-43DC-9081-612BA88A6B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88230243"/>
              </p:ext>
            </p:extLst>
          </p:nvPr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kstSylinder 7">
            <a:extLst>
              <a:ext uri="{FF2B5EF4-FFF2-40B4-BE49-F238E27FC236}">
                <a16:creationId xmlns:a16="http://schemas.microsoft.com/office/drawing/2014/main" id="{E1CE8973-9700-48CD-942C-75580E549112}"/>
              </a:ext>
            </a:extLst>
          </p:cNvPr>
          <p:cNvSpPr txBox="1"/>
          <p:nvPr/>
        </p:nvSpPr>
        <p:spPr>
          <a:xfrm>
            <a:off x="1374446" y="493822"/>
            <a:ext cx="8661345" cy="46166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n-NO" sz="1600" dirty="0">
                <a:solidFill>
                  <a:srgbClr val="222223"/>
                </a:solidFill>
              </a:rPr>
              <a:t>Klatring/ Fallskjermhopping/ Paragliding/ Hanggliding/ Kiting / Rafting/ Dykking/ Topptur</a:t>
            </a:r>
            <a:r>
              <a:rPr lang="nb-NO" sz="1600" dirty="0">
                <a:solidFill>
                  <a:srgbClr val="222223"/>
                </a:solidFill>
                <a:latin typeface="Segoe UI"/>
              </a:rPr>
              <a:t>(4,1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1B3A87CD-54CB-44F9-893F-E9301FC802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08133" y="1690803"/>
            <a:ext cx="4593423" cy="4776672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FB67A611-ECBA-4312-8685-106C7156091F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229592367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4020919" y="121446"/>
            <a:ext cx="3555012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Roing/padling/kano (4,6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/>
        </p:nvGraphicFramePr>
        <p:xfrm>
          <a:off x="8855890" y="1487254"/>
          <a:ext cx="2254732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D33D8F41-38E2-48C7-9598-5FB4B10ACE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2152126"/>
              </p:ext>
            </p:extLst>
          </p:nvPr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8" name="Bilde 7">
            <a:extLst>
              <a:ext uri="{FF2B5EF4-FFF2-40B4-BE49-F238E27FC236}">
                <a16:creationId xmlns:a16="http://schemas.microsoft.com/office/drawing/2014/main" id="{27B5381A-0C63-4D6D-9FBF-8DFDC31ACC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0322" y="1634809"/>
            <a:ext cx="4536417" cy="4719337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A512646B-235D-4532-9258-AFEC18A6063A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9260638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5288CFCD-6271-4DB8-B479-AC0D81A9E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319" y="365882"/>
            <a:ext cx="11382428" cy="424732"/>
          </a:xfrm>
        </p:spPr>
        <p:txBody>
          <a:bodyPr/>
          <a:lstStyle/>
          <a:p>
            <a:r>
              <a:rPr lang="nb-NO" sz="2400" dirty="0"/>
              <a:t>Nedgangen i Gudstro akselererer 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80547D9B-3314-49F0-9BC1-4D7F8E4CB90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59308" y="1523999"/>
          <a:ext cx="11737074" cy="5334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1">
            <a:extLst>
              <a:ext uri="{FF2B5EF4-FFF2-40B4-BE49-F238E27FC236}">
                <a16:creationId xmlns:a16="http://schemas.microsoft.com/office/drawing/2014/main" id="{89B53069-EA48-449C-BF1B-DC55E8A127BB}"/>
              </a:ext>
            </a:extLst>
          </p:cNvPr>
          <p:cNvSpPr txBox="1"/>
          <p:nvPr/>
        </p:nvSpPr>
        <p:spPr>
          <a:xfrm>
            <a:off x="4947223" y="1247989"/>
            <a:ext cx="2810901" cy="57608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or du på Gud?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B14D070B-088B-4FC6-9562-3613E97BCE11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9800221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4217574" y="121446"/>
            <a:ext cx="316169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Skyting (3,4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4105079"/>
              </p:ext>
            </p:extLst>
          </p:nvPr>
        </p:nvGraphicFramePr>
        <p:xfrm>
          <a:off x="8941337" y="1455449"/>
          <a:ext cx="2487968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D6BAE374-C03C-43DC-9081-612BA88A6B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2782642"/>
              </p:ext>
            </p:extLst>
          </p:nvPr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8" name="Bilde 7">
            <a:extLst>
              <a:ext uri="{FF2B5EF4-FFF2-40B4-BE49-F238E27FC236}">
                <a16:creationId xmlns:a16="http://schemas.microsoft.com/office/drawing/2014/main" id="{A6F4CB93-C371-421C-B14D-974F96CA5F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08133" y="1634812"/>
            <a:ext cx="4616643" cy="4832662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F21B66B5-0558-4634-A694-E30483A6F0F0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92493055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9497891"/>
              </p:ext>
            </p:extLst>
          </p:nvPr>
        </p:nvGraphicFramePr>
        <p:xfrm>
          <a:off x="8941337" y="1455449"/>
          <a:ext cx="2487968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D6BAE374-C03C-43DC-9081-612BA88A6B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77222815"/>
              </p:ext>
            </p:extLst>
          </p:nvPr>
        </p:nvGraphicFramePr>
        <p:xfrm>
          <a:off x="477080" y="1601472"/>
          <a:ext cx="3201725" cy="430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kstSylinder 9">
            <a:extLst>
              <a:ext uri="{FF2B5EF4-FFF2-40B4-BE49-F238E27FC236}">
                <a16:creationId xmlns:a16="http://schemas.microsoft.com/office/drawing/2014/main" id="{B46A48F3-5E68-4DDC-AFDA-ABB4FBE12810}"/>
              </a:ext>
            </a:extLst>
          </p:cNvPr>
          <p:cNvSpPr txBox="1"/>
          <p:nvPr/>
        </p:nvSpPr>
        <p:spPr>
          <a:xfrm>
            <a:off x="4217574" y="121446"/>
            <a:ext cx="316169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Volleyball (3,1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536B57BD-ECF1-4A46-9F7F-4F9FAD88B1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08134" y="1634812"/>
            <a:ext cx="4542580" cy="4832663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EA04FD10-4A11-4368-80AE-CB5FC2DE68FB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070253505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4217574" y="121446"/>
            <a:ext cx="316169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Snowboard (2,6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88802543"/>
              </p:ext>
            </p:extLst>
          </p:nvPr>
        </p:nvGraphicFramePr>
        <p:xfrm>
          <a:off x="8845290" y="1491050"/>
          <a:ext cx="2148713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Bilde 4">
            <a:extLst>
              <a:ext uri="{FF2B5EF4-FFF2-40B4-BE49-F238E27FC236}">
                <a16:creationId xmlns:a16="http://schemas.microsoft.com/office/drawing/2014/main" id="{F27006B2-BB45-4BD5-9DE7-1259D654A8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8133" y="1658893"/>
            <a:ext cx="4556791" cy="4808581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8D9FD557-4847-4F41-ADA2-616EEA9AD7F0}"/>
              </a:ext>
            </a:extLst>
          </p:cNvPr>
          <p:cNvSpPr txBox="1"/>
          <p:nvPr/>
        </p:nvSpPr>
        <p:spPr>
          <a:xfrm>
            <a:off x="457995" y="2364127"/>
            <a:ext cx="3069772" cy="1713024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r>
              <a:rPr lang="nb-NO" sz="1400" dirty="0"/>
              <a:t>NB!                                            Oppslutningen om denne aktiviteten                                      (mindre enn 100 respondenter                  av totalt 3710 respondenter)                                               blir for lite til å gi gode nedbrytninger på               aldersgruppene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76FBC24F-F453-4043-A113-2C6E8EC8C664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760340974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Sylinder 6">
            <a:extLst>
              <a:ext uri="{FF2B5EF4-FFF2-40B4-BE49-F238E27FC236}">
                <a16:creationId xmlns:a16="http://schemas.microsoft.com/office/drawing/2014/main" id="{8BB1EB0C-1E76-4487-BFDA-5B8925A9130D}"/>
              </a:ext>
            </a:extLst>
          </p:cNvPr>
          <p:cNvSpPr txBox="1"/>
          <p:nvPr/>
        </p:nvSpPr>
        <p:spPr>
          <a:xfrm>
            <a:off x="4217576" y="121446"/>
            <a:ext cx="316169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Bordtennis (2,2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F1A44FE2-3DDF-445E-84D2-4934BC8EA0A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76851065"/>
              </p:ext>
            </p:extLst>
          </p:nvPr>
        </p:nvGraphicFramePr>
        <p:xfrm>
          <a:off x="8941340" y="1491050"/>
          <a:ext cx="2392553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Bilde 4">
            <a:extLst>
              <a:ext uri="{FF2B5EF4-FFF2-40B4-BE49-F238E27FC236}">
                <a16:creationId xmlns:a16="http://schemas.microsoft.com/office/drawing/2014/main" id="{70E16691-3291-4A84-A2E4-B1AA570D4B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0321" y="1634812"/>
            <a:ext cx="4658737" cy="4832663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020BE5F5-9961-4C78-B24C-E4D1162ACF0E}"/>
              </a:ext>
            </a:extLst>
          </p:cNvPr>
          <p:cNvSpPr txBox="1"/>
          <p:nvPr/>
        </p:nvSpPr>
        <p:spPr>
          <a:xfrm>
            <a:off x="457995" y="2364127"/>
            <a:ext cx="3069772" cy="1713024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r>
              <a:rPr lang="nb-NO" sz="1400" dirty="0"/>
              <a:t>NB!                                            Oppslutningen om denne aktiviteten                                      (mindre enn 100 respondenter                  av totalt 3710 respondenter)                                               blir for lite til å gi gode nedbrytninger på               aldersgruppene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71529F95-6813-49A5-A77B-3D5FB1D35F2E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820158614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Sylinder 7">
            <a:extLst>
              <a:ext uri="{FF2B5EF4-FFF2-40B4-BE49-F238E27FC236}">
                <a16:creationId xmlns:a16="http://schemas.microsoft.com/office/drawing/2014/main" id="{CDC77F85-CEC4-4656-BD3B-030A9F99FF34}"/>
              </a:ext>
            </a:extLst>
          </p:cNvPr>
          <p:cNvSpPr txBox="1"/>
          <p:nvPr/>
        </p:nvSpPr>
        <p:spPr>
          <a:xfrm>
            <a:off x="3786627" y="121446"/>
            <a:ext cx="4023602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Seiling/brettseiling/surfing (2,2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01481771-DA44-4B54-AE54-C0BDD4A810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2819705"/>
              </p:ext>
            </p:extLst>
          </p:nvPr>
        </p:nvGraphicFramePr>
        <p:xfrm>
          <a:off x="8941340" y="1491050"/>
          <a:ext cx="2392553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Bilde 4">
            <a:extLst>
              <a:ext uri="{FF2B5EF4-FFF2-40B4-BE49-F238E27FC236}">
                <a16:creationId xmlns:a16="http://schemas.microsoft.com/office/drawing/2014/main" id="{C8975866-715B-4B6E-918A-FE807D5F07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3883" y="1634812"/>
            <a:ext cx="4714889" cy="4890210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26E83A6E-5003-4C1D-A9D4-A4026CE71B45}"/>
              </a:ext>
            </a:extLst>
          </p:cNvPr>
          <p:cNvSpPr txBox="1"/>
          <p:nvPr/>
        </p:nvSpPr>
        <p:spPr>
          <a:xfrm>
            <a:off x="457995" y="2364127"/>
            <a:ext cx="3069772" cy="1713024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r>
              <a:rPr lang="nb-NO" sz="1400" dirty="0"/>
              <a:t>NB!                                            Oppslutningen om denne aktiviteten                                      (mindre enn 100 respondenter                  av totalt 3710 respondenter)                                               blir for lite til å gi gode nedbrytninger på               aldersgruppene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D89DEAC0-7AE6-4961-A156-D7FEC3560BE8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80166386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Sylinder 7">
            <a:extLst>
              <a:ext uri="{FF2B5EF4-FFF2-40B4-BE49-F238E27FC236}">
                <a16:creationId xmlns:a16="http://schemas.microsoft.com/office/drawing/2014/main" id="{CDC77F85-CEC4-4656-BD3B-030A9F99FF34}"/>
              </a:ext>
            </a:extLst>
          </p:cNvPr>
          <p:cNvSpPr txBox="1"/>
          <p:nvPr/>
        </p:nvSpPr>
        <p:spPr>
          <a:xfrm>
            <a:off x="4217575" y="121446"/>
            <a:ext cx="316169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Orientering (2,2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01481771-DA44-4B54-AE54-C0BDD4A810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155216"/>
              </p:ext>
            </p:extLst>
          </p:nvPr>
        </p:nvGraphicFramePr>
        <p:xfrm>
          <a:off x="8941340" y="1491050"/>
          <a:ext cx="2392553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Bilde 4">
            <a:extLst>
              <a:ext uri="{FF2B5EF4-FFF2-40B4-BE49-F238E27FC236}">
                <a16:creationId xmlns:a16="http://schemas.microsoft.com/office/drawing/2014/main" id="{72BD786C-0EE4-4DD9-9D26-29EC279E6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0322" y="1634811"/>
            <a:ext cx="4438392" cy="4654022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2322A1F1-6877-4A3D-B75B-626E3752FDB0}"/>
              </a:ext>
            </a:extLst>
          </p:cNvPr>
          <p:cNvSpPr txBox="1"/>
          <p:nvPr/>
        </p:nvSpPr>
        <p:spPr>
          <a:xfrm>
            <a:off x="457995" y="2364127"/>
            <a:ext cx="3069772" cy="1713024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r>
              <a:rPr lang="nb-NO" sz="1400" dirty="0"/>
              <a:t>NB!                                            Oppslutningen om denne aktiviteten                                      (mindre enn 100 respondenter                  av totalt 3710 respondenter)                                               blir for lite til å gi gode nedbrytninger på               aldersgruppene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4F2D18D4-5F92-40E9-86EC-4030287E827C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21621948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4217574" y="121446"/>
            <a:ext cx="316169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Bowling (2,1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058D6ECF-9D2A-47A6-B3E1-FA82DCA746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8525196"/>
              </p:ext>
            </p:extLst>
          </p:nvPr>
        </p:nvGraphicFramePr>
        <p:xfrm>
          <a:off x="8633256" y="1491050"/>
          <a:ext cx="2487968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Bilde 6">
            <a:extLst>
              <a:ext uri="{FF2B5EF4-FFF2-40B4-BE49-F238E27FC236}">
                <a16:creationId xmlns:a16="http://schemas.microsoft.com/office/drawing/2014/main" id="{BD0CABC4-6D6F-4181-8828-170973110B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8134" y="1634812"/>
            <a:ext cx="4566588" cy="4832662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330F4281-37B3-46BA-A8AE-BB7F5D8C78B6}"/>
              </a:ext>
            </a:extLst>
          </p:cNvPr>
          <p:cNvSpPr txBox="1"/>
          <p:nvPr/>
        </p:nvSpPr>
        <p:spPr>
          <a:xfrm>
            <a:off x="457995" y="2364127"/>
            <a:ext cx="3069772" cy="1713024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r>
              <a:rPr lang="nb-NO" sz="1400" dirty="0"/>
              <a:t>NB!                                            Oppslutningen om denne aktiviteten                                      (mindre enn 100 respondenter                  av totalt 3710 respondenter)                                               blir for lite til å gi gode nedbrytninger på               aldersgruppene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50749ABC-58E0-4364-8A95-1649615659EC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223401339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4217574" y="121446"/>
            <a:ext cx="316169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Golf (2,1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50A2DDA9-35A8-488C-B53D-BE6ADC9872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0688076"/>
              </p:ext>
            </p:extLst>
          </p:nvPr>
        </p:nvGraphicFramePr>
        <p:xfrm>
          <a:off x="8633256" y="1491050"/>
          <a:ext cx="2307739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Bilde 6">
            <a:extLst>
              <a:ext uri="{FF2B5EF4-FFF2-40B4-BE49-F238E27FC236}">
                <a16:creationId xmlns:a16="http://schemas.microsoft.com/office/drawing/2014/main" id="{8D941EB2-C135-4DD9-A2EA-B694181822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8134" y="1634812"/>
            <a:ext cx="4572776" cy="4832663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D1FA9652-FDAB-42B4-80E7-3EE57EF98859}"/>
              </a:ext>
            </a:extLst>
          </p:cNvPr>
          <p:cNvSpPr txBox="1"/>
          <p:nvPr/>
        </p:nvSpPr>
        <p:spPr>
          <a:xfrm>
            <a:off x="457995" y="2364127"/>
            <a:ext cx="3069772" cy="1713024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r>
              <a:rPr lang="nb-NO" sz="1400" dirty="0"/>
              <a:t>NB!                                            Oppslutningen om denne aktiviteten                                      (mindre enn 100 respondenter                  av totalt 3710 respondenter)                                               blir for lite til å gi gode nedbrytninger på               aldersgruppene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41B5F1AD-3B79-4071-91F6-9B114FE630B3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854244026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4217574" y="121446"/>
            <a:ext cx="316169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Ridning (2,0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1FEA259-487B-426A-9E84-F17982B34A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72595985"/>
              </p:ext>
            </p:extLst>
          </p:nvPr>
        </p:nvGraphicFramePr>
        <p:xfrm>
          <a:off x="8941338" y="1491050"/>
          <a:ext cx="2360748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Bilde 4">
            <a:extLst>
              <a:ext uri="{FF2B5EF4-FFF2-40B4-BE49-F238E27FC236}">
                <a16:creationId xmlns:a16="http://schemas.microsoft.com/office/drawing/2014/main" id="{6497FEA8-5454-48FA-92F6-705BE68049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3972" y="1634812"/>
            <a:ext cx="4569225" cy="4747327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D02C17E5-636F-4FE4-B5C9-E6B9F6A09412}"/>
              </a:ext>
            </a:extLst>
          </p:cNvPr>
          <p:cNvSpPr txBox="1"/>
          <p:nvPr/>
        </p:nvSpPr>
        <p:spPr>
          <a:xfrm>
            <a:off x="457995" y="2364127"/>
            <a:ext cx="3069772" cy="1713024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r>
              <a:rPr lang="nb-NO" sz="1400" dirty="0"/>
              <a:t>NB!                                            Oppslutningen om denne aktiviteten                                      (mindre enn 100 respondenter                  av totalt 3710 respondenter)                                               blir for lite til å gi gode nedbrytninger på               aldersgruppene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C0EE1F4B-8FE3-43CE-B71D-EB221E811FCB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711142692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BC90E90C-0AAE-436C-ACA4-292B0923E656}"/>
              </a:ext>
            </a:extLst>
          </p:cNvPr>
          <p:cNvSpPr txBox="1"/>
          <p:nvPr/>
        </p:nvSpPr>
        <p:spPr>
          <a:xfrm>
            <a:off x="4217574" y="121446"/>
            <a:ext cx="316169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4763" algn="ctr" defTabSz="1232345"/>
            <a:r>
              <a:rPr lang="nb-NO" sz="2000" dirty="0">
                <a:solidFill>
                  <a:srgbClr val="222223"/>
                </a:solidFill>
                <a:latin typeface="Segoe UI"/>
              </a:rPr>
              <a:t>Innebandy (2%)</a:t>
            </a:r>
          </a:p>
          <a:p>
            <a:pPr marL="4763" algn="ctr" defTabSz="1232345"/>
            <a:r>
              <a:rPr lang="nb-NO" sz="1400" dirty="0">
                <a:solidFill>
                  <a:srgbClr val="222223"/>
                </a:solidFill>
                <a:latin typeface="Segoe UI"/>
              </a:rPr>
              <a:t>Minst en gang i måneden på fritiden</a:t>
            </a:r>
          </a:p>
          <a:p>
            <a:pPr marL="4763" defTabSz="1232345"/>
            <a:endParaRPr lang="nb-NO" sz="2000" dirty="0">
              <a:solidFill>
                <a:srgbClr val="222223"/>
              </a:solidFill>
              <a:latin typeface="Segoe UI"/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5172D54C-9CC7-423F-9AF5-14B946BD28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6235248"/>
              </p:ext>
            </p:extLst>
          </p:nvPr>
        </p:nvGraphicFramePr>
        <p:xfrm>
          <a:off x="8633256" y="1491050"/>
          <a:ext cx="2307739" cy="4521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Bilde 6">
            <a:extLst>
              <a:ext uri="{FF2B5EF4-FFF2-40B4-BE49-F238E27FC236}">
                <a16:creationId xmlns:a16="http://schemas.microsoft.com/office/drawing/2014/main" id="{EE8E0D23-79EE-4CBD-B8A0-3D9EFA768B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0322" y="1634812"/>
            <a:ext cx="4510568" cy="4747327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5314EC89-43B3-46A2-83BB-017778048B78}"/>
              </a:ext>
            </a:extLst>
          </p:cNvPr>
          <p:cNvSpPr txBox="1"/>
          <p:nvPr/>
        </p:nvSpPr>
        <p:spPr>
          <a:xfrm>
            <a:off x="457995" y="2364127"/>
            <a:ext cx="3069772" cy="1713024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>
              <a:lnSpc>
                <a:spcPct val="110000"/>
              </a:lnSpc>
              <a:spcBef>
                <a:spcPts val="2400"/>
              </a:spcBef>
              <a:buClr>
                <a:schemeClr val="bg2"/>
              </a:buClr>
            </a:pPr>
            <a:r>
              <a:rPr lang="nb-NO" sz="1400" dirty="0"/>
              <a:t>NB!                                            Oppslutningen om denne aktiviteten                                      (mindre enn 100 respondenter                  av totalt 3710 respondenter)                                               blir for lite til å gi gode nedbrytninger på               aldersgruppene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AA43127B-3161-4DE2-8DEA-B3A544A6BAFB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28494250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5288CFCD-6271-4DB8-B479-AC0D81A9E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475" y="721482"/>
            <a:ext cx="11382428" cy="812530"/>
          </a:xfrm>
        </p:spPr>
        <p:txBody>
          <a:bodyPr/>
          <a:lstStyle/>
          <a:p>
            <a:r>
              <a:rPr lang="nb-NO" dirty="0"/>
              <a:t>Styrket preferanse for norske varer  </a:t>
            </a:r>
            <a:r>
              <a:rPr lang="nb-NO" sz="2400" dirty="0"/>
              <a:t>(Prosentovervekt)</a:t>
            </a:r>
            <a:endParaRPr lang="nb-NO" dirty="0"/>
          </a:p>
        </p:txBody>
      </p:sp>
      <p:graphicFrame>
        <p:nvGraphicFramePr>
          <p:cNvPr id="7" name="Content Placeholder 3">
            <a:extLst>
              <a:ext uri="{FF2B5EF4-FFF2-40B4-BE49-F238E27FC236}">
                <a16:creationId xmlns:a16="http://schemas.microsoft.com/office/drawing/2014/main" id="{8661736B-822A-480E-8771-9A165E3046C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89113" y="1669576"/>
          <a:ext cx="11170790" cy="5089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kstSylinder 3">
            <a:extLst>
              <a:ext uri="{FF2B5EF4-FFF2-40B4-BE49-F238E27FC236}">
                <a16:creationId xmlns:a16="http://schemas.microsoft.com/office/drawing/2014/main" id="{2A51FCBB-3092-4200-9EAE-2FFC278080A8}"/>
              </a:ext>
            </a:extLst>
          </p:cNvPr>
          <p:cNvSpPr txBox="1"/>
          <p:nvPr/>
        </p:nvSpPr>
        <p:spPr>
          <a:xfrm>
            <a:off x="9687746" y="17803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475259694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CC1019BE-4AAA-40C2-B02D-FD6F8E3682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00" y="1462681"/>
            <a:ext cx="7848751" cy="5235116"/>
          </a:xfrm>
          <a:prstGeom prst="rect">
            <a:avLst/>
          </a:prstGeom>
        </p:spPr>
      </p:pic>
      <p:pic>
        <p:nvPicPr>
          <p:cNvPr id="10" name="Picture 2" descr="C:\Users\jspill01\AppData\Local\Microsoft\Windows\Temporary Internet Files\Content.IE5\XNPEPE7P\shutterstock_45695452.jpg">
            <a:extLst>
              <a:ext uri="{FF2B5EF4-FFF2-40B4-BE49-F238E27FC236}">
                <a16:creationId xmlns:a16="http://schemas.microsoft.com/office/drawing/2014/main" id="{7047256E-49C5-435D-A1D3-BBE26F2065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651" y="160203"/>
            <a:ext cx="4257183" cy="6631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ooter Placeholder 10"/>
          <p:cNvSpPr txBox="1">
            <a:spLocks/>
          </p:cNvSpPr>
          <p:nvPr/>
        </p:nvSpPr>
        <p:spPr>
          <a:xfrm>
            <a:off x="10066225" y="6171885"/>
            <a:ext cx="1959319" cy="5259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051802" rtl="0" eaLnBrk="1" latinLnBrk="0" hangingPunct="1">
              <a:defRPr sz="1000" kern="1200">
                <a:solidFill>
                  <a:schemeClr val="accent4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259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802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7704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3606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9507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55408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1310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7211" algn="l" defTabSz="10518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3891"/>
            <a:r>
              <a:rPr lang="en-US" sz="635" dirty="0">
                <a:solidFill>
                  <a:srgbClr val="000000"/>
                </a:solidFill>
                <a:latin typeface="Segoe UI"/>
              </a:rPr>
              <a:t>© 2018 Ipsos.  All rights reserved. Contains Ipsos' Confidential and Proprietary information and may not be disclosed or reproduced without the prior written consent of Ipsos</a:t>
            </a:r>
            <a:r>
              <a:rPr lang="en-US" sz="816" dirty="0">
                <a:solidFill>
                  <a:srgbClr val="000000"/>
                </a:solidFill>
                <a:latin typeface="Segoe UI"/>
              </a:rPr>
              <a:t>.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9DEC8875-018C-46EF-AAD0-5148335162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900" y="160203"/>
            <a:ext cx="7848751" cy="1657714"/>
          </a:xfrm>
          <a:prstGeom prst="rect">
            <a:avLst/>
          </a:prstGeom>
        </p:spPr>
      </p:pic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D476108-4917-4C9A-B862-29631532D5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187574"/>
            <a:ext cx="8065672" cy="677108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r>
              <a:rPr lang="nb-NO" sz="4400" dirty="0"/>
              <a:t>Hvorfor er vi fysisk aktive?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49CB8855-504B-45DA-9603-7EDCAF7AF6B4}"/>
              </a:ext>
            </a:extLst>
          </p:cNvPr>
          <p:cNvSpPr txBox="1"/>
          <p:nvPr/>
        </p:nvSpPr>
        <p:spPr>
          <a:xfrm>
            <a:off x="9682580" y="-9074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040943474"/>
      </p:ext>
    </p:extLst>
  </p:cSld>
  <p:clrMapOvr>
    <a:masterClrMapping/>
  </p:clrMapOvr>
  <p:transition>
    <p:fade/>
  </p:transition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jspill01\AppData\Local\Microsoft\Windows\Temporary Internet Files\Content.IE5\XNPEPE7P\shutterstock_45695452.jpg">
            <a:extLst>
              <a:ext uri="{FF2B5EF4-FFF2-40B4-BE49-F238E27FC236}">
                <a16:creationId xmlns:a16="http://schemas.microsoft.com/office/drawing/2014/main" id="{8FB2251A-02F7-42E1-9D7A-0D3FD36752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962" y="2137049"/>
            <a:ext cx="2547238" cy="3967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75361" y="1129169"/>
            <a:ext cx="10432868" cy="728931"/>
          </a:xfrm>
        </p:spPr>
        <p:txBody>
          <a:bodyPr>
            <a:normAutofit/>
          </a:bodyPr>
          <a:lstStyle/>
          <a:p>
            <a:r>
              <a:rPr lang="nb-NO" sz="1600" b="1" dirty="0">
                <a:solidFill>
                  <a:schemeClr val="bg2">
                    <a:lumMod val="75000"/>
                  </a:schemeClr>
                </a:solidFill>
              </a:rPr>
              <a:t>Andeler som svarer at hver av grunnene har meget stor betydning for å drive fysisk aktivitet og idrett (2017)</a:t>
            </a:r>
          </a:p>
        </p:txBody>
      </p:sp>
      <p:graphicFrame>
        <p:nvGraphicFramePr>
          <p:cNvPr id="4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76135241"/>
              </p:ext>
            </p:extLst>
          </p:nvPr>
        </p:nvGraphicFramePr>
        <p:xfrm>
          <a:off x="2027275" y="1924595"/>
          <a:ext cx="8897144" cy="4576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87118CA1-F5CB-4AD9-9112-0FDCFE96C6E4}"/>
              </a:ext>
            </a:extLst>
          </p:cNvPr>
          <p:cNvSpPr txBox="1"/>
          <p:nvPr/>
        </p:nvSpPr>
        <p:spPr>
          <a:xfrm>
            <a:off x="992778" y="350876"/>
            <a:ext cx="8891451" cy="877600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r>
              <a:rPr lang="nb-NO" sz="2400" dirty="0"/>
              <a:t>Fysisk og mentalt overskudd og forebygging av helseskader er de viktigste driverne for å få nordmenn til å drive fysisk aktivitet</a:t>
            </a:r>
            <a:endParaRPr lang="nb-NO" sz="1867" i="1" dirty="0"/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1F619D29-9E41-4BBB-AF72-7ED48F975119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781801090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19240" y="1250905"/>
            <a:ext cx="8772009" cy="571519"/>
          </a:xfrm>
        </p:spPr>
        <p:txBody>
          <a:bodyPr>
            <a:noAutofit/>
          </a:bodyPr>
          <a:lstStyle/>
          <a:p>
            <a:r>
              <a:rPr lang="nb-NO" sz="1600" dirty="0">
                <a:solidFill>
                  <a:schemeClr val="tx1"/>
                </a:solidFill>
              </a:rPr>
              <a:t>Hvor stor betydning har hver av følgende grunner når det gjelder å drive din hovedaktivitet? Andeler som svarer meget stor betydning  Base:  Alle spurte</a:t>
            </a:r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2324172"/>
              </p:ext>
            </p:extLst>
          </p:nvPr>
        </p:nvGraphicFramePr>
        <p:xfrm>
          <a:off x="823365" y="1692123"/>
          <a:ext cx="11030855" cy="4870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8D030540-6B81-41C6-910D-A4074B6D6EB3}"/>
              </a:ext>
            </a:extLst>
          </p:cNvPr>
          <p:cNvSpPr txBox="1"/>
          <p:nvPr/>
        </p:nvSpPr>
        <p:spPr>
          <a:xfrm>
            <a:off x="803125" y="339232"/>
            <a:ext cx="9871095" cy="877600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</a:pPr>
            <a:r>
              <a:rPr lang="nb-NO" sz="2400" dirty="0">
                <a:solidFill>
                  <a:srgbClr val="222223"/>
                </a:solidFill>
                <a:latin typeface="Segoe UI"/>
              </a:rPr>
              <a:t>De to viktigste driverne, mentalt overskudd og forebygging av helseplager har øktet jevnt og trutt i betydning i 30 år</a:t>
            </a:r>
          </a:p>
        </p:txBody>
      </p:sp>
      <p:pic>
        <p:nvPicPr>
          <p:cNvPr id="8" name="Picture 2" descr="C:\Users\jspill01\AppData\Local\Microsoft\Windows\Temporary Internet Files\Content.IE5\XNPEPE7P\shutterstock_45695452.jpg">
            <a:extLst>
              <a:ext uri="{FF2B5EF4-FFF2-40B4-BE49-F238E27FC236}">
                <a16:creationId xmlns:a16="http://schemas.microsoft.com/office/drawing/2014/main" id="{F3442579-FCE1-4AFD-9185-D190286EAF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3422" y="3429000"/>
            <a:ext cx="1646448" cy="256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AC5FF0D2-835D-4DC0-A882-2073427DC6F0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41037367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19240" y="1250905"/>
            <a:ext cx="8772009" cy="571519"/>
          </a:xfrm>
        </p:spPr>
        <p:txBody>
          <a:bodyPr>
            <a:noAutofit/>
          </a:bodyPr>
          <a:lstStyle/>
          <a:p>
            <a:r>
              <a:rPr lang="nb-NO" sz="1600" dirty="0">
                <a:solidFill>
                  <a:schemeClr val="tx1"/>
                </a:solidFill>
              </a:rPr>
              <a:t>Hvor stor betydning har hver av følgende grunner når det gjelder å drive din hovedaktivitet? Andeler som svarer meget stor betydning  Base:  Alle spurte</a:t>
            </a:r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7266772"/>
              </p:ext>
            </p:extLst>
          </p:nvPr>
        </p:nvGraphicFramePr>
        <p:xfrm>
          <a:off x="919240" y="1692123"/>
          <a:ext cx="11030855" cy="48706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8D030540-6B81-41C6-910D-A4074B6D6EB3}"/>
              </a:ext>
            </a:extLst>
          </p:cNvPr>
          <p:cNvSpPr txBox="1"/>
          <p:nvPr/>
        </p:nvSpPr>
        <p:spPr>
          <a:xfrm>
            <a:off x="803125" y="339232"/>
            <a:ext cx="7921775" cy="877600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</a:pPr>
            <a:r>
              <a:rPr lang="nb-NO" sz="2400" dirty="0">
                <a:solidFill>
                  <a:srgbClr val="222223"/>
                </a:solidFill>
                <a:latin typeface="Segoe UI"/>
              </a:rPr>
              <a:t>Avstressing, samt høyning av selvtillit er også viktige drivere med økende betydning</a:t>
            </a:r>
          </a:p>
        </p:txBody>
      </p:sp>
      <p:pic>
        <p:nvPicPr>
          <p:cNvPr id="8" name="Picture 2" descr="C:\Users\jspill01\AppData\Local\Microsoft\Windows\Temporary Internet Files\Content.IE5\XNPEPE7P\shutterstock_45695452.jpg">
            <a:extLst>
              <a:ext uri="{FF2B5EF4-FFF2-40B4-BE49-F238E27FC236}">
                <a16:creationId xmlns:a16="http://schemas.microsoft.com/office/drawing/2014/main" id="{F3442579-FCE1-4AFD-9185-D190286EAF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9868" y="3648465"/>
            <a:ext cx="1646448" cy="256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AEAA8553-C0C4-4279-AB12-2C8C27439113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4004630758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jspill01\AppData\Local\Microsoft\Windows\Temporary Internet Files\Content.IE5\XNPEPE7P\shutterstock_45695452.jpg">
            <a:extLst>
              <a:ext uri="{FF2B5EF4-FFF2-40B4-BE49-F238E27FC236}">
                <a16:creationId xmlns:a16="http://schemas.microsoft.com/office/drawing/2014/main" id="{8FB2251A-02F7-42E1-9D7A-0D3FD36752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962" y="2137049"/>
            <a:ext cx="2547238" cy="3967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75361" y="1129169"/>
            <a:ext cx="10432868" cy="728931"/>
          </a:xfrm>
        </p:spPr>
        <p:txBody>
          <a:bodyPr>
            <a:normAutofit/>
          </a:bodyPr>
          <a:lstStyle/>
          <a:p>
            <a:r>
              <a:rPr lang="nb-NO" sz="1600" b="1" dirty="0">
                <a:solidFill>
                  <a:schemeClr val="bg2">
                    <a:lumMod val="75000"/>
                  </a:schemeClr>
                </a:solidFill>
              </a:rPr>
              <a:t>Andeler som svarer at hver av grunnene har meget stor betydning for å drive fysisk aktivitet og idrett (2017)</a:t>
            </a:r>
          </a:p>
        </p:txBody>
      </p:sp>
      <p:graphicFrame>
        <p:nvGraphicFramePr>
          <p:cNvPr id="4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06102872"/>
              </p:ext>
            </p:extLst>
          </p:nvPr>
        </p:nvGraphicFramePr>
        <p:xfrm>
          <a:off x="2027275" y="1924595"/>
          <a:ext cx="8897144" cy="4576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87118CA1-F5CB-4AD9-9112-0FDCFE96C6E4}"/>
              </a:ext>
            </a:extLst>
          </p:cNvPr>
          <p:cNvSpPr txBox="1"/>
          <p:nvPr/>
        </p:nvSpPr>
        <p:spPr>
          <a:xfrm>
            <a:off x="783771" y="415463"/>
            <a:ext cx="8891451" cy="747500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r>
              <a:rPr lang="nb-NO" sz="2000" dirty="0"/>
              <a:t>Kvinner fokuserer mer på avstressing og på forebygging enn hva menn gjør Få, men flere menn en kvinner fokuserer sterkt på spenning og konkurranse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786AC56B-A5C1-4571-8B83-FAF448B774D6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919503588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jspill01\AppData\Local\Microsoft\Windows\Temporary Internet Files\Content.IE5\XNPEPE7P\shutterstock_45695452.jpg">
            <a:extLst>
              <a:ext uri="{FF2B5EF4-FFF2-40B4-BE49-F238E27FC236}">
                <a16:creationId xmlns:a16="http://schemas.microsoft.com/office/drawing/2014/main" id="{8FB2251A-02F7-42E1-9D7A-0D3FD36752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962" y="2137049"/>
            <a:ext cx="2547238" cy="3967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75361" y="1129169"/>
            <a:ext cx="10432868" cy="728931"/>
          </a:xfrm>
        </p:spPr>
        <p:txBody>
          <a:bodyPr>
            <a:normAutofit/>
          </a:bodyPr>
          <a:lstStyle/>
          <a:p>
            <a:r>
              <a:rPr lang="nb-NO" sz="1600" b="1" dirty="0">
                <a:solidFill>
                  <a:schemeClr val="bg2">
                    <a:lumMod val="75000"/>
                  </a:schemeClr>
                </a:solidFill>
              </a:rPr>
              <a:t>Andeler som svarer at hver av grunnene har meget stor betydning for å drive fysisk aktivitet og idrett (2017)</a:t>
            </a:r>
          </a:p>
        </p:txBody>
      </p:sp>
      <p:graphicFrame>
        <p:nvGraphicFramePr>
          <p:cNvPr id="4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7987142"/>
              </p:ext>
            </p:extLst>
          </p:nvPr>
        </p:nvGraphicFramePr>
        <p:xfrm>
          <a:off x="2027275" y="1924595"/>
          <a:ext cx="8897144" cy="4576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87118CA1-F5CB-4AD9-9112-0FDCFE96C6E4}"/>
              </a:ext>
            </a:extLst>
          </p:cNvPr>
          <p:cNvSpPr txBox="1"/>
          <p:nvPr/>
        </p:nvSpPr>
        <p:spPr>
          <a:xfrm>
            <a:off x="992779" y="350876"/>
            <a:ext cx="8734696" cy="2245346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r>
              <a:rPr lang="nb-NO" sz="2000" dirty="0"/>
              <a:t>Blant de unge kommer forhold som «¨ha det gøy», «selvtillit» ,utseende»,  «spenning» og «fellesskap» også ut som viktige drivere  </a:t>
            </a:r>
          </a:p>
          <a:p>
            <a:pPr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endParaRPr lang="nb-NO" sz="2000" dirty="0"/>
          </a:p>
          <a:p>
            <a:pPr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endParaRPr lang="nb-NO" sz="2000" dirty="0"/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FEFB5571-A0CC-4F07-A25F-695BB92B1F72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1832888881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9A00C5A5-2ED0-4A6C-8E98-14EB8448E8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55" y="0"/>
            <a:ext cx="11917789" cy="6697797"/>
          </a:xfrm>
          <a:prstGeom prst="rect">
            <a:avLst/>
          </a:prstGeom>
        </p:spPr>
      </p:pic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D476108-4917-4C9A-B862-29631532D5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94330" y="4651026"/>
            <a:ext cx="9744637" cy="1431161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pPr algn="ctr"/>
            <a:r>
              <a:rPr lang="nb-NO" sz="4400" dirty="0"/>
              <a:t>Barrierer</a:t>
            </a:r>
          </a:p>
          <a:p>
            <a:pPr algn="ctr"/>
            <a:r>
              <a:rPr lang="nb-NO" sz="4400" dirty="0"/>
              <a:t>Hvorfor er noen fysisk inaktive?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FC782711-4AC2-4BB2-B482-8D9BDBB2CBAE}"/>
              </a:ext>
            </a:extLst>
          </p:cNvPr>
          <p:cNvSpPr txBox="1"/>
          <p:nvPr/>
        </p:nvSpPr>
        <p:spPr>
          <a:xfrm>
            <a:off x="9687746" y="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3687285"/>
      </p:ext>
    </p:extLst>
  </p:cSld>
  <p:clrMapOvr>
    <a:masterClrMapping/>
  </p:clrMapOvr>
  <p:transition>
    <p:fade/>
  </p:transition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64AB2567-6D1B-45B7-B886-B970303445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146015" y="1735172"/>
            <a:ext cx="2126921" cy="485583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75361" y="1445623"/>
            <a:ext cx="10432868" cy="412477"/>
          </a:xfrm>
        </p:spPr>
        <p:txBody>
          <a:bodyPr>
            <a:normAutofit fontScale="77500" lnSpcReduction="20000"/>
          </a:bodyPr>
          <a:lstStyle/>
          <a:p>
            <a:pPr algn="ctr"/>
            <a:r>
              <a:rPr lang="nb-NO" sz="1600" b="1" dirty="0">
                <a:solidFill>
                  <a:schemeClr val="tx1"/>
                </a:solidFill>
              </a:rPr>
              <a:t>Hvor stor betydning har hver av følgende grunner for at du ikke driver trening/ mosjon. eller at du driver mindre enn du gjerne ville?                        Andeler som svarer meget stor + en viss betydning.  Base: Alle spurte</a:t>
            </a:r>
            <a:endParaRPr lang="nb-NO" sz="1600" dirty="0">
              <a:solidFill>
                <a:schemeClr val="tx1"/>
              </a:solidFill>
            </a:endParaRPr>
          </a:p>
        </p:txBody>
      </p:sp>
      <p:graphicFrame>
        <p:nvGraphicFramePr>
          <p:cNvPr id="4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30179280"/>
              </p:ext>
            </p:extLst>
          </p:nvPr>
        </p:nvGraphicFramePr>
        <p:xfrm>
          <a:off x="2027275" y="1924595"/>
          <a:ext cx="8897144" cy="4576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87118CA1-F5CB-4AD9-9112-0FDCFE96C6E4}"/>
              </a:ext>
            </a:extLst>
          </p:cNvPr>
          <p:cNvSpPr txBox="1"/>
          <p:nvPr/>
        </p:nvSpPr>
        <p:spPr>
          <a:xfrm>
            <a:off x="783773" y="388919"/>
            <a:ext cx="9631678" cy="877600"/>
          </a:xfrm>
          <a:prstGeom prst="rect">
            <a:avLst/>
          </a:prstGeom>
          <a:noFill/>
        </p:spPr>
        <p:txBody>
          <a:bodyPr wrap="square" lIns="96000" tIns="48000" rIns="96000" bIns="48000" rtlCol="0">
            <a:spAutoFit/>
          </a:bodyPr>
          <a:lstStyle/>
          <a:p>
            <a:pPr>
              <a:lnSpc>
                <a:spcPct val="110000"/>
              </a:lnSpc>
              <a:spcBef>
                <a:spcPts val="3200"/>
              </a:spcBef>
              <a:buClr>
                <a:schemeClr val="bg2"/>
              </a:buClr>
            </a:pPr>
            <a:r>
              <a:rPr lang="nb-NO" sz="2400" dirty="0"/>
              <a:t>Tidsklemma, samt det forhold at trening/mosjon oppfattes som slitsomt, er de store barrierene </a:t>
            </a:r>
            <a:endParaRPr lang="nb-NO" sz="1867" i="1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8931959-36BD-4E7A-AA95-FB12EEBC0C0B}"/>
              </a:ext>
            </a:extLst>
          </p:cNvPr>
          <p:cNvSpPr/>
          <p:nvPr/>
        </p:nvSpPr>
        <p:spPr>
          <a:xfrm>
            <a:off x="9892937" y="2230562"/>
            <a:ext cx="1828800" cy="2369880"/>
          </a:xfrm>
          <a:prstGeom prst="rect">
            <a:avLst/>
          </a:prstGeom>
          <a:solidFill>
            <a:srgbClr val="E2E2E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400" dirty="0">
                <a:solidFill>
                  <a:prstClr val="black">
                    <a:lumMod val="90000"/>
                    <a:lumOff val="10000"/>
                  </a:prstClr>
                </a:solidFill>
                <a:latin typeface="Arial"/>
              </a:rPr>
              <a:t>Oppslutningen om hver av disse barrierene, har vært tilnærmet uendret de siste ti årene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400" dirty="0">
              <a:solidFill>
                <a:prstClr val="black">
                  <a:lumMod val="90000"/>
                  <a:lumOff val="10000"/>
                </a:prstClr>
              </a:solidFill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400" dirty="0">
                <a:solidFill>
                  <a:prstClr val="black">
                    <a:lumMod val="90000"/>
                    <a:lumOff val="10000"/>
                  </a:prstClr>
                </a:solidFill>
                <a:latin typeface="Arial"/>
              </a:rPr>
              <a:t>…..med ett viktig unntak!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0000"/>
                  <a:lumOff val="1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CA731390-50A0-4032-BFB5-4596649ACD1D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805012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5EE28A0-00D8-4D17-9FE9-07DF34CB19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146015" y="1735172"/>
            <a:ext cx="2126921" cy="485583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403047" y="669767"/>
            <a:ext cx="10372876" cy="1225693"/>
          </a:xfrm>
        </p:spPr>
        <p:txBody>
          <a:bodyPr>
            <a:noAutofit/>
          </a:bodyPr>
          <a:lstStyle/>
          <a:p>
            <a:pPr algn="ctr"/>
            <a:r>
              <a:rPr lang="nb-NO" sz="1200" b="1" dirty="0">
                <a:solidFill>
                  <a:schemeClr val="tx1"/>
                </a:solidFill>
              </a:rPr>
              <a:t>Hvor stor betydning har hver av følgende grunner for at du ikke driver trening/ mosjon. eller at du driver mindre enn du gjerne ville?                        Andeler som svarer meget stor + en viss betydning.  Base: Alle spurte</a:t>
            </a:r>
            <a:endParaRPr lang="nb-NO" sz="1200" dirty="0">
              <a:solidFill>
                <a:schemeClr val="tx1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366196"/>
              </p:ext>
            </p:extLst>
          </p:nvPr>
        </p:nvGraphicFramePr>
        <p:xfrm>
          <a:off x="1266709" y="1777844"/>
          <a:ext cx="10779276" cy="4930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67D52CB2-BB86-4A83-AB07-967EA5CE6F98}"/>
              </a:ext>
            </a:extLst>
          </p:cNvPr>
          <p:cNvSpPr txBox="1"/>
          <p:nvPr/>
        </p:nvSpPr>
        <p:spPr>
          <a:xfrm>
            <a:off x="870857" y="602898"/>
            <a:ext cx="8560204" cy="408946"/>
          </a:xfrm>
          <a:prstGeom prst="rect">
            <a:avLst/>
          </a:prstGeom>
          <a:noFill/>
        </p:spPr>
        <p:txBody>
          <a:bodyPr wrap="non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  <a:tabLst>
                <a:tab pos="3348483" algn="l"/>
              </a:tabLst>
            </a:pPr>
            <a:r>
              <a:rPr lang="nb-NO" sz="2000" dirty="0">
                <a:solidFill>
                  <a:srgbClr val="222223"/>
                </a:solidFill>
                <a:latin typeface="Segoe UI"/>
              </a:rPr>
              <a:t>I 2011 svarte 32% at «slitsomt» var en barriere. Det har øket til 40% i 2019 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4C08D96C-7F5D-445E-AC9A-43C1ADFC09EC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505446449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58612" y="1445623"/>
            <a:ext cx="10372876" cy="471618"/>
          </a:xfrm>
        </p:spPr>
        <p:txBody>
          <a:bodyPr>
            <a:noAutofit/>
          </a:bodyPr>
          <a:lstStyle/>
          <a:p>
            <a:pPr algn="ctr"/>
            <a:r>
              <a:rPr lang="nb-NO" sz="1200" b="1" dirty="0">
                <a:solidFill>
                  <a:schemeClr val="tx1"/>
                </a:solidFill>
              </a:rPr>
              <a:t>Hvor stor betydning har hver av følgende grunner for at du ikke driver trening/mosjon. eller at du driver mindre enn du gjerne ville?                        Andeler som svarer meget stor + en viss betydning.  </a:t>
            </a:r>
            <a:endParaRPr lang="nb-NO" sz="1200" dirty="0">
              <a:solidFill>
                <a:schemeClr val="tx1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4847156"/>
              </p:ext>
            </p:extLst>
          </p:nvPr>
        </p:nvGraphicFramePr>
        <p:xfrm>
          <a:off x="996647" y="1771117"/>
          <a:ext cx="10779276" cy="4930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67D52CB2-BB86-4A83-AB07-967EA5CE6F98}"/>
              </a:ext>
            </a:extLst>
          </p:cNvPr>
          <p:cNvSpPr txBox="1"/>
          <p:nvPr/>
        </p:nvSpPr>
        <p:spPr>
          <a:xfrm>
            <a:off x="996647" y="749152"/>
            <a:ext cx="9596449" cy="471335"/>
          </a:xfrm>
          <a:prstGeom prst="rect">
            <a:avLst/>
          </a:prstGeom>
          <a:noFill/>
        </p:spPr>
        <p:txBody>
          <a:bodyPr wrap="none" lIns="96000" tIns="48000" rIns="96000" bIns="48000" rtlCol="0">
            <a:spAutoFit/>
          </a:bodyPr>
          <a:lstStyle/>
          <a:p>
            <a:pPr defTabSz="1232345">
              <a:lnSpc>
                <a:spcPct val="110000"/>
              </a:lnSpc>
              <a:spcBef>
                <a:spcPts val="3200"/>
              </a:spcBef>
              <a:buClr>
                <a:srgbClr val="D2D3D2"/>
              </a:buClr>
              <a:tabLst>
                <a:tab pos="3348483" algn="l"/>
              </a:tabLst>
            </a:pPr>
            <a:r>
              <a:rPr lang="nb-NO" sz="2400" dirty="0">
                <a:solidFill>
                  <a:srgbClr val="222223"/>
                </a:solidFill>
                <a:latin typeface="Segoe UI"/>
              </a:rPr>
              <a:t>Aller størst  økning har «slitsom» barrieren i aldersgruppen 25 – 39 år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DDBC465C-FEF9-400B-80F3-6804726EBA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243838" y="2151678"/>
            <a:ext cx="2342607" cy="3226526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191B2D83-6FC4-4014-AD8B-1E0BC976D290}"/>
              </a:ext>
            </a:extLst>
          </p:cNvPr>
          <p:cNvSpPr txBox="1"/>
          <p:nvPr/>
        </p:nvSpPr>
        <p:spPr>
          <a:xfrm>
            <a:off x="9506771" y="198390"/>
            <a:ext cx="2504254" cy="33855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Norsk Monitor 2020</a:t>
            </a:r>
          </a:p>
        </p:txBody>
      </p:sp>
    </p:spTree>
    <p:extLst>
      <p:ext uri="{BB962C8B-B14F-4D97-AF65-F5344CB8AC3E}">
        <p14:creationId xmlns:p14="http://schemas.microsoft.com/office/powerpoint/2010/main" val="3047584997"/>
      </p:ext>
    </p:extLst>
  </p:cSld>
  <p:clrMapOvr>
    <a:masterClrMapping/>
  </p:clrMapOvr>
</p:sld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heme/theme1.xml><?xml version="1.0" encoding="utf-8"?>
<a:theme xmlns:a="http://schemas.openxmlformats.org/drawingml/2006/main" name="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psos presentasjonsmal_NO 070819" id="{E3F9960B-5313-478D-B4CB-40409A7B96B9}" vid="{06CFE41A-17E3-4191-BB92-2AC522E84A72}"/>
    </a:ext>
  </a:extLst>
</a:theme>
</file>

<file path=ppt/theme/theme10.xml><?xml version="1.0" encoding="utf-8"?>
<a:theme xmlns:a="http://schemas.openxmlformats.org/drawingml/2006/main" name="11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psos presentasjonsmal_NO 070819" id="{E3F9960B-5313-478D-B4CB-40409A7B96B9}" vid="{06CFE41A-17E3-4191-BB92-2AC522E84A72}"/>
    </a:ext>
  </a:extLst>
</a:theme>
</file>

<file path=ppt/theme/theme11.xml><?xml version="1.0" encoding="utf-8"?>
<a:theme xmlns:a="http://schemas.openxmlformats.org/drawingml/2006/main" name="13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psos presentasjonsmal_NO 070819" id="{E3F9960B-5313-478D-B4CB-40409A7B96B9}" vid="{06CFE41A-17E3-4191-BB92-2AC522E84A72}"/>
    </a:ext>
  </a:extLst>
</a:theme>
</file>

<file path=ppt/theme/theme12.xml><?xml version="1.0" encoding="utf-8"?>
<a:theme xmlns:a="http://schemas.openxmlformats.org/drawingml/2006/main" name="16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psos presentasjonsmal_NO 070819" id="{E3F9960B-5313-478D-B4CB-40409A7B96B9}" vid="{06CFE41A-17E3-4191-BB92-2AC522E84A72}"/>
    </a:ext>
  </a:extLst>
</a:theme>
</file>

<file path=ppt/theme/theme13.xml><?xml version="1.0" encoding="utf-8"?>
<a:theme xmlns:a="http://schemas.openxmlformats.org/drawingml/2006/main" name="17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psos presentasjonsmal_NO 070819" id="{E3F9960B-5313-478D-B4CB-40409A7B96B9}" vid="{06CFE41A-17E3-4191-BB92-2AC522E84A72}"/>
    </a:ext>
  </a:extLst>
</a:theme>
</file>

<file path=ppt/theme/theme14.xml><?xml version="1.0" encoding="utf-8"?>
<a:theme xmlns:a="http://schemas.openxmlformats.org/drawingml/2006/main" name="12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psos presentasjonsmal_NO 070819" id="{E3F9960B-5313-478D-B4CB-40409A7B96B9}" vid="{06CFE41A-17E3-4191-BB92-2AC522E84A72}"/>
    </a:ext>
  </a:extLst>
</a:theme>
</file>

<file path=ppt/theme/theme1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psos presentasjonsmal_NO 070819" id="{E3F9960B-5313-478D-B4CB-40409A7B96B9}" vid="{06CFE41A-17E3-4191-BB92-2AC522E84A72}"/>
    </a:ext>
  </a:extLst>
</a:theme>
</file>

<file path=ppt/theme/theme3.xml><?xml version="1.0" encoding="utf-8"?>
<a:theme xmlns:a="http://schemas.openxmlformats.org/drawingml/2006/main" name="Presentation - Cerise">
  <a:themeElements>
    <a:clrScheme name="_Ipsos_No7">
      <a:dk1>
        <a:srgbClr val="222223"/>
      </a:dk1>
      <a:lt1>
        <a:sysClr val="window" lastClr="FFFFFF"/>
      </a:lt1>
      <a:dk2>
        <a:srgbClr val="85888C"/>
      </a:dk2>
      <a:lt2>
        <a:srgbClr val="D2D3D2"/>
      </a:lt2>
      <a:accent1>
        <a:srgbClr val="007788"/>
      </a:accent1>
      <a:accent2>
        <a:srgbClr val="D2D3D2"/>
      </a:accent2>
      <a:accent3>
        <a:srgbClr val="D35C09"/>
      </a:accent3>
      <a:accent4>
        <a:srgbClr val="85888C"/>
      </a:accent4>
      <a:accent5>
        <a:srgbClr val="222223"/>
      </a:accent5>
      <a:accent6>
        <a:srgbClr val="D35C09"/>
      </a:accent6>
      <a:hlink>
        <a:srgbClr val="485CC7"/>
      </a:hlink>
      <a:folHlink>
        <a:srgbClr val="00B2A9"/>
      </a:folHlink>
    </a:clrScheme>
    <a:fontScheme name="_Ipsos_Presentation Fonts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lnSpc>
            <a:spcPct val="110000"/>
          </a:lnSpc>
          <a:spcBef>
            <a:spcPts val="2400"/>
          </a:spcBef>
          <a:buClr>
            <a:schemeClr val="bg2"/>
          </a:buClr>
          <a:defRPr sz="2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25000"/>
              <a:lumOff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36000" rIns="72000" bIns="36000" rtlCol="0">
        <a:spAutoFit/>
      </a:bodyPr>
      <a:lstStyle>
        <a:defPPr>
          <a:lnSpc>
            <a:spcPct val="110000"/>
          </a:lnSpc>
          <a:spcBef>
            <a:spcPts val="2400"/>
          </a:spcBef>
          <a:buClr>
            <a:schemeClr val="bg2"/>
          </a:buClr>
          <a:defRPr sz="2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pisefakta 2018 template" id="{73670C57-857C-4C65-959C-CF98BF428A41}" vid="{2FAE21EF-D01B-4CEF-9F2A-C1C4809E16EA}"/>
    </a:ext>
  </a:extLst>
</a:theme>
</file>

<file path=ppt/theme/theme4.xml><?xml version="1.0" encoding="utf-8"?>
<a:theme xmlns:a="http://schemas.openxmlformats.org/drawingml/2006/main" name="1_Presentation - Cerise">
  <a:themeElements>
    <a:clrScheme name="_Ipsos_No7">
      <a:dk1>
        <a:srgbClr val="222223"/>
      </a:dk1>
      <a:lt1>
        <a:sysClr val="window" lastClr="FFFFFF"/>
      </a:lt1>
      <a:dk2>
        <a:srgbClr val="85888C"/>
      </a:dk2>
      <a:lt2>
        <a:srgbClr val="D2D3D2"/>
      </a:lt2>
      <a:accent1>
        <a:srgbClr val="007788"/>
      </a:accent1>
      <a:accent2>
        <a:srgbClr val="D2D3D2"/>
      </a:accent2>
      <a:accent3>
        <a:srgbClr val="D35C09"/>
      </a:accent3>
      <a:accent4>
        <a:srgbClr val="85888C"/>
      </a:accent4>
      <a:accent5>
        <a:srgbClr val="222223"/>
      </a:accent5>
      <a:accent6>
        <a:srgbClr val="D35C09"/>
      </a:accent6>
      <a:hlink>
        <a:srgbClr val="485CC7"/>
      </a:hlink>
      <a:folHlink>
        <a:srgbClr val="00B2A9"/>
      </a:folHlink>
    </a:clrScheme>
    <a:fontScheme name="_Ipsos_Presentation Fonts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lnSpc>
            <a:spcPct val="110000"/>
          </a:lnSpc>
          <a:spcBef>
            <a:spcPts val="2400"/>
          </a:spcBef>
          <a:buClr>
            <a:schemeClr val="bg2"/>
          </a:buClr>
          <a:defRPr sz="2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25000"/>
              <a:lumOff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36000" rIns="72000" bIns="36000" rtlCol="0">
        <a:spAutoFit/>
      </a:bodyPr>
      <a:lstStyle>
        <a:defPPr>
          <a:lnSpc>
            <a:spcPct val="110000"/>
          </a:lnSpc>
          <a:spcBef>
            <a:spcPts val="2400"/>
          </a:spcBef>
          <a:buClr>
            <a:schemeClr val="bg2"/>
          </a:buClr>
          <a:defRPr sz="2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pisefakta 2018 template" id="{73670C57-857C-4C65-959C-CF98BF428A41}" vid="{2FAE21EF-D01B-4CEF-9F2A-C1C4809E16EA}"/>
    </a:ext>
  </a:extLst>
</a:theme>
</file>

<file path=ppt/theme/theme5.xml><?xml version="1.0" encoding="utf-8"?>
<a:theme xmlns:a="http://schemas.openxmlformats.org/drawingml/2006/main" name="5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psos presentasjonsmal_NO 070819" id="{E3F9960B-5313-478D-B4CB-40409A7B96B9}" vid="{06CFE41A-17E3-4191-BB92-2AC522E84A72}"/>
    </a:ext>
  </a:extLst>
</a:theme>
</file>

<file path=ppt/theme/theme6.xml><?xml version="1.0" encoding="utf-8"?>
<a:theme xmlns:a="http://schemas.openxmlformats.org/drawingml/2006/main" name="7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psos presentasjonsmal_NO 070819" id="{E3F9960B-5313-478D-B4CB-40409A7B96B9}" vid="{06CFE41A-17E3-4191-BB92-2AC522E84A72}"/>
    </a:ext>
  </a:extLst>
</a:theme>
</file>

<file path=ppt/theme/theme7.xml><?xml version="1.0" encoding="utf-8"?>
<a:theme xmlns:a="http://schemas.openxmlformats.org/drawingml/2006/main" name="8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psos presentasjonsmal_NO 070819" id="{E3F9960B-5313-478D-B4CB-40409A7B96B9}" vid="{06CFE41A-17E3-4191-BB92-2AC522E84A72}"/>
    </a:ext>
  </a:extLst>
</a:theme>
</file>

<file path=ppt/theme/theme8.xml><?xml version="1.0" encoding="utf-8"?>
<a:theme xmlns:a="http://schemas.openxmlformats.org/drawingml/2006/main" name="9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psos presentasjonsmal_NO 070819" id="{E3F9960B-5313-478D-B4CB-40409A7B96B9}" vid="{06CFE41A-17E3-4191-BB92-2AC522E84A72}"/>
    </a:ext>
  </a:extLst>
</a:theme>
</file>

<file path=ppt/theme/theme9.xml><?xml version="1.0" encoding="utf-8"?>
<a:theme xmlns:a="http://schemas.openxmlformats.org/drawingml/2006/main" name="10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psos presentasjonsmal_NO 070819" id="{E3F9960B-5313-478D-B4CB-40409A7B96B9}" vid="{06CFE41A-17E3-4191-BB92-2AC522E84A72}"/>
    </a:ext>
  </a:extLst>
</a:theme>
</file>

<file path=ppt/theme/themeOverride1.xml><?xml version="1.0" encoding="utf-8"?>
<a:themeOverride xmlns:a="http://schemas.openxmlformats.org/drawingml/2006/main">
  <a:clrScheme name="Personnalisé 183">
    <a:dk1>
      <a:sysClr val="windowText" lastClr="000000"/>
    </a:dk1>
    <a:lt1>
      <a:sysClr val="window" lastClr="FFFFFF"/>
    </a:lt1>
    <a:dk2>
      <a:srgbClr val="009D9C"/>
    </a:dk2>
    <a:lt2>
      <a:srgbClr val="2F469C"/>
    </a:lt2>
    <a:accent1>
      <a:srgbClr val="002554"/>
    </a:accent1>
    <a:accent2>
      <a:srgbClr val="F1BE48"/>
    </a:accent2>
    <a:accent3>
      <a:srgbClr val="E87722"/>
    </a:accent3>
    <a:accent4>
      <a:srgbClr val="84329B"/>
    </a:accent4>
    <a:accent5>
      <a:srgbClr val="E4C7EC"/>
    </a:accent5>
    <a:accent6>
      <a:srgbClr val="BEDBFF"/>
    </a:accent6>
    <a:hlink>
      <a:srgbClr val="0563C1"/>
    </a:hlink>
    <a:folHlink>
      <a:srgbClr val="954F72"/>
    </a:folHlink>
  </a:clrScheme>
  <a:fontScheme name="Personnalisé 80">
    <a:majorFont>
      <a:latin typeface="Arial Black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Standard utforming">
    <a:majorFont>
      <a:latin typeface="Times New Roman"/>
      <a:ea typeface=""/>
      <a:cs typeface=""/>
    </a:majorFont>
    <a:minorFont>
      <a:latin typeface="Times New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Standard utforming">
    <a:majorFont>
      <a:latin typeface="Times New Roman"/>
      <a:ea typeface=""/>
      <a:cs typeface=""/>
    </a:majorFont>
    <a:minorFont>
      <a:latin typeface="Times New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Ipsos MORI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Standard utforming">
    <a:majorFont>
      <a:latin typeface="Times New Roman"/>
      <a:ea typeface=""/>
      <a:cs typeface=""/>
    </a:majorFont>
    <a:minorFont>
      <a:latin typeface="Times New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Standard utforming">
    <a:majorFont>
      <a:latin typeface="Times New Roman"/>
      <a:ea typeface=""/>
      <a:cs typeface=""/>
    </a:majorFont>
    <a:minorFont>
      <a:latin typeface="Times New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Ipsos MORI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Ipsos MORI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Ipsos MORI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Standard utforming">
    <a:majorFont>
      <a:latin typeface="Times New Roman"/>
      <a:ea typeface=""/>
      <a:cs typeface=""/>
    </a:majorFont>
    <a:minorFont>
      <a:latin typeface="Times New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Standard utforming">
    <a:majorFont>
      <a:latin typeface="Times New Roman"/>
      <a:ea typeface=""/>
      <a:cs typeface=""/>
    </a:majorFont>
    <a:minorFont>
      <a:latin typeface="Times New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Standard utforming">
    <a:majorFont>
      <a:latin typeface="Times New Roman"/>
      <a:ea typeface=""/>
      <a:cs typeface=""/>
    </a:majorFont>
    <a:minorFont>
      <a:latin typeface="Times New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Ipsos MORI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1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Standard utforming">
    <a:majorFont>
      <a:latin typeface="Times New Roman"/>
      <a:ea typeface=""/>
      <a:cs typeface=""/>
    </a:majorFont>
    <a:minorFont>
      <a:latin typeface="Times New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2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Ipsos MORI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Ipsos MORI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Ipsos MORI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Standard utforming">
    <a:majorFont>
      <a:latin typeface="Times New Roman"/>
      <a:ea typeface=""/>
      <a:cs typeface=""/>
    </a:majorFont>
    <a:minorFont>
      <a:latin typeface="Times New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Standard utforming">
    <a:majorFont>
      <a:latin typeface="Times New Roman"/>
      <a:ea typeface=""/>
      <a:cs typeface=""/>
    </a:majorFont>
    <a:minorFont>
      <a:latin typeface="Times New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Ipsos MORI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Ipsos MORI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IpsosCURRENT">
    <a:dk1>
      <a:srgbClr val="222223"/>
    </a:dk1>
    <a:lt1>
      <a:sysClr val="window" lastClr="FFFFFF"/>
    </a:lt1>
    <a:dk2>
      <a:srgbClr val="1B365D"/>
    </a:dk2>
    <a:lt2>
      <a:srgbClr val="888B8D"/>
    </a:lt2>
    <a:accent1>
      <a:srgbClr val="E87722"/>
    </a:accent1>
    <a:accent2>
      <a:srgbClr val="F1BE48"/>
    </a:accent2>
    <a:accent3>
      <a:srgbClr val="B7BF12"/>
    </a:accent3>
    <a:accent4>
      <a:srgbClr val="C8C9C7"/>
    </a:accent4>
    <a:accent5>
      <a:srgbClr val="71B2C9"/>
    </a:accent5>
    <a:accent6>
      <a:srgbClr val="007681"/>
    </a:accent6>
    <a:hlink>
      <a:srgbClr val="485CC7"/>
    </a:hlink>
    <a:folHlink>
      <a:srgbClr val="00B2A9"/>
    </a:folHlink>
  </a:clrScheme>
  <a:fontScheme name="Standard utforming">
    <a:majorFont>
      <a:latin typeface="Times New Roman"/>
      <a:ea typeface=""/>
      <a:cs typeface=""/>
    </a:majorFont>
    <a:minorFont>
      <a:latin typeface="Times New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